
<file path=[Content_Types].xml><?xml version="1.0" encoding="utf-8"?>
<Types xmlns="http://schemas.openxmlformats.org/package/2006/content-types">
  <Default Extension="jpeg" ContentType="image/jpeg"/>
  <Default Extension="wdp" ContentType="image/vnd.ms-photo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0"/>
  </p:notesMasterIdLst>
  <p:sldIdLst>
    <p:sldId id="256" r:id="rId3"/>
    <p:sldId id="297" r:id="rId4"/>
    <p:sldId id="258" r:id="rId5"/>
    <p:sldId id="259" r:id="rId6"/>
    <p:sldId id="260" r:id="rId7"/>
    <p:sldId id="261" r:id="rId8"/>
    <p:sldId id="288" r:id="rId9"/>
    <p:sldId id="262" r:id="rId10"/>
    <p:sldId id="263" r:id="rId11"/>
    <p:sldId id="264" r:id="rId12"/>
    <p:sldId id="265" r:id="rId13"/>
    <p:sldId id="266" r:id="rId14"/>
    <p:sldId id="290" r:id="rId15"/>
    <p:sldId id="267" r:id="rId16"/>
    <p:sldId id="268" r:id="rId17"/>
    <p:sldId id="269" r:id="rId18"/>
    <p:sldId id="270" r:id="rId19"/>
    <p:sldId id="271" r:id="rId20"/>
    <p:sldId id="272" r:id="rId21"/>
    <p:sldId id="273" r:id="rId22"/>
    <p:sldId id="274" r:id="rId23"/>
    <p:sldId id="275" r:id="rId24"/>
    <p:sldId id="276" r:id="rId25"/>
    <p:sldId id="277" r:id="rId26"/>
    <p:sldId id="278" r:id="rId27"/>
    <p:sldId id="289" r:id="rId28"/>
    <p:sldId id="279" r:id="rId29"/>
    <p:sldId id="280" r:id="rId30"/>
    <p:sldId id="281" r:id="rId31"/>
    <p:sldId id="282" r:id="rId32"/>
    <p:sldId id="283" r:id="rId33"/>
    <p:sldId id="284" r:id="rId34"/>
    <p:sldId id="291" r:id="rId35"/>
    <p:sldId id="285" r:id="rId36"/>
    <p:sldId id="286" r:id="rId37"/>
    <p:sldId id="287" r:id="rId38"/>
    <p:sldId id="298" r:id="rId39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1E23"/>
    <a:srgbClr val="BFCF31"/>
    <a:srgbClr val="FFC100"/>
    <a:srgbClr val="32BB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-192" y="-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3" Type="http://schemas.openxmlformats.org/officeDocument/2006/relationships/tableStyles" Target="tableStyles.xml"/><Relationship Id="rId42" Type="http://schemas.openxmlformats.org/officeDocument/2006/relationships/viewProps" Target="viewProps.xml"/><Relationship Id="rId41" Type="http://schemas.openxmlformats.org/officeDocument/2006/relationships/presProps" Target="presProps.xml"/><Relationship Id="rId4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39" Type="http://schemas.openxmlformats.org/officeDocument/2006/relationships/slide" Target="slides/slide37.xml"/><Relationship Id="rId38" Type="http://schemas.openxmlformats.org/officeDocument/2006/relationships/slide" Target="slides/slide36.xml"/><Relationship Id="rId37" Type="http://schemas.openxmlformats.org/officeDocument/2006/relationships/slide" Target="slides/slide35.xml"/><Relationship Id="rId36" Type="http://schemas.openxmlformats.org/officeDocument/2006/relationships/slide" Target="slides/slide34.xml"/><Relationship Id="rId35" Type="http://schemas.openxmlformats.org/officeDocument/2006/relationships/slide" Target="slides/slide33.xml"/><Relationship Id="rId34" Type="http://schemas.openxmlformats.org/officeDocument/2006/relationships/slide" Target="slides/slide32.xml"/><Relationship Id="rId33" Type="http://schemas.openxmlformats.org/officeDocument/2006/relationships/slide" Target="slides/slide31.xml"/><Relationship Id="rId32" Type="http://schemas.openxmlformats.org/officeDocument/2006/relationships/slide" Target="slides/slide30.xml"/><Relationship Id="rId31" Type="http://schemas.openxmlformats.org/officeDocument/2006/relationships/slide" Target="slides/slide29.xml"/><Relationship Id="rId30" Type="http://schemas.openxmlformats.org/officeDocument/2006/relationships/slide" Target="slides/slide28.xml"/><Relationship Id="rId3" Type="http://schemas.openxmlformats.org/officeDocument/2006/relationships/slide" Target="slides/slide1.xml"/><Relationship Id="rId29" Type="http://schemas.openxmlformats.org/officeDocument/2006/relationships/slide" Target="slides/slide27.xml"/><Relationship Id="rId28" Type="http://schemas.openxmlformats.org/officeDocument/2006/relationships/slide" Target="slides/slide26.xml"/><Relationship Id="rId27" Type="http://schemas.openxmlformats.org/officeDocument/2006/relationships/slide" Target="slides/slide25.xml"/><Relationship Id="rId26" Type="http://schemas.openxmlformats.org/officeDocument/2006/relationships/slide" Target="slides/slide24.xml"/><Relationship Id="rId25" Type="http://schemas.openxmlformats.org/officeDocument/2006/relationships/slide" Target="slides/slide23.xml"/><Relationship Id="rId24" Type="http://schemas.openxmlformats.org/officeDocument/2006/relationships/slide" Target="slides/slide22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595A91-E197-4E49-ABB2-39682CAD8CD7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A89FCB-841D-4C72-9257-496A49D9A444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4AF42-7610-4093-A0E9-29740E5796F4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470B23-1E63-40DD-8E78-3F881B656E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Tm="3000"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4AF42-7610-4093-A0E9-29740E5796F4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470B23-1E63-40DD-8E78-3F881B656E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Tm="3000"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4AF42-7610-4093-A0E9-29740E5796F4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470B23-1E63-40DD-8E78-3F881B656E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Tm="3000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4AF42-7610-4093-A0E9-29740E5796F4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470B23-1E63-40DD-8E78-3F881B656E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Tm="3000"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4AF42-7610-4093-A0E9-29740E5796F4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470B23-1E63-40DD-8E78-3F881B656E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Tm="3000">
    <p:wip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4AF42-7610-4093-A0E9-29740E5796F4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470B23-1E63-40DD-8E78-3F881B656E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Tm="3000">
    <p:wip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4AF42-7610-4093-A0E9-29740E5796F4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470B23-1E63-40DD-8E78-3F881B656E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Tm="3000"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4AF42-7610-4093-A0E9-29740E5796F4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470B23-1E63-40DD-8E78-3F881B656E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Tm="3000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4AF42-7610-4093-A0E9-29740E5796F4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470B23-1E63-40DD-8E78-3F881B656E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Tm="3000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4AF42-7610-4093-A0E9-29740E5796F4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470B23-1E63-40DD-8E78-3F881B656E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Tm="3000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4AF42-7610-4093-A0E9-29740E5796F4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470B23-1E63-40DD-8E78-3F881B656EC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 advTm="3000">
    <p:wipe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3" Type="http://schemas.openxmlformats.org/officeDocument/2006/relationships/theme" Target="../theme/theme1.xml"/><Relationship Id="rId12" Type="http://schemas.openxmlformats.org/officeDocument/2006/relationships/image" Target="../media/image1.jpeg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2">
            <a:lum/>
          </a:blip>
          <a:srcRect/>
          <a:stretch>
            <a:fillRect t="-5000" b="-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34AF42-7610-4093-A0E9-29740E5796F4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470B23-1E63-40DD-8E78-3F881B656EC7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 advTm="3000">
    <p:wip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.xml"/><Relationship Id="rId4" Type="http://schemas.openxmlformats.org/officeDocument/2006/relationships/image" Target="../media/image5.png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2.xml"/><Relationship Id="rId5" Type="http://schemas.openxmlformats.org/officeDocument/2006/relationships/image" Target="../media/image28.jpeg"/><Relationship Id="rId4" Type="http://schemas.openxmlformats.org/officeDocument/2006/relationships/image" Target="../media/image27.jpeg"/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29.png"/><Relationship Id="rId1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7" Type="http://schemas.microsoft.com/office/2007/relationships/hdphoto" Target="../media/hdphoto1.wdp"/><Relationship Id="rId6" Type="http://schemas.openxmlformats.org/officeDocument/2006/relationships/image" Target="../media/image30.png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2.xml"/><Relationship Id="rId5" Type="http://schemas.openxmlformats.org/officeDocument/2006/relationships/image" Target="../media/image34.jpeg"/><Relationship Id="rId4" Type="http://schemas.openxmlformats.org/officeDocument/2006/relationships/image" Target="../media/image33.jpeg"/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2.xml"/><Relationship Id="rId5" Type="http://schemas.openxmlformats.org/officeDocument/2006/relationships/image" Target="../media/image38.jpeg"/><Relationship Id="rId4" Type="http://schemas.openxmlformats.org/officeDocument/2006/relationships/image" Target="../media/image37.jpeg"/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9.jpeg"/><Relationship Id="rId1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2.xml"/><Relationship Id="rId5" Type="http://schemas.openxmlformats.org/officeDocument/2006/relationships/image" Target="../media/image43.jpeg"/><Relationship Id="rId4" Type="http://schemas.openxmlformats.org/officeDocument/2006/relationships/image" Target="../media/image42.png"/><Relationship Id="rId3" Type="http://schemas.openxmlformats.org/officeDocument/2006/relationships/image" Target="../media/image41.jpeg"/><Relationship Id="rId2" Type="http://schemas.openxmlformats.org/officeDocument/2006/relationships/image" Target="../media/image40.png"/><Relationship Id="rId1" Type="http://schemas.openxmlformats.org/officeDocument/2006/relationships/image" Target="../media/image6.png"/></Relationships>
</file>

<file path=ppt/slides/_rels/slide19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9.png"/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2.xml"/><Relationship Id="rId5" Type="http://schemas.openxmlformats.org/officeDocument/2006/relationships/image" Target="../media/image49.jpeg"/><Relationship Id="rId4" Type="http://schemas.openxmlformats.org/officeDocument/2006/relationships/image" Target="../media/image48.jpeg"/><Relationship Id="rId3" Type="http://schemas.openxmlformats.org/officeDocument/2006/relationships/image" Target="../media/image47.jpeg"/><Relationship Id="rId2" Type="http://schemas.openxmlformats.org/officeDocument/2006/relationships/image" Target="../media/image46.png"/><Relationship Id="rId1" Type="http://schemas.openxmlformats.org/officeDocument/2006/relationships/image" Target="../media/image6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50.jpeg"/><Relationship Id="rId1" Type="http://schemas.openxmlformats.org/officeDocument/2006/relationships/image" Target="../media/image6.png"/></Relationships>
</file>

<file path=ppt/slides/_rels/slide23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53.png"/><Relationship Id="rId3" Type="http://schemas.openxmlformats.org/officeDocument/2006/relationships/image" Target="../media/image52.jpeg"/><Relationship Id="rId2" Type="http://schemas.openxmlformats.org/officeDocument/2006/relationships/image" Target="../media/image51.jpeg"/><Relationship Id="rId1" Type="http://schemas.openxmlformats.org/officeDocument/2006/relationships/image" Target="../media/image6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6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54.png"/><Relationship Id="rId1" Type="http://schemas.openxmlformats.org/officeDocument/2006/relationships/image" Target="../media/image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55.jpeg"/><Relationship Id="rId1" Type="http://schemas.openxmlformats.org/officeDocument/2006/relationships/image" Target="../media/image6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6.png"/></Relationships>
</file>

<file path=ppt/slides/_rels/slide29.xml.rels><?xml version="1.0" encoding="UTF-8" standalone="yes"?>
<Relationships xmlns="http://schemas.openxmlformats.org/package/2006/relationships"><Relationship Id="rId9" Type="http://schemas.openxmlformats.org/officeDocument/2006/relationships/tags" Target="../tags/tag6.xml"/><Relationship Id="rId8" Type="http://schemas.openxmlformats.org/officeDocument/2006/relationships/tags" Target="../tags/tag5.xml"/><Relationship Id="rId7" Type="http://schemas.openxmlformats.org/officeDocument/2006/relationships/image" Target="../media/image61.jpeg"/><Relationship Id="rId6" Type="http://schemas.openxmlformats.org/officeDocument/2006/relationships/image" Target="../media/image60.jpeg"/><Relationship Id="rId5" Type="http://schemas.openxmlformats.org/officeDocument/2006/relationships/image" Target="../media/image59.jpeg"/><Relationship Id="rId4" Type="http://schemas.openxmlformats.org/officeDocument/2006/relationships/image" Target="../media/image58.jpeg"/><Relationship Id="rId3" Type="http://schemas.openxmlformats.org/officeDocument/2006/relationships/image" Target="../media/image57.jpeg"/><Relationship Id="rId2" Type="http://schemas.openxmlformats.org/officeDocument/2006/relationships/image" Target="../media/image56.jpeg"/><Relationship Id="rId15" Type="http://schemas.openxmlformats.org/officeDocument/2006/relationships/slideLayout" Target="../slideLayouts/slideLayout2.xml"/><Relationship Id="rId14" Type="http://schemas.openxmlformats.org/officeDocument/2006/relationships/image" Target="../media/image66.png"/><Relationship Id="rId13" Type="http://schemas.openxmlformats.org/officeDocument/2006/relationships/image" Target="../media/image65.png"/><Relationship Id="rId12" Type="http://schemas.openxmlformats.org/officeDocument/2006/relationships/image" Target="../media/image64.png"/><Relationship Id="rId11" Type="http://schemas.openxmlformats.org/officeDocument/2006/relationships/image" Target="../media/image63.png"/><Relationship Id="rId10" Type="http://schemas.openxmlformats.org/officeDocument/2006/relationships/image" Target="../media/image62.jpeg"/><Relationship Id="rId1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10.png"/><Relationship Id="rId1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image" Target="../media/image6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6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69.png"/><Relationship Id="rId1" Type="http://schemas.openxmlformats.org/officeDocument/2006/relationships/image" Target="../media/image6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6.png"/></Relationships>
</file>

<file path=ppt/slides/_rels/slide3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image" Target="../media/image6.png"/></Relationships>
</file>

<file path=ppt/slides/_rels/slide36.xml.rels><?xml version="1.0" encoding="UTF-8" standalone="yes"?>
<Relationships xmlns="http://schemas.openxmlformats.org/package/2006/relationships"><Relationship Id="rId9" Type="http://schemas.openxmlformats.org/officeDocument/2006/relationships/image" Target="../media/image77.png"/><Relationship Id="rId8" Type="http://schemas.openxmlformats.org/officeDocument/2006/relationships/image" Target="../media/image76.png"/><Relationship Id="rId7" Type="http://schemas.openxmlformats.org/officeDocument/2006/relationships/image" Target="../media/image69.png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8.png"/><Relationship Id="rId3" Type="http://schemas.openxmlformats.org/officeDocument/2006/relationships/image" Target="../media/image73.jpeg"/><Relationship Id="rId2" Type="http://schemas.openxmlformats.org/officeDocument/2006/relationships/image" Target="../media/image72.png"/><Relationship Id="rId10" Type="http://schemas.openxmlformats.org/officeDocument/2006/relationships/slideLayout" Target="../slideLayouts/slideLayout2.xml"/><Relationship Id="rId1" Type="http://schemas.openxmlformats.org/officeDocument/2006/relationships/image" Target="../media/image6.png"/></Relationships>
</file>

<file path=ppt/slides/_rels/slide37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2.xml"/><Relationship Id="rId4" Type="http://schemas.microsoft.com/office/2007/relationships/hdphoto" Target="../media/hdphoto2.wdp"/><Relationship Id="rId3" Type="http://schemas.openxmlformats.org/officeDocument/2006/relationships/image" Target="../media/image80.png"/><Relationship Id="rId2" Type="http://schemas.openxmlformats.org/officeDocument/2006/relationships/image" Target="../media/image79.emf"/><Relationship Id="rId1" Type="http://schemas.openxmlformats.org/officeDocument/2006/relationships/image" Target="../media/image7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11.png"/><Relationship Id="rId1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18.png"/><Relationship Id="rId1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19.jpeg"/><Relationship Id="rId1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753" y="4121775"/>
            <a:ext cx="926471" cy="926471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7271" y="4121774"/>
            <a:ext cx="926471" cy="926471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6030" y="4121774"/>
            <a:ext cx="926471" cy="926471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8512" y="4121775"/>
            <a:ext cx="926471" cy="926471"/>
          </a:xfrm>
          <a:prstGeom prst="rect">
            <a:avLst/>
          </a:prstGeom>
        </p:spPr>
      </p:pic>
      <p:grpSp>
        <p:nvGrpSpPr>
          <p:cNvPr id="11" name="组合 10"/>
          <p:cNvGrpSpPr/>
          <p:nvPr/>
        </p:nvGrpSpPr>
        <p:grpSpPr>
          <a:xfrm>
            <a:off x="2952944" y="5312808"/>
            <a:ext cx="6065058" cy="1135779"/>
            <a:chOff x="3063471" y="5373216"/>
            <a:chExt cx="6065058" cy="1135779"/>
          </a:xfrm>
        </p:grpSpPr>
        <p:sp>
          <p:nvSpPr>
            <p:cNvPr id="12" name="矩形 11"/>
            <p:cNvSpPr/>
            <p:nvPr/>
          </p:nvSpPr>
          <p:spPr>
            <a:xfrm>
              <a:off x="3063471" y="5373216"/>
              <a:ext cx="6065058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36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OWERPOINT TEMPLATE</a:t>
              </a:r>
              <a:endParaRPr lang="zh-CN" altLang="en-US" sz="3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3" name="直接连接符 12"/>
            <p:cNvCxnSpPr/>
            <p:nvPr/>
          </p:nvCxnSpPr>
          <p:spPr>
            <a:xfrm>
              <a:off x="3151966" y="5386781"/>
              <a:ext cx="5824354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/>
            <p:cNvCxnSpPr/>
            <p:nvPr/>
          </p:nvCxnSpPr>
          <p:spPr>
            <a:xfrm>
              <a:off x="3183823" y="6045168"/>
              <a:ext cx="5824354" cy="0"/>
            </a:xfrm>
            <a:prstGeom prst="line">
              <a:avLst/>
            </a:prstGeom>
            <a:ln w="31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文本框 14"/>
            <p:cNvSpPr txBox="1"/>
            <p:nvPr/>
          </p:nvSpPr>
          <p:spPr>
            <a:xfrm>
              <a:off x="5351839" y="6139663"/>
              <a:ext cx="158498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</a:rPr>
                <a:t>Enjoy Your PPT</a:t>
              </a:r>
              <a:endParaRPr lang="zh-CN" alt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矩形 1"/>
          <p:cNvSpPr/>
          <p:nvPr/>
        </p:nvSpPr>
        <p:spPr>
          <a:xfrm>
            <a:off x="2677845" y="1430787"/>
            <a:ext cx="6551541" cy="240065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15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quare721 BT" panose="020B0504020202060204" pitchFamily="34" charset="0"/>
                <a:ea typeface="胡晓波男人帮简体" panose="03000509000000000000" pitchFamily="65" charset="-122"/>
              </a:rPr>
              <a:t>2016</a:t>
            </a:r>
            <a:endParaRPr lang="zh-CN" altLang="en-US" sz="150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quare721 BT" panose="020B0504020202060204" pitchFamily="34" charset="0"/>
              <a:ea typeface="胡晓波男人帮简体" panose="03000509000000000000" pitchFamily="65" charset="-122"/>
            </a:endParaRPr>
          </a:p>
        </p:txBody>
      </p: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479022" y="1442958"/>
            <a:ext cx="11360704" cy="4445699"/>
            <a:chOff x="407368" y="1273041"/>
            <a:chExt cx="11360704" cy="4445699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 rotWithShape="1">
            <a:blip r:embed="rId2"/>
            <a:srcRect l="22939"/>
            <a:stretch>
              <a:fillRect/>
            </a:stretch>
          </p:blipFill>
          <p:spPr>
            <a:xfrm>
              <a:off x="4582073" y="2060848"/>
              <a:ext cx="3027854" cy="2995410"/>
            </a:xfrm>
            <a:prstGeom prst="ellipse">
              <a:avLst/>
            </a:prstGeom>
          </p:spPr>
        </p:pic>
        <p:sp>
          <p:nvSpPr>
            <p:cNvPr id="8" name="文本框 7"/>
            <p:cNvSpPr txBox="1"/>
            <p:nvPr/>
          </p:nvSpPr>
          <p:spPr>
            <a:xfrm>
              <a:off x="4862890" y="3059668"/>
              <a:ext cx="216024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添加标题</a:t>
              </a:r>
              <a:endParaRPr lang="zh-CN" altLang="en-US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矩形 8"/>
            <p:cNvSpPr/>
            <p:nvPr/>
          </p:nvSpPr>
          <p:spPr>
            <a:xfrm>
              <a:off x="4862890" y="3471535"/>
              <a:ext cx="2097206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</a:t>
              </a:r>
              <a:r>
                <a:rPr lang="zh-CN" altLang="en-US" sz="11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理念</a:t>
              </a:r>
              <a:endParaRPr lang="zh-CN" altLang="en-US" sz="1100" dirty="0">
                <a:solidFill>
                  <a:prstClr val="white"/>
                </a:solidFill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1275172" y="1550040"/>
              <a:ext cx="2903984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专业的团队，完善的售后，热情的服务，科学严谨的逻辑，一丝不苟的工作态度，定能使您的发展如虎添翼！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1" name="组合 10"/>
            <p:cNvGrpSpPr/>
            <p:nvPr/>
          </p:nvGrpSpPr>
          <p:grpSpPr>
            <a:xfrm>
              <a:off x="407368" y="1938826"/>
              <a:ext cx="792088" cy="792088"/>
              <a:chOff x="407368" y="1938826"/>
              <a:chExt cx="792088" cy="792088"/>
            </a:xfrm>
          </p:grpSpPr>
          <p:sp>
            <p:nvSpPr>
              <p:cNvPr id="28" name="椭圆 27"/>
              <p:cNvSpPr/>
              <p:nvPr/>
            </p:nvSpPr>
            <p:spPr>
              <a:xfrm>
                <a:off x="407368" y="1938826"/>
                <a:ext cx="792088" cy="792088"/>
              </a:xfrm>
              <a:prstGeom prst="ellipse">
                <a:avLst/>
              </a:prstGeom>
              <a:solidFill>
                <a:srgbClr val="01B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pic>
            <p:nvPicPr>
              <p:cNvPr id="29" name="图片 28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10800000">
                <a:off x="533695" y="2065300"/>
                <a:ext cx="558062" cy="558062"/>
              </a:xfrm>
              <a:prstGeom prst="rect">
                <a:avLst/>
              </a:prstGeom>
            </p:spPr>
          </p:pic>
        </p:grpSp>
        <p:sp>
          <p:nvSpPr>
            <p:cNvPr id="12" name="矩形 11"/>
            <p:cNvSpPr/>
            <p:nvPr/>
          </p:nvSpPr>
          <p:spPr>
            <a:xfrm>
              <a:off x="1275172" y="4149080"/>
              <a:ext cx="2903984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专业的团队，完善的售后，热情的服务，科学严谨的逻辑，一丝不苟的工作态度，定能使您的发展如虎添翼！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3" name="组合 12"/>
            <p:cNvGrpSpPr/>
            <p:nvPr/>
          </p:nvGrpSpPr>
          <p:grpSpPr>
            <a:xfrm>
              <a:off x="407368" y="4537866"/>
              <a:ext cx="792088" cy="792088"/>
              <a:chOff x="407368" y="4537866"/>
              <a:chExt cx="792088" cy="792088"/>
            </a:xfrm>
          </p:grpSpPr>
          <p:sp>
            <p:nvSpPr>
              <p:cNvPr id="26" name="椭圆 25"/>
              <p:cNvSpPr/>
              <p:nvPr/>
            </p:nvSpPr>
            <p:spPr>
              <a:xfrm>
                <a:off x="407368" y="4537866"/>
                <a:ext cx="792088" cy="792088"/>
              </a:xfrm>
              <a:prstGeom prst="ellipse">
                <a:avLst/>
              </a:prstGeom>
              <a:solidFill>
                <a:srgbClr val="FF3B7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pic>
            <p:nvPicPr>
              <p:cNvPr id="27" name="图片 2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33920" y="4652653"/>
                <a:ext cx="538983" cy="562514"/>
              </a:xfrm>
              <a:prstGeom prst="rect">
                <a:avLst/>
              </a:prstGeom>
            </p:spPr>
          </p:pic>
        </p:grpSp>
        <p:sp>
          <p:nvSpPr>
            <p:cNvPr id="14" name="文本框 13"/>
            <p:cNvSpPr txBox="1"/>
            <p:nvPr/>
          </p:nvSpPr>
          <p:spPr>
            <a:xfrm>
              <a:off x="1275172" y="1273041"/>
              <a:ext cx="194421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 smtClean="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添加标题</a:t>
              </a:r>
              <a:endParaRPr lang="zh-CN" altLang="en-US" sz="1200" b="1" dirty="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文本框 14"/>
            <p:cNvSpPr txBox="1"/>
            <p:nvPr/>
          </p:nvSpPr>
          <p:spPr>
            <a:xfrm>
              <a:off x="1275172" y="3939651"/>
              <a:ext cx="194421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 smtClean="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添加标题</a:t>
              </a:r>
              <a:endParaRPr lang="zh-CN" altLang="en-US" sz="1200" b="1" dirty="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8012844" y="1550040"/>
              <a:ext cx="2903984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专业的团队，完善的售后，热情的服务，科学严谨的逻辑，一丝不苟的工作态度，定能使您的发展如虎添翼！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文本框 16"/>
            <p:cNvSpPr txBox="1"/>
            <p:nvPr/>
          </p:nvSpPr>
          <p:spPr>
            <a:xfrm>
              <a:off x="8012844" y="1273041"/>
              <a:ext cx="194421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 smtClean="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添加标题</a:t>
              </a:r>
              <a:endParaRPr lang="zh-CN" altLang="en-US" sz="1200" b="1" dirty="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8" name="组合 17"/>
            <p:cNvGrpSpPr/>
            <p:nvPr/>
          </p:nvGrpSpPr>
          <p:grpSpPr>
            <a:xfrm>
              <a:off x="10946406" y="1831274"/>
              <a:ext cx="792088" cy="792088"/>
              <a:chOff x="10946406" y="1831274"/>
              <a:chExt cx="792088" cy="792088"/>
            </a:xfrm>
          </p:grpSpPr>
          <p:sp>
            <p:nvSpPr>
              <p:cNvPr id="24" name="椭圆 23"/>
              <p:cNvSpPr/>
              <p:nvPr/>
            </p:nvSpPr>
            <p:spPr>
              <a:xfrm>
                <a:off x="10946406" y="1831274"/>
                <a:ext cx="792088" cy="792088"/>
              </a:xfrm>
              <a:prstGeom prst="ellipse">
                <a:avLst/>
              </a:prstGeom>
              <a:solidFill>
                <a:srgbClr val="FF780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pic>
            <p:nvPicPr>
              <p:cNvPr id="25" name="图片 24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105410" y="2060848"/>
                <a:ext cx="428670" cy="428670"/>
              </a:xfrm>
              <a:prstGeom prst="rect">
                <a:avLst/>
              </a:prstGeom>
            </p:spPr>
          </p:pic>
        </p:grpSp>
        <p:sp>
          <p:nvSpPr>
            <p:cNvPr id="19" name="矩形 18"/>
            <p:cNvSpPr/>
            <p:nvPr/>
          </p:nvSpPr>
          <p:spPr>
            <a:xfrm>
              <a:off x="8042422" y="4149080"/>
              <a:ext cx="2903984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专业的团队，完善的售后，热情的服务，科学严谨的逻辑，一丝不苟的工作态度，定能使您的发展如虎添翼！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文本框 19"/>
            <p:cNvSpPr txBox="1"/>
            <p:nvPr/>
          </p:nvSpPr>
          <p:spPr>
            <a:xfrm>
              <a:off x="8042422" y="3872081"/>
              <a:ext cx="194421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b="1" dirty="0" smtClean="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添加标题</a:t>
              </a:r>
              <a:endParaRPr lang="zh-CN" altLang="en-US" sz="1200" b="1" dirty="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21" name="组合 20"/>
            <p:cNvGrpSpPr/>
            <p:nvPr/>
          </p:nvGrpSpPr>
          <p:grpSpPr>
            <a:xfrm>
              <a:off x="10975984" y="4430314"/>
              <a:ext cx="792088" cy="792088"/>
              <a:chOff x="10975984" y="4430314"/>
              <a:chExt cx="792088" cy="792088"/>
            </a:xfrm>
          </p:grpSpPr>
          <p:sp>
            <p:nvSpPr>
              <p:cNvPr id="22" name="椭圆 21"/>
              <p:cNvSpPr/>
              <p:nvPr/>
            </p:nvSpPr>
            <p:spPr>
              <a:xfrm>
                <a:off x="10975984" y="4430314"/>
                <a:ext cx="792088" cy="792088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pic>
            <p:nvPicPr>
              <p:cNvPr id="23" name="图片 22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105410" y="4586521"/>
                <a:ext cx="472906" cy="472906"/>
              </a:xfrm>
              <a:prstGeom prst="rect">
                <a:avLst/>
              </a:prstGeom>
            </p:spPr>
          </p:pic>
        </p:grpSp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1268666" y="1916832"/>
            <a:ext cx="9654667" cy="3896692"/>
            <a:chOff x="1769925" y="1672224"/>
            <a:chExt cx="8665124" cy="3497305"/>
          </a:xfrm>
        </p:grpSpPr>
        <p:sp>
          <p:nvSpPr>
            <p:cNvPr id="7" name="矩形 6"/>
            <p:cNvSpPr/>
            <p:nvPr/>
          </p:nvSpPr>
          <p:spPr>
            <a:xfrm>
              <a:off x="6094422" y="1700808"/>
              <a:ext cx="2160240" cy="1728192"/>
            </a:xfrm>
            <a:prstGeom prst="rect">
              <a:avLst/>
            </a:prstGeom>
            <a:solidFill>
              <a:srgbClr val="50576A"/>
            </a:solidFill>
            <a:ln>
              <a:solidFill>
                <a:srgbClr val="50576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1769925" y="3429000"/>
              <a:ext cx="2160240" cy="1728192"/>
            </a:xfrm>
            <a:prstGeom prst="rect">
              <a:avLst/>
            </a:prstGeom>
            <a:solidFill>
              <a:srgbClr val="FF78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" name="矩形 8"/>
            <p:cNvSpPr/>
            <p:nvPr/>
          </p:nvSpPr>
          <p:spPr>
            <a:xfrm>
              <a:off x="8256240" y="3429000"/>
              <a:ext cx="2160240" cy="1728192"/>
            </a:xfrm>
            <a:prstGeom prst="rect">
              <a:avLst/>
            </a:prstGeom>
            <a:solidFill>
              <a:srgbClr val="FF3B77"/>
            </a:solidFill>
            <a:ln>
              <a:solidFill>
                <a:srgbClr val="FF3B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pic>
          <p:nvPicPr>
            <p:cNvPr id="10" name="图片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69925" y="1672224"/>
              <a:ext cx="2160240" cy="1756776"/>
            </a:xfrm>
            <a:prstGeom prst="rect">
              <a:avLst/>
            </a:prstGeom>
          </p:spPr>
        </p:pic>
        <p:pic>
          <p:nvPicPr>
            <p:cNvPr id="11" name="图片 1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0078" y="3428234"/>
              <a:ext cx="2152345" cy="1741295"/>
            </a:xfrm>
            <a:prstGeom prst="rect">
              <a:avLst/>
            </a:prstGeom>
          </p:spPr>
        </p:pic>
        <p:pic>
          <p:nvPicPr>
            <p:cNvPr id="12" name="图片 1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00316" y="3429000"/>
              <a:ext cx="2154345" cy="1728192"/>
            </a:xfrm>
            <a:prstGeom prst="rect">
              <a:avLst/>
            </a:prstGeom>
          </p:spPr>
        </p:pic>
        <p:pic>
          <p:nvPicPr>
            <p:cNvPr id="13" name="图片 12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78485" y="1700808"/>
              <a:ext cx="2156564" cy="1727426"/>
            </a:xfrm>
            <a:prstGeom prst="rect">
              <a:avLst/>
            </a:prstGeom>
          </p:spPr>
        </p:pic>
        <p:grpSp>
          <p:nvGrpSpPr>
            <p:cNvPr id="14" name="组合 13"/>
            <p:cNvGrpSpPr/>
            <p:nvPr/>
          </p:nvGrpSpPr>
          <p:grpSpPr>
            <a:xfrm>
              <a:off x="3635424" y="1700808"/>
              <a:ext cx="2457000" cy="1728192"/>
              <a:chOff x="3639021" y="1700808"/>
              <a:chExt cx="2457000" cy="1728192"/>
            </a:xfrm>
          </p:grpSpPr>
          <p:sp>
            <p:nvSpPr>
              <p:cNvPr id="25" name="矩形 24"/>
              <p:cNvSpPr/>
              <p:nvPr/>
            </p:nvSpPr>
            <p:spPr>
              <a:xfrm>
                <a:off x="3935781" y="1700808"/>
                <a:ext cx="2160240" cy="1728192"/>
              </a:xfrm>
              <a:prstGeom prst="rect">
                <a:avLst/>
              </a:prstGeom>
              <a:solidFill>
                <a:srgbClr val="01B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6" name="等腰三角形 25"/>
              <p:cNvSpPr/>
              <p:nvPr/>
            </p:nvSpPr>
            <p:spPr>
              <a:xfrm rot="16200000">
                <a:off x="3614365" y="2410423"/>
                <a:ext cx="357505" cy="308194"/>
              </a:xfrm>
              <a:prstGeom prst="triangle">
                <a:avLst/>
              </a:prstGeom>
              <a:solidFill>
                <a:srgbClr val="01B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5" name="等腰三角形 14"/>
            <p:cNvSpPr/>
            <p:nvPr/>
          </p:nvSpPr>
          <p:spPr>
            <a:xfrm rot="5400000">
              <a:off x="3905275" y="4175503"/>
              <a:ext cx="357505" cy="308194"/>
            </a:xfrm>
            <a:prstGeom prst="triangle">
              <a:avLst/>
            </a:prstGeom>
            <a:solidFill>
              <a:srgbClr val="FF78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6" name="等腰三角形 15"/>
            <p:cNvSpPr/>
            <p:nvPr/>
          </p:nvSpPr>
          <p:spPr>
            <a:xfrm rot="16200000">
              <a:off x="7922673" y="4177857"/>
              <a:ext cx="357505" cy="308194"/>
            </a:xfrm>
            <a:prstGeom prst="triangle">
              <a:avLst/>
            </a:prstGeom>
            <a:solidFill>
              <a:srgbClr val="5057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7" name="文本框 16"/>
            <p:cNvSpPr txBox="1"/>
            <p:nvPr/>
          </p:nvSpPr>
          <p:spPr>
            <a:xfrm>
              <a:off x="2317974" y="3744825"/>
              <a:ext cx="1287436" cy="5248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进取</a:t>
              </a:r>
              <a:endParaRPr lang="zh-CN" altLang="en-US" sz="32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文本框 17"/>
            <p:cNvSpPr txBox="1"/>
            <p:nvPr/>
          </p:nvSpPr>
          <p:spPr>
            <a:xfrm>
              <a:off x="4535696" y="2009165"/>
              <a:ext cx="1287436" cy="5248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合作</a:t>
              </a:r>
              <a:endParaRPr lang="zh-CN" altLang="en-US" sz="32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文本框 18"/>
            <p:cNvSpPr txBox="1"/>
            <p:nvPr/>
          </p:nvSpPr>
          <p:spPr>
            <a:xfrm>
              <a:off x="6709033" y="2009517"/>
              <a:ext cx="1287436" cy="5248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共赢</a:t>
              </a:r>
              <a:endParaRPr lang="zh-CN" altLang="en-US" sz="32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文本框 19"/>
            <p:cNvSpPr txBox="1"/>
            <p:nvPr/>
          </p:nvSpPr>
          <p:spPr>
            <a:xfrm>
              <a:off x="8814237" y="3744824"/>
              <a:ext cx="1287436" cy="5248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期盼</a:t>
              </a:r>
              <a:endParaRPr lang="zh-CN" altLang="en-US" sz="32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文本框 20"/>
            <p:cNvSpPr txBox="1"/>
            <p:nvPr/>
          </p:nvSpPr>
          <p:spPr>
            <a:xfrm>
              <a:off x="2113321" y="4338532"/>
              <a:ext cx="1473447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en-US" altLang="zh-CN" sz="1200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zh-CN" altLang="en-US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文本框 21"/>
            <p:cNvSpPr txBox="1"/>
            <p:nvPr/>
          </p:nvSpPr>
          <p:spPr>
            <a:xfrm>
              <a:off x="4282196" y="2564520"/>
              <a:ext cx="1473447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en-US" altLang="zh-CN" sz="1200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zh-CN" altLang="en-US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" name="文本框 22"/>
            <p:cNvSpPr txBox="1"/>
            <p:nvPr/>
          </p:nvSpPr>
          <p:spPr>
            <a:xfrm>
              <a:off x="6450775" y="2570325"/>
              <a:ext cx="1473447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en-US" altLang="zh-CN" sz="1200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zh-CN" altLang="en-US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" name="文本框 23"/>
            <p:cNvSpPr txBox="1"/>
            <p:nvPr/>
          </p:nvSpPr>
          <p:spPr>
            <a:xfrm>
              <a:off x="8599636" y="4293096"/>
              <a:ext cx="1473447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en-US" altLang="zh-CN" sz="1200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zh-CN" altLang="en-US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1063782" y="1402043"/>
            <a:ext cx="10100650" cy="4707535"/>
            <a:chOff x="1505022" y="1700808"/>
            <a:chExt cx="10100650" cy="4707535"/>
          </a:xfrm>
        </p:grpSpPr>
        <p:sp>
          <p:nvSpPr>
            <p:cNvPr id="7" name="文本4"/>
            <p:cNvSpPr>
              <a:spLocks noChangeArrowheads="1"/>
            </p:cNvSpPr>
            <p:nvPr/>
          </p:nvSpPr>
          <p:spPr bwMode="black">
            <a:xfrm>
              <a:off x="5320222" y="4536497"/>
              <a:ext cx="2337083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gradFill rotWithShape="1">
                    <a:gsLst>
                      <a:gs pos="0">
                        <a:schemeClr val="accent2"/>
                      </a:gs>
                      <a:gs pos="100000">
                        <a:schemeClr val="accent2">
                          <a:gamma/>
                          <a:tint val="73725"/>
                          <a:invGamma/>
                        </a:schemeClr>
                      </a:gs>
                    </a:gsLst>
                    <a:lin ang="5400000" scaled="1"/>
                  </a:gra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>
                <a:defRPr/>
              </a:pPr>
              <a:r>
                <a:rPr lang="zh-CN" altLang="en-US" kern="0" dirty="0">
                  <a:solidFill>
                    <a:schemeClr val="bg1"/>
                  </a:solidFill>
                  <a:ea typeface="微软雅黑" panose="020B0503020204020204" pitchFamily="34" charset="-122"/>
                </a:rPr>
                <a:t>此处添加文本</a:t>
              </a:r>
              <a:r>
                <a:rPr lang="en-US" altLang="zh-CN" kern="0" dirty="0">
                  <a:solidFill>
                    <a:schemeClr val="bg1"/>
                  </a:solidFill>
                  <a:ea typeface="微软雅黑" panose="020B0503020204020204" pitchFamily="34" charset="-122"/>
                </a:rPr>
                <a:t>4</a:t>
              </a:r>
              <a:endParaRPr lang="en-US" altLang="zh-CN" kern="0" dirty="0">
                <a:solidFill>
                  <a:schemeClr val="bg1"/>
                </a:solidFill>
                <a:ea typeface="微软雅黑" panose="020B0503020204020204" pitchFamily="34" charset="-122"/>
              </a:endParaRPr>
            </a:p>
          </p:txBody>
        </p:sp>
        <p:sp>
          <p:nvSpPr>
            <p:cNvPr id="8" name="文本3"/>
            <p:cNvSpPr>
              <a:spLocks noChangeArrowheads="1"/>
            </p:cNvSpPr>
            <p:nvPr/>
          </p:nvSpPr>
          <p:spPr bwMode="black">
            <a:xfrm>
              <a:off x="5591419" y="3632562"/>
              <a:ext cx="2335302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gradFill rotWithShape="1">
                    <a:gsLst>
                      <a:gs pos="0">
                        <a:schemeClr val="accent2"/>
                      </a:gs>
                      <a:gs pos="100000">
                        <a:schemeClr val="accent2">
                          <a:gamma/>
                          <a:tint val="73725"/>
                          <a:invGamma/>
                        </a:schemeClr>
                      </a:gs>
                    </a:gsLst>
                    <a:lin ang="5400000" scaled="1"/>
                  </a:gra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>
                <a:defRPr/>
              </a:pPr>
              <a:r>
                <a:rPr lang="zh-CN" altLang="en-US" kern="0" dirty="0">
                  <a:solidFill>
                    <a:schemeClr val="bg1"/>
                  </a:solidFill>
                  <a:ea typeface="微软雅黑" panose="020B0503020204020204" pitchFamily="34" charset="-122"/>
                </a:rPr>
                <a:t>此处添加文本</a:t>
              </a:r>
              <a:r>
                <a:rPr lang="en-US" altLang="zh-CN" kern="0" dirty="0">
                  <a:solidFill>
                    <a:schemeClr val="bg1"/>
                  </a:solidFill>
                  <a:ea typeface="微软雅黑" panose="020B0503020204020204" pitchFamily="34" charset="-122"/>
                </a:rPr>
                <a:t>3</a:t>
              </a:r>
              <a:endParaRPr lang="en-US" altLang="zh-CN" kern="0" dirty="0">
                <a:solidFill>
                  <a:schemeClr val="bg1"/>
                </a:solidFill>
                <a:ea typeface="微软雅黑" panose="020B0503020204020204" pitchFamily="34" charset="-122"/>
              </a:endParaRPr>
            </a:p>
          </p:txBody>
        </p:sp>
        <p:sp>
          <p:nvSpPr>
            <p:cNvPr id="9" name="文本2"/>
            <p:cNvSpPr>
              <a:spLocks noChangeArrowheads="1"/>
            </p:cNvSpPr>
            <p:nvPr/>
          </p:nvSpPr>
          <p:spPr bwMode="black">
            <a:xfrm>
              <a:off x="5324189" y="2753998"/>
              <a:ext cx="2335302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gradFill rotWithShape="1">
                    <a:gsLst>
                      <a:gs pos="0">
                        <a:schemeClr val="accent2"/>
                      </a:gs>
                      <a:gs pos="100000">
                        <a:schemeClr val="accent2">
                          <a:gamma/>
                          <a:tint val="73725"/>
                          <a:invGamma/>
                        </a:schemeClr>
                      </a:gs>
                    </a:gsLst>
                    <a:lin ang="5400000" scaled="1"/>
                  </a:gra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>
                <a:defRPr/>
              </a:pPr>
              <a:r>
                <a:rPr lang="zh-CN" altLang="en-US" kern="0" dirty="0">
                  <a:solidFill>
                    <a:schemeClr val="bg1"/>
                  </a:solidFill>
                  <a:ea typeface="微软雅黑" panose="020B0503020204020204" pitchFamily="34" charset="-122"/>
                </a:rPr>
                <a:t>此处添加文本</a:t>
              </a:r>
              <a:r>
                <a:rPr lang="en-US" altLang="zh-CN" kern="0" dirty="0">
                  <a:solidFill>
                    <a:schemeClr val="bg1"/>
                  </a:solidFill>
                  <a:ea typeface="微软雅黑" panose="020B0503020204020204" pitchFamily="34" charset="-122"/>
                </a:rPr>
                <a:t>2</a:t>
              </a:r>
              <a:endParaRPr lang="en-US" altLang="zh-CN" kern="0" dirty="0">
                <a:solidFill>
                  <a:schemeClr val="bg1"/>
                </a:solidFill>
                <a:ea typeface="微软雅黑" panose="020B0503020204020204" pitchFamily="34" charset="-122"/>
              </a:endParaRPr>
            </a:p>
          </p:txBody>
        </p:sp>
        <p:grpSp>
          <p:nvGrpSpPr>
            <p:cNvPr id="10" name="组合 9"/>
            <p:cNvGrpSpPr/>
            <p:nvPr/>
          </p:nvGrpSpPr>
          <p:grpSpPr>
            <a:xfrm>
              <a:off x="1505022" y="1700808"/>
              <a:ext cx="5437540" cy="4192919"/>
              <a:chOff x="1055440" y="1556792"/>
              <a:chExt cx="5437540" cy="4192919"/>
            </a:xfrm>
          </p:grpSpPr>
          <p:grpSp>
            <p:nvGrpSpPr>
              <p:cNvPr id="14" name="网线"/>
              <p:cNvGrpSpPr/>
              <p:nvPr/>
            </p:nvGrpSpPr>
            <p:grpSpPr>
              <a:xfrm>
                <a:off x="1055440" y="1556792"/>
                <a:ext cx="3986578" cy="4192919"/>
                <a:chOff x="1937437" y="1332541"/>
                <a:chExt cx="3986578" cy="4192919"/>
              </a:xfrm>
            </p:grpSpPr>
            <p:sp>
              <p:nvSpPr>
                <p:cNvPr id="26" name="Line 16"/>
                <p:cNvSpPr>
                  <a:spLocks noChangeShapeType="1"/>
                </p:cNvSpPr>
                <p:nvPr/>
              </p:nvSpPr>
              <p:spPr bwMode="gray">
                <a:xfrm>
                  <a:off x="1937437" y="3430781"/>
                  <a:ext cx="3986578" cy="0"/>
                </a:xfrm>
                <a:prstGeom prst="line">
                  <a:avLst/>
                </a:prstGeom>
                <a:noFill/>
                <a:ln w="28575">
                  <a:solidFill>
                    <a:srgbClr val="808080">
                      <a:alpha val="50000"/>
                    </a:srgbClr>
                  </a:solidFill>
                  <a:rou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 kern="0" dirty="0">
                    <a:solidFill>
                      <a:sysClr val="windowText" lastClr="000000"/>
                    </a:solidFill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7" name="Line 17"/>
                <p:cNvSpPr>
                  <a:spLocks noChangeShapeType="1"/>
                </p:cNvSpPr>
                <p:nvPr/>
              </p:nvSpPr>
              <p:spPr bwMode="gray">
                <a:xfrm>
                  <a:off x="3930726" y="1332541"/>
                  <a:ext cx="0" cy="4192919"/>
                </a:xfrm>
                <a:prstGeom prst="line">
                  <a:avLst/>
                </a:prstGeom>
                <a:noFill/>
                <a:ln w="28575">
                  <a:solidFill>
                    <a:srgbClr val="808080">
                      <a:alpha val="50000"/>
                    </a:srgbClr>
                  </a:solidFill>
                  <a:rou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zh-CN" altLang="en-US" kern="0" dirty="0">
                    <a:solidFill>
                      <a:sysClr val="windowText" lastClr="000000"/>
                    </a:solidFill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8" name="Oval 10"/>
                <p:cNvSpPr>
                  <a:spLocks noChangeArrowheads="1"/>
                </p:cNvSpPr>
                <p:nvPr/>
              </p:nvSpPr>
              <p:spPr bwMode="gray">
                <a:xfrm>
                  <a:off x="2332889" y="1808118"/>
                  <a:ext cx="3192112" cy="3216828"/>
                </a:xfrm>
                <a:prstGeom prst="ellipse">
                  <a:avLst/>
                </a:prstGeom>
                <a:noFill/>
                <a:ln w="9525">
                  <a:solidFill>
                    <a:srgbClr val="B2B2B2">
                      <a:alpha val="50000"/>
                    </a:srgbClr>
                  </a:solidFill>
                  <a:rou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>
                          <a:alpha val="64999"/>
                        </a:schemeClr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zh-CN" altLang="en-US" kern="0" dirty="0">
                    <a:solidFill>
                      <a:sysClr val="windowText" lastClr="000000"/>
                    </a:solidFill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" name="Oval 15"/>
                <p:cNvSpPr>
                  <a:spLocks noChangeArrowheads="1"/>
                </p:cNvSpPr>
                <p:nvPr/>
              </p:nvSpPr>
              <p:spPr bwMode="auto">
                <a:xfrm>
                  <a:off x="2135163" y="1601500"/>
                  <a:ext cx="3608939" cy="3642531"/>
                </a:xfrm>
                <a:prstGeom prst="ellipse">
                  <a:avLst/>
                </a:prstGeom>
                <a:noFill/>
                <a:ln w="19050">
                  <a:solidFill>
                    <a:srgbClr val="B2B2B2">
                      <a:alpha val="50000"/>
                    </a:srgbClr>
                  </a:solidFill>
                  <a:rou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zh-CN" altLang="en-US" kern="0" dirty="0">
                    <a:solidFill>
                      <a:sysClr val="windowText" lastClr="000000"/>
                    </a:solidFill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5" name="标题"/>
              <p:cNvGrpSpPr/>
              <p:nvPr/>
            </p:nvGrpSpPr>
            <p:grpSpPr bwMode="auto">
              <a:xfrm>
                <a:off x="1705619" y="2312017"/>
                <a:ext cx="2668407" cy="2721656"/>
                <a:chOff x="579" y="1589"/>
                <a:chExt cx="1358" cy="1358"/>
              </a:xfrm>
            </p:grpSpPr>
            <p:sp>
              <p:nvSpPr>
                <p:cNvPr id="23" name="Oval 12"/>
                <p:cNvSpPr>
                  <a:spLocks noChangeArrowheads="1"/>
                </p:cNvSpPr>
                <p:nvPr/>
              </p:nvSpPr>
              <p:spPr bwMode="gray">
                <a:xfrm>
                  <a:off x="579" y="1589"/>
                  <a:ext cx="1358" cy="1358"/>
                </a:xfrm>
                <a:prstGeom prst="ellipse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38100">
                  <a:solidFill>
                    <a:srgbClr val="F8F8F8"/>
                  </a:solidFill>
                  <a:round/>
                </a:ln>
                <a:effectLst/>
              </p:spPr>
              <p:txBody>
                <a:bodyPr wrap="none" anchor="ctr"/>
                <a:lstStyle/>
                <a:p>
                  <a:pPr>
                    <a:defRPr/>
                  </a:pPr>
                  <a:endParaRPr lang="zh-CN" altLang="en-US" kern="0" dirty="0">
                    <a:solidFill>
                      <a:sysClr val="windowText" lastClr="000000"/>
                    </a:solidFill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4" name="Oval 13"/>
                <p:cNvSpPr>
                  <a:spLocks noChangeArrowheads="1"/>
                </p:cNvSpPr>
                <p:nvPr/>
              </p:nvSpPr>
              <p:spPr bwMode="gray">
                <a:xfrm>
                  <a:off x="635" y="1642"/>
                  <a:ext cx="1245" cy="1246"/>
                </a:xfrm>
                <a:prstGeom prst="ellipse">
                  <a:avLst/>
                </a:prstGeom>
                <a:solidFill>
                  <a:schemeClr val="tx1">
                    <a:lumMod val="85000"/>
                    <a:lumOff val="15000"/>
                  </a:schemeClr>
                </a:solidFill>
                <a:ln>
                  <a:noFill/>
                </a:ln>
                <a:effectLst>
                  <a:outerShdw algn="ctr" rotWithShape="0">
                    <a:srgbClr val="000000">
                      <a:alpha val="50000"/>
                    </a:srgbClr>
                  </a:outerShdw>
                </a:effectLst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DDDDDD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zh-CN" altLang="en-US" kern="0" dirty="0">
                    <a:solidFill>
                      <a:sysClr val="windowText" lastClr="000000"/>
                    </a:solidFill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5" name="Oval 14"/>
                <p:cNvSpPr>
                  <a:spLocks noChangeArrowheads="1"/>
                </p:cNvSpPr>
                <p:nvPr/>
              </p:nvSpPr>
              <p:spPr bwMode="gray">
                <a:xfrm>
                  <a:off x="865" y="1880"/>
                  <a:ext cx="797" cy="798"/>
                </a:xfrm>
                <a:prstGeom prst="ellipse">
                  <a:avLst/>
                </a:prstGeom>
                <a:solidFill>
                  <a:srgbClr val="01B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B2B2B2"/>
                      </a:solidFill>
                      <a:rou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>
                            <a:alpha val="50000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algn="ctr">
                    <a:defRPr/>
                  </a:pPr>
                  <a:r>
                    <a:rPr lang="zh-CN" altLang="en-US" sz="2800" b="1" kern="0" dirty="0" smtClean="0">
                      <a:solidFill>
                        <a:srgbClr val="FFFFFF"/>
                      </a:solidFill>
                      <a:ea typeface="微软雅黑" panose="020B0503020204020204" pitchFamily="34" charset="-122"/>
                    </a:rPr>
                    <a:t>标题</a:t>
                  </a:r>
                  <a:endParaRPr lang="zh-CN" altLang="en-US" sz="2800" b="1" kern="0" dirty="0">
                    <a:solidFill>
                      <a:srgbClr val="FFFFFF"/>
                    </a:solidFill>
                    <a:ea typeface="微软雅黑" panose="020B0503020204020204" pitchFamily="34" charset="-122"/>
                  </a:endParaRPr>
                </a:p>
              </p:txBody>
            </p:sp>
          </p:grpSp>
          <p:sp>
            <p:nvSpPr>
              <p:cNvPr id="16" name="文本5"/>
              <p:cNvSpPr>
                <a:spLocks noChangeArrowheads="1"/>
              </p:cNvSpPr>
              <p:nvPr/>
            </p:nvSpPr>
            <p:spPr bwMode="black">
              <a:xfrm>
                <a:off x="4155897" y="5108519"/>
                <a:ext cx="2337083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gradFill rotWithShape="1">
                      <a:gsLst>
                        <a:gs pos="0">
                          <a:schemeClr val="accent2"/>
                        </a:gs>
                        <a:gs pos="100000">
                          <a:schemeClr val="accent2">
                            <a:gamma/>
                            <a:tint val="73725"/>
                            <a:invGamma/>
                          </a:schemeClr>
                        </a:gs>
                      </a:gsLst>
                      <a:lin ang="5400000" scaled="1"/>
                    </a:gra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>
                          <a:alpha val="50000"/>
                        </a:schemeClr>
                      </a:outerShdw>
                    </a:effectLst>
                  </a14:hiddenEffects>
                </a:ext>
              </a:extLst>
            </p:spPr>
            <p:txBody>
              <a:bodyPr anchor="ctr">
                <a:spAutoFit/>
              </a:bodyPr>
              <a:lstStyle/>
              <a:p>
                <a:pPr>
                  <a:defRPr/>
                </a:pPr>
                <a:r>
                  <a:rPr lang="zh-CN" altLang="en-US" kern="0" dirty="0">
                    <a:solidFill>
                      <a:schemeClr val="bg1"/>
                    </a:solidFill>
                    <a:ea typeface="微软雅黑" panose="020B0503020204020204" pitchFamily="34" charset="-122"/>
                  </a:rPr>
                  <a:t>此处添加文本</a:t>
                </a:r>
                <a:r>
                  <a:rPr lang="en-US" altLang="zh-CN" kern="0" dirty="0">
                    <a:solidFill>
                      <a:schemeClr val="bg1"/>
                    </a:solidFill>
                    <a:ea typeface="微软雅黑" panose="020B0503020204020204" pitchFamily="34" charset="-122"/>
                  </a:rPr>
                  <a:t>5</a:t>
                </a:r>
                <a:endParaRPr lang="en-US" altLang="zh-CN" kern="0" dirty="0">
                  <a:solidFill>
                    <a:schemeClr val="bg1"/>
                  </a:solidFill>
                  <a:ea typeface="微软雅黑" panose="020B0503020204020204" pitchFamily="34" charset="-122"/>
                </a:endParaRPr>
              </a:p>
            </p:txBody>
          </p:sp>
          <p:sp>
            <p:nvSpPr>
              <p:cNvPr id="17" name="文本1"/>
              <p:cNvSpPr>
                <a:spLocks noChangeArrowheads="1"/>
              </p:cNvSpPr>
              <p:nvPr/>
            </p:nvSpPr>
            <p:spPr bwMode="black">
              <a:xfrm>
                <a:off x="4102862" y="1822225"/>
                <a:ext cx="2337083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gradFill rotWithShape="1">
                      <a:gsLst>
                        <a:gs pos="0">
                          <a:schemeClr val="accent2"/>
                        </a:gs>
                        <a:gs pos="100000">
                          <a:schemeClr val="accent2">
                            <a:gamma/>
                            <a:tint val="73725"/>
                            <a:invGamma/>
                          </a:schemeClr>
                        </a:gs>
                      </a:gsLst>
                      <a:lin ang="5400000" scaled="1"/>
                    </a:gra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>
                          <a:alpha val="50000"/>
                        </a:schemeClr>
                      </a:outerShdw>
                    </a:effectLst>
                  </a14:hiddenEffects>
                </a:ext>
              </a:extLst>
            </p:spPr>
            <p:txBody>
              <a:bodyPr anchor="ctr">
                <a:spAutoFit/>
              </a:bodyPr>
              <a:lstStyle/>
              <a:p>
                <a:pPr>
                  <a:defRPr/>
                </a:pPr>
                <a:r>
                  <a:rPr lang="zh-CN" altLang="en-US" kern="0" dirty="0" smtClean="0">
                    <a:solidFill>
                      <a:schemeClr val="bg1"/>
                    </a:solidFill>
                    <a:ea typeface="微软雅黑" panose="020B0503020204020204" pitchFamily="34" charset="-122"/>
                  </a:rPr>
                  <a:t>此处添加文本</a:t>
                </a:r>
                <a:r>
                  <a:rPr lang="en-US" altLang="zh-CN" kern="0" dirty="0" smtClean="0">
                    <a:solidFill>
                      <a:schemeClr val="bg1"/>
                    </a:solidFill>
                    <a:ea typeface="微软雅黑" panose="020B0503020204020204" pitchFamily="34" charset="-122"/>
                  </a:rPr>
                  <a:t>1</a:t>
                </a:r>
                <a:endParaRPr lang="en-US" altLang="zh-CN" kern="0" dirty="0">
                  <a:solidFill>
                    <a:schemeClr val="bg1"/>
                  </a:solidFill>
                  <a:ea typeface="微软雅黑" panose="020B0503020204020204" pitchFamily="34" charset="-122"/>
                </a:endParaRPr>
              </a:p>
            </p:txBody>
          </p:sp>
          <p:sp>
            <p:nvSpPr>
              <p:cNvPr id="18" name="Oval 19"/>
              <p:cNvSpPr>
                <a:spLocks noChangeArrowheads="1"/>
              </p:cNvSpPr>
              <p:nvPr/>
            </p:nvSpPr>
            <p:spPr bwMode="gray">
              <a:xfrm>
                <a:off x="3688220" y="1806159"/>
                <a:ext cx="381201" cy="381174"/>
              </a:xfrm>
              <a:prstGeom prst="ellipse">
                <a:avLst/>
              </a:prstGeom>
              <a:solidFill>
                <a:srgbClr val="FF3B77"/>
              </a:solidFill>
              <a:ln w="12700">
                <a:noFill/>
                <a:round/>
              </a:ln>
              <a:effectLst>
                <a:outerShdw dist="35921" dir="2700000" algn="ctr" rotWithShape="0">
                  <a:srgbClr val="1C1C1C">
                    <a:alpha val="50000"/>
                  </a:srgbClr>
                </a:outer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ea typeface="微软雅黑" panose="020B0503020204020204" pitchFamily="34" charset="-122"/>
                </a:endParaRPr>
              </a:p>
            </p:txBody>
          </p:sp>
          <p:sp>
            <p:nvSpPr>
              <p:cNvPr id="19" name="Oval 28"/>
              <p:cNvSpPr>
                <a:spLocks noChangeArrowheads="1"/>
              </p:cNvSpPr>
              <p:nvPr/>
            </p:nvSpPr>
            <p:spPr bwMode="gray">
              <a:xfrm>
                <a:off x="4486249" y="2597007"/>
                <a:ext cx="381201" cy="381174"/>
              </a:xfrm>
              <a:prstGeom prst="ellipse">
                <a:avLst/>
              </a:prstGeom>
              <a:solidFill>
                <a:srgbClr val="FF780A"/>
              </a:solidFill>
              <a:ln w="12700">
                <a:noFill/>
                <a:round/>
              </a:ln>
              <a:effectLst>
                <a:outerShdw dist="35921" dir="2700000" algn="ctr" rotWithShape="0">
                  <a:srgbClr val="1C1C1C">
                    <a:alpha val="50000"/>
                  </a:srgbClr>
                </a:outer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ea typeface="微软雅黑" panose="020B0503020204020204" pitchFamily="34" charset="-122"/>
                </a:endParaRPr>
              </a:p>
            </p:txBody>
          </p:sp>
          <p:sp>
            <p:nvSpPr>
              <p:cNvPr id="20" name="Oval 31"/>
              <p:cNvSpPr>
                <a:spLocks noChangeArrowheads="1"/>
              </p:cNvSpPr>
              <p:nvPr/>
            </p:nvSpPr>
            <p:spPr bwMode="gray">
              <a:xfrm>
                <a:off x="4746320" y="3459101"/>
                <a:ext cx="381201" cy="381174"/>
              </a:xfrm>
              <a:prstGeom prst="ellipse">
                <a:avLst/>
              </a:prstGeom>
              <a:solidFill>
                <a:srgbClr val="F79E1E"/>
              </a:solidFill>
              <a:ln w="12700">
                <a:noFill/>
                <a:round/>
              </a:ln>
              <a:effectLst>
                <a:outerShdw dist="35921" dir="2700000" algn="ctr" rotWithShape="0">
                  <a:srgbClr val="1C1C1C">
                    <a:alpha val="50000"/>
                  </a:srgbClr>
                </a:outer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ea typeface="微软雅黑" panose="020B0503020204020204" pitchFamily="34" charset="-122"/>
                </a:endParaRPr>
              </a:p>
            </p:txBody>
          </p:sp>
          <p:sp>
            <p:nvSpPr>
              <p:cNvPr id="21" name="Oval 34"/>
              <p:cNvSpPr>
                <a:spLocks noChangeArrowheads="1"/>
              </p:cNvSpPr>
              <p:nvPr/>
            </p:nvSpPr>
            <p:spPr bwMode="gray">
              <a:xfrm>
                <a:off x="4475561" y="4374634"/>
                <a:ext cx="381201" cy="381174"/>
              </a:xfrm>
              <a:prstGeom prst="ellipse">
                <a:avLst/>
              </a:prstGeom>
              <a:solidFill>
                <a:srgbClr val="54B391"/>
              </a:solidFill>
              <a:ln w="12700">
                <a:solidFill>
                  <a:srgbClr val="F8F8F8"/>
                </a:solidFill>
                <a:round/>
              </a:ln>
              <a:effectLst>
                <a:outerShdw dist="35921" dir="2700000" algn="ctr" rotWithShape="0">
                  <a:srgbClr val="1C1C1C">
                    <a:alpha val="50000"/>
                  </a:srgbClr>
                </a:outer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ea typeface="微软雅黑" panose="020B0503020204020204" pitchFamily="34" charset="-122"/>
                </a:endParaRPr>
              </a:p>
            </p:txBody>
          </p:sp>
          <p:sp>
            <p:nvSpPr>
              <p:cNvPr id="22" name="Oval 37"/>
              <p:cNvSpPr>
                <a:spLocks noChangeArrowheads="1"/>
              </p:cNvSpPr>
              <p:nvPr/>
            </p:nvSpPr>
            <p:spPr bwMode="gray">
              <a:xfrm>
                <a:off x="3773723" y="5072860"/>
                <a:ext cx="381201" cy="381174"/>
              </a:xfrm>
              <a:prstGeom prst="ellipse">
                <a:avLst/>
              </a:prstGeom>
              <a:solidFill>
                <a:srgbClr val="01BFFF"/>
              </a:solidFill>
              <a:ln w="12700">
                <a:noFill/>
                <a:round/>
              </a:ln>
              <a:effectLst>
                <a:outerShdw dist="35921" dir="2700000" algn="ctr" rotWithShape="0">
                  <a:srgbClr val="1C1C1C">
                    <a:alpha val="50000"/>
                  </a:srgbClr>
                </a:outer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7891305" y="3391304"/>
              <a:ext cx="3714367" cy="3017039"/>
              <a:chOff x="8070265" y="2941287"/>
              <a:chExt cx="3714367" cy="3017039"/>
            </a:xfrm>
          </p:grpSpPr>
          <p:sp>
            <p:nvSpPr>
              <p:cNvPr id="12" name="文本框 11"/>
              <p:cNvSpPr txBox="1"/>
              <p:nvPr/>
            </p:nvSpPr>
            <p:spPr>
              <a:xfrm>
                <a:off x="8070265" y="2941287"/>
                <a:ext cx="226962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b="1" dirty="0" smtClean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单击此处添加标题</a:t>
                </a:r>
                <a:endParaRPr lang="zh-CN" altLang="en-US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3" name="文本框 12"/>
              <p:cNvSpPr txBox="1"/>
              <p:nvPr/>
            </p:nvSpPr>
            <p:spPr>
              <a:xfrm>
                <a:off x="8075610" y="3249892"/>
                <a:ext cx="3709022" cy="27084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我们工作室致力于专业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模板的发布，课件及汇报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的美化，并为您提供专业的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个性定制服务。我们秉承“给您演示的光和热”的理念，为您分担职场压力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,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让您的每一次亮相都信心澎湃。专业的团队，完善的售后，热情的服务，科学严谨的逻辑，一丝不苟的工作态度，定能使您的发展如虎添翼！</a:t>
                </a:r>
                <a:endPara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endPara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除了模板的发布与定制，我们还为您准备了使用教程，希望能够能够更好的使用该作品，授人以鱼不如授人以渔，希望您在下班之余，能够和我们一起进步，共同感受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的巨大魅力与价值。我们诚祝您在工作中事事顺心，步步高升！最后让我们谨记：最重要的不是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，是你。</a:t>
                </a:r>
                <a:endPara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endParaRPr lang="zh-CN" altLang="en-US" sz="1400" dirty="0">
                  <a:solidFill>
                    <a:schemeClr val="bg1"/>
                  </a:solidFill>
                </a:endParaRPr>
              </a:p>
            </p:txBody>
          </p:sp>
        </p:grpSp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1343472" y="1484784"/>
            <a:ext cx="10635591" cy="3528392"/>
            <a:chOff x="1343472" y="1484784"/>
            <a:chExt cx="10635591" cy="3528392"/>
          </a:xfrm>
        </p:grpSpPr>
        <p:grpSp>
          <p:nvGrpSpPr>
            <p:cNvPr id="7" name="组合 6"/>
            <p:cNvGrpSpPr/>
            <p:nvPr/>
          </p:nvGrpSpPr>
          <p:grpSpPr>
            <a:xfrm>
              <a:off x="1343472" y="1484784"/>
              <a:ext cx="10635591" cy="3528392"/>
              <a:chOff x="2063552" y="1628800"/>
              <a:chExt cx="9984432" cy="3312368"/>
            </a:xfrm>
          </p:grpSpPr>
          <p:sp>
            <p:nvSpPr>
              <p:cNvPr id="10" name="矩形 9"/>
              <p:cNvSpPr/>
              <p:nvPr/>
            </p:nvSpPr>
            <p:spPr>
              <a:xfrm>
                <a:off x="5159896" y="3140968"/>
                <a:ext cx="6888088" cy="504056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1" name="组合 10"/>
              <p:cNvGrpSpPr/>
              <p:nvPr/>
            </p:nvGrpSpPr>
            <p:grpSpPr>
              <a:xfrm>
                <a:off x="2063552" y="1628800"/>
                <a:ext cx="3312368" cy="3312368"/>
                <a:chOff x="2567608" y="1916832"/>
                <a:chExt cx="2736304" cy="2736304"/>
              </a:xfrm>
            </p:grpSpPr>
            <p:sp>
              <p:nvSpPr>
                <p:cNvPr id="16" name="椭圆 15"/>
                <p:cNvSpPr/>
                <p:nvPr/>
              </p:nvSpPr>
              <p:spPr>
                <a:xfrm>
                  <a:off x="2567608" y="1916832"/>
                  <a:ext cx="2736304" cy="2736304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7" name="椭圆 16"/>
                <p:cNvSpPr/>
                <p:nvPr/>
              </p:nvSpPr>
              <p:spPr>
                <a:xfrm>
                  <a:off x="2819636" y="2186966"/>
                  <a:ext cx="2232248" cy="2232248"/>
                </a:xfrm>
                <a:prstGeom prst="ellipse">
                  <a:avLst/>
                </a:prstGeom>
                <a:solidFill>
                  <a:srgbClr val="BFCF3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2" name="矩形 11"/>
              <p:cNvSpPr/>
              <p:nvPr/>
            </p:nvSpPr>
            <p:spPr>
              <a:xfrm>
                <a:off x="11640616" y="2636912"/>
                <a:ext cx="288032" cy="504056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矩形 12"/>
              <p:cNvSpPr/>
              <p:nvPr/>
            </p:nvSpPr>
            <p:spPr>
              <a:xfrm>
                <a:off x="11064552" y="2852936"/>
                <a:ext cx="451683" cy="288032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矩形 13"/>
              <p:cNvSpPr/>
              <p:nvPr/>
            </p:nvSpPr>
            <p:spPr>
              <a:xfrm>
                <a:off x="10488488" y="2780928"/>
                <a:ext cx="451683" cy="378192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矩形 14"/>
              <p:cNvSpPr/>
              <p:nvPr/>
            </p:nvSpPr>
            <p:spPr>
              <a:xfrm>
                <a:off x="9912424" y="2411812"/>
                <a:ext cx="451683" cy="738232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8" name="文本框 7"/>
            <p:cNvSpPr txBox="1"/>
            <p:nvPr/>
          </p:nvSpPr>
          <p:spPr>
            <a:xfrm>
              <a:off x="5464760" y="2627051"/>
              <a:ext cx="367240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20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、单击此处添加您的目录标题</a:t>
              </a:r>
              <a:endPara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9" name="图片 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70469" y="2764022"/>
              <a:ext cx="1080072" cy="1080072"/>
            </a:xfrm>
            <a:prstGeom prst="rect">
              <a:avLst/>
            </a:prstGeom>
          </p:spPr>
        </p:pic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1026621" y="1609853"/>
            <a:ext cx="10020801" cy="4098557"/>
            <a:chOff x="323671" y="914619"/>
            <a:chExt cx="8493774" cy="3104931"/>
          </a:xfrm>
        </p:grpSpPr>
        <p:sp>
          <p:nvSpPr>
            <p:cNvPr id="7" name="Rectangle 69"/>
            <p:cNvSpPr/>
            <p:nvPr/>
          </p:nvSpPr>
          <p:spPr>
            <a:xfrm>
              <a:off x="323671" y="2990850"/>
              <a:ext cx="2013052" cy="1028700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91428" tIns="45714" rIns="91428" bIns="45714" spcCol="0" rtlCol="0" anchor="ctr"/>
            <a:lstStyle/>
            <a:p>
              <a:pPr algn="ctr" defTabSz="91376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zh-CN" altLang="en-US" sz="1600" b="1" kern="0" dirty="0">
                  <a:solidFill>
                    <a:srgbClr val="373737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</a:t>
              </a:r>
              <a:r>
                <a:rPr lang="zh-CN" altLang="en-US" sz="1600" b="1" kern="0" dirty="0" smtClean="0">
                  <a:solidFill>
                    <a:srgbClr val="373737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en-US" altLang="zh-CN" sz="1600" b="1" kern="0" dirty="0" smtClean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91376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zh-CN" altLang="en-US" sz="1600" b="1" kern="0" dirty="0">
                  <a:solidFill>
                    <a:srgbClr val="373737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91376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zh-CN" altLang="en-US" sz="1600" b="1" kern="0" dirty="0">
                  <a:solidFill>
                    <a:srgbClr val="373737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</a:t>
              </a:r>
              <a:r>
                <a:rPr lang="zh-CN" altLang="en-US" sz="1600" b="1" kern="0" dirty="0" smtClean="0">
                  <a:solidFill>
                    <a:srgbClr val="373737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en-US" altLang="zh-CN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" name="Rectangle 71"/>
            <p:cNvSpPr/>
            <p:nvPr/>
          </p:nvSpPr>
          <p:spPr>
            <a:xfrm>
              <a:off x="323671" y="2407920"/>
              <a:ext cx="2013052" cy="457200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91428" tIns="45714" rIns="91428" bIns="45714" spcCol="0" rtlCol="0" anchor="ctr"/>
            <a:lstStyle/>
            <a:p>
              <a:pPr algn="ctr" defTabSz="91376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zh-CN" altLang="en-US" sz="1600" b="1" kern="0" dirty="0">
                  <a:solidFill>
                    <a:srgbClr val="373737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</a:t>
              </a:r>
              <a:r>
                <a:rPr lang="zh-CN" altLang="en-US" sz="1600" b="1" kern="0" dirty="0" smtClean="0">
                  <a:solidFill>
                    <a:srgbClr val="373737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文本</a:t>
              </a:r>
              <a:endParaRPr lang="en-US" altLang="zh-CN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Rectangle 72"/>
            <p:cNvSpPr/>
            <p:nvPr/>
          </p:nvSpPr>
          <p:spPr>
            <a:xfrm>
              <a:off x="4641669" y="2407920"/>
              <a:ext cx="2013052" cy="457200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91428" tIns="45714" rIns="91428" bIns="45714" spcCol="0" rtlCol="0" anchor="ctr"/>
            <a:lstStyle/>
            <a:p>
              <a:pPr algn="ctr" defTabSz="91376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zh-CN" altLang="en-US" sz="1600" b="1" kern="0" dirty="0">
                  <a:solidFill>
                    <a:srgbClr val="373737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Rectangle 73"/>
            <p:cNvSpPr/>
            <p:nvPr/>
          </p:nvSpPr>
          <p:spPr>
            <a:xfrm>
              <a:off x="4641669" y="3562350"/>
              <a:ext cx="2013052" cy="457200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91428" tIns="45714" rIns="91428" bIns="45714" spcCol="0" rtlCol="0" anchor="ctr"/>
            <a:lstStyle/>
            <a:p>
              <a:pPr algn="ctr" defTabSz="91376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zh-CN" altLang="en-US" sz="1600" b="1" kern="0" dirty="0">
                  <a:solidFill>
                    <a:srgbClr val="373737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Rectangle 74"/>
            <p:cNvSpPr/>
            <p:nvPr/>
          </p:nvSpPr>
          <p:spPr>
            <a:xfrm>
              <a:off x="2482670" y="3562350"/>
              <a:ext cx="2029028" cy="457200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91428" tIns="45714" rIns="91428" bIns="45714" spcCol="0" rtlCol="0" anchor="ctr"/>
            <a:lstStyle/>
            <a:p>
              <a:pPr algn="ctr" defTabSz="91376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zh-CN" altLang="en-US" sz="1600" b="1" kern="0" dirty="0">
                  <a:solidFill>
                    <a:srgbClr val="373737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Rectangle 76"/>
            <p:cNvSpPr/>
            <p:nvPr/>
          </p:nvSpPr>
          <p:spPr>
            <a:xfrm>
              <a:off x="6800668" y="2407920"/>
              <a:ext cx="2013052" cy="457200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91428" tIns="45714" rIns="91428" bIns="45714" spcCol="0" rtlCol="0" anchor="ctr"/>
            <a:lstStyle/>
            <a:p>
              <a:pPr algn="ctr" defTabSz="91376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zh-CN" altLang="en-US" sz="1600" b="1" kern="0" dirty="0">
                  <a:solidFill>
                    <a:srgbClr val="373737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Rectangle 77"/>
            <p:cNvSpPr/>
            <p:nvPr/>
          </p:nvSpPr>
          <p:spPr>
            <a:xfrm>
              <a:off x="6800668" y="2990850"/>
              <a:ext cx="2015226" cy="457200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91428" tIns="45714" rIns="91428" bIns="45714" spcCol="0" rtlCol="0" anchor="ctr"/>
            <a:lstStyle/>
            <a:p>
              <a:pPr algn="ctr" defTabSz="91376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zh-CN" altLang="en-US" sz="1600" b="1" kern="0" dirty="0">
                  <a:solidFill>
                    <a:srgbClr val="373737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Rectangle 78"/>
            <p:cNvSpPr/>
            <p:nvPr/>
          </p:nvSpPr>
          <p:spPr>
            <a:xfrm>
              <a:off x="6800668" y="3562350"/>
              <a:ext cx="2015226" cy="457200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91428" tIns="45714" rIns="91428" bIns="45714" spcCol="0" rtlCol="0" anchor="ctr"/>
            <a:lstStyle/>
            <a:p>
              <a:pPr algn="ctr" defTabSz="91376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zh-CN" altLang="en-US" sz="1600" b="1" kern="0" dirty="0">
                  <a:solidFill>
                    <a:srgbClr val="373737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Rectangle 79"/>
            <p:cNvSpPr/>
            <p:nvPr/>
          </p:nvSpPr>
          <p:spPr>
            <a:xfrm>
              <a:off x="4641669" y="2990850"/>
              <a:ext cx="2015226" cy="457200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91428" tIns="45714" rIns="91428" bIns="45714" spcCol="0" rtlCol="0" anchor="ctr"/>
            <a:lstStyle/>
            <a:p>
              <a:pPr algn="ctr" defTabSz="91376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zh-CN" altLang="en-US" sz="1600" b="1" kern="0" dirty="0">
                  <a:solidFill>
                    <a:srgbClr val="373737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添加文本</a:t>
              </a:r>
              <a:endParaRPr lang="en-US" altLang="zh-CN" sz="1600" b="1" kern="0" dirty="0">
                <a:solidFill>
                  <a:srgbClr val="373737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6" name="Group 2"/>
            <p:cNvGrpSpPr/>
            <p:nvPr/>
          </p:nvGrpSpPr>
          <p:grpSpPr>
            <a:xfrm>
              <a:off x="323671" y="984161"/>
              <a:ext cx="2016777" cy="1303020"/>
              <a:chOff x="507868" y="1315330"/>
              <a:chExt cx="2683370" cy="1725473"/>
            </a:xfrm>
          </p:grpSpPr>
          <p:sp>
            <p:nvSpPr>
              <p:cNvPr id="46" name="Rectangle 5"/>
              <p:cNvSpPr>
                <a:spLocks noChangeAspect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507868" y="1315330"/>
                <a:ext cx="2683370" cy="1725473"/>
              </a:xfrm>
              <a:prstGeom prst="rect">
                <a:avLst/>
              </a:prstGeom>
              <a:solidFill>
                <a:srgbClr val="01BFFF"/>
              </a:solidFill>
              <a:ln w="9525">
                <a:solidFill>
                  <a:srgbClr val="FFFFFF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8E499C">
                    <a:satMod val="300000"/>
                  </a:srgbClr>
                </a:contourClr>
              </a:sp3d>
            </p:spPr>
            <p:txBody>
              <a:bodyPr vert="horz" wrap="square" lIns="121893" tIns="60947" rIns="121893" bIns="60947" numCol="1" rtlCol="0" anchor="b" anchorCtr="0" compatLnSpc="1">
                <a:noAutofit/>
              </a:bodyPr>
              <a:lstStyle/>
              <a:p>
                <a:pPr defTabSz="913765" fontAlgn="base">
                  <a:lnSpc>
                    <a:spcPct val="90000"/>
                  </a:lnSpc>
                  <a:spcBef>
                    <a:spcPts val="630"/>
                  </a:spcBef>
                  <a:spcAft>
                    <a:spcPct val="0"/>
                  </a:spcAft>
                  <a:buClr>
                    <a:srgbClr val="FFFF99"/>
                  </a:buClr>
                  <a:buSzPct val="120000"/>
                  <a:defRPr/>
                </a:pPr>
                <a:r>
                  <a:rPr lang="zh-CN" altLang="en-US" sz="1600" b="1" kern="0" dirty="0" smtClean="0">
                    <a:solidFill>
                      <a:srgbClr val="FFFFFF">
                        <a:alpha val="99000"/>
                      </a:srgb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点击添加标题</a:t>
                </a:r>
                <a:endParaRPr lang="en-US" sz="1600" b="1" kern="0" dirty="0">
                  <a:solidFill>
                    <a:srgbClr val="FFFFFF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47" name="Group 89"/>
              <p:cNvGrpSpPr>
                <a:grpSpLocks noChangeAspect="1"/>
              </p:cNvGrpSpPr>
              <p:nvPr/>
            </p:nvGrpSpPr>
            <p:grpSpPr>
              <a:xfrm>
                <a:off x="613249" y="1414905"/>
                <a:ext cx="673018" cy="862136"/>
                <a:chOff x="-2773363" y="1651000"/>
                <a:chExt cx="2692401" cy="3448051"/>
              </a:xfrm>
              <a:solidFill>
                <a:srgbClr val="363535"/>
              </a:solidFill>
            </p:grpSpPr>
            <p:sp>
              <p:nvSpPr>
                <p:cNvPr id="48" name="Freeform 19"/>
                <p:cNvSpPr>
                  <a:spLocks noEditPoints="1"/>
                </p:cNvSpPr>
                <p:nvPr/>
              </p:nvSpPr>
              <p:spPr bwMode="auto">
                <a:xfrm>
                  <a:off x="-1908175" y="1798638"/>
                  <a:ext cx="641350" cy="641350"/>
                </a:xfrm>
                <a:custGeom>
                  <a:avLst/>
                  <a:gdLst>
                    <a:gd name="T0" fmla="*/ 171 w 171"/>
                    <a:gd name="T1" fmla="*/ 79 h 171"/>
                    <a:gd name="T2" fmla="*/ 168 w 171"/>
                    <a:gd name="T3" fmla="*/ 77 h 171"/>
                    <a:gd name="T4" fmla="*/ 152 w 171"/>
                    <a:gd name="T5" fmla="*/ 65 h 171"/>
                    <a:gd name="T6" fmla="*/ 165 w 171"/>
                    <a:gd name="T7" fmla="*/ 54 h 171"/>
                    <a:gd name="T8" fmla="*/ 161 w 171"/>
                    <a:gd name="T9" fmla="*/ 52 h 171"/>
                    <a:gd name="T10" fmla="*/ 142 w 171"/>
                    <a:gd name="T11" fmla="*/ 45 h 171"/>
                    <a:gd name="T12" fmla="*/ 152 w 171"/>
                    <a:gd name="T13" fmla="*/ 32 h 171"/>
                    <a:gd name="T14" fmla="*/ 147 w 171"/>
                    <a:gd name="T15" fmla="*/ 30 h 171"/>
                    <a:gd name="T16" fmla="*/ 127 w 171"/>
                    <a:gd name="T17" fmla="*/ 30 h 171"/>
                    <a:gd name="T18" fmla="*/ 132 w 171"/>
                    <a:gd name="T19" fmla="*/ 15 h 171"/>
                    <a:gd name="T20" fmla="*/ 127 w 171"/>
                    <a:gd name="T21" fmla="*/ 14 h 171"/>
                    <a:gd name="T22" fmla="*/ 108 w 171"/>
                    <a:gd name="T23" fmla="*/ 20 h 171"/>
                    <a:gd name="T24" fmla="*/ 108 w 171"/>
                    <a:gd name="T25" fmla="*/ 5 h 171"/>
                    <a:gd name="T26" fmla="*/ 103 w 171"/>
                    <a:gd name="T27" fmla="*/ 4 h 171"/>
                    <a:gd name="T28" fmla="*/ 86 w 171"/>
                    <a:gd name="T29" fmla="*/ 16 h 171"/>
                    <a:gd name="T30" fmla="*/ 79 w 171"/>
                    <a:gd name="T31" fmla="*/ 0 h 171"/>
                    <a:gd name="T32" fmla="*/ 77 w 171"/>
                    <a:gd name="T33" fmla="*/ 3 h 171"/>
                    <a:gd name="T34" fmla="*/ 65 w 171"/>
                    <a:gd name="T35" fmla="*/ 19 h 171"/>
                    <a:gd name="T36" fmla="*/ 53 w 171"/>
                    <a:gd name="T37" fmla="*/ 6 h 171"/>
                    <a:gd name="T38" fmla="*/ 52 w 171"/>
                    <a:gd name="T39" fmla="*/ 10 h 171"/>
                    <a:gd name="T40" fmla="*/ 45 w 171"/>
                    <a:gd name="T41" fmla="*/ 29 h 171"/>
                    <a:gd name="T42" fmla="*/ 30 w 171"/>
                    <a:gd name="T43" fmla="*/ 20 h 171"/>
                    <a:gd name="T44" fmla="*/ 30 w 171"/>
                    <a:gd name="T45" fmla="*/ 24 h 171"/>
                    <a:gd name="T46" fmla="*/ 30 w 171"/>
                    <a:gd name="T47" fmla="*/ 44 h 171"/>
                    <a:gd name="T48" fmla="*/ 13 w 171"/>
                    <a:gd name="T49" fmla="*/ 40 h 171"/>
                    <a:gd name="T50" fmla="*/ 14 w 171"/>
                    <a:gd name="T51" fmla="*/ 44 h 171"/>
                    <a:gd name="T52" fmla="*/ 20 w 171"/>
                    <a:gd name="T53" fmla="*/ 63 h 171"/>
                    <a:gd name="T54" fmla="*/ 2 w 171"/>
                    <a:gd name="T55" fmla="*/ 65 h 171"/>
                    <a:gd name="T56" fmla="*/ 4 w 171"/>
                    <a:gd name="T57" fmla="*/ 68 h 171"/>
                    <a:gd name="T58" fmla="*/ 16 w 171"/>
                    <a:gd name="T59" fmla="*/ 84 h 171"/>
                    <a:gd name="T60" fmla="*/ 0 w 171"/>
                    <a:gd name="T61" fmla="*/ 91 h 171"/>
                    <a:gd name="T62" fmla="*/ 3 w 171"/>
                    <a:gd name="T63" fmla="*/ 94 h 171"/>
                    <a:gd name="T64" fmla="*/ 19 w 171"/>
                    <a:gd name="T65" fmla="*/ 106 h 171"/>
                    <a:gd name="T66" fmla="*/ 6 w 171"/>
                    <a:gd name="T67" fmla="*/ 116 h 171"/>
                    <a:gd name="T68" fmla="*/ 10 w 171"/>
                    <a:gd name="T69" fmla="*/ 119 h 171"/>
                    <a:gd name="T70" fmla="*/ 29 w 171"/>
                    <a:gd name="T71" fmla="*/ 125 h 171"/>
                    <a:gd name="T72" fmla="*/ 19 w 171"/>
                    <a:gd name="T73" fmla="*/ 139 h 171"/>
                    <a:gd name="T74" fmla="*/ 24 w 171"/>
                    <a:gd name="T75" fmla="*/ 141 h 171"/>
                    <a:gd name="T76" fmla="*/ 44 w 171"/>
                    <a:gd name="T77" fmla="*/ 141 h 171"/>
                    <a:gd name="T78" fmla="*/ 39 w 171"/>
                    <a:gd name="T79" fmla="*/ 156 h 171"/>
                    <a:gd name="T80" fmla="*/ 44 w 171"/>
                    <a:gd name="T81" fmla="*/ 157 h 171"/>
                    <a:gd name="T82" fmla="*/ 63 w 171"/>
                    <a:gd name="T83" fmla="*/ 151 h 171"/>
                    <a:gd name="T84" fmla="*/ 63 w 171"/>
                    <a:gd name="T85" fmla="*/ 166 h 171"/>
                    <a:gd name="T86" fmla="*/ 68 w 171"/>
                    <a:gd name="T87" fmla="*/ 166 h 171"/>
                    <a:gd name="T88" fmla="*/ 85 w 171"/>
                    <a:gd name="T89" fmla="*/ 155 h 171"/>
                    <a:gd name="T90" fmla="*/ 91 w 171"/>
                    <a:gd name="T91" fmla="*/ 171 h 171"/>
                    <a:gd name="T92" fmla="*/ 94 w 171"/>
                    <a:gd name="T93" fmla="*/ 168 h 171"/>
                    <a:gd name="T94" fmla="*/ 96 w 171"/>
                    <a:gd name="T95" fmla="*/ 154 h 171"/>
                    <a:gd name="T96" fmla="*/ 114 w 171"/>
                    <a:gd name="T97" fmla="*/ 163 h 171"/>
                    <a:gd name="T98" fmla="*/ 119 w 171"/>
                    <a:gd name="T99" fmla="*/ 162 h 171"/>
                    <a:gd name="T100" fmla="*/ 117 w 171"/>
                    <a:gd name="T101" fmla="*/ 147 h 171"/>
                    <a:gd name="T102" fmla="*/ 137 w 171"/>
                    <a:gd name="T103" fmla="*/ 150 h 171"/>
                    <a:gd name="T104" fmla="*/ 142 w 171"/>
                    <a:gd name="T105" fmla="*/ 149 h 171"/>
                    <a:gd name="T106" fmla="*/ 135 w 171"/>
                    <a:gd name="T107" fmla="*/ 134 h 171"/>
                    <a:gd name="T108" fmla="*/ 154 w 171"/>
                    <a:gd name="T109" fmla="*/ 131 h 171"/>
                    <a:gd name="T110" fmla="*/ 159 w 171"/>
                    <a:gd name="T111" fmla="*/ 129 h 171"/>
                    <a:gd name="T112" fmla="*/ 147 w 171"/>
                    <a:gd name="T113" fmla="*/ 117 h 171"/>
                    <a:gd name="T114" fmla="*/ 165 w 171"/>
                    <a:gd name="T115" fmla="*/ 108 h 171"/>
                    <a:gd name="T116" fmla="*/ 169 w 171"/>
                    <a:gd name="T117" fmla="*/ 105 h 171"/>
                    <a:gd name="T118" fmla="*/ 154 w 171"/>
                    <a:gd name="T119" fmla="*/ 96 h 171"/>
                    <a:gd name="T120" fmla="*/ 168 w 171"/>
                    <a:gd name="T121" fmla="*/ 82 h 171"/>
                    <a:gd name="T122" fmla="*/ 70 w 171"/>
                    <a:gd name="T123" fmla="*/ 85 h 171"/>
                    <a:gd name="T124" fmla="*/ 101 w 171"/>
                    <a:gd name="T125" fmla="*/ 85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71" h="171">
                      <a:moveTo>
                        <a:pt x="168" y="82"/>
                      </a:moveTo>
                      <a:cubicBezTo>
                        <a:pt x="170" y="82"/>
                        <a:pt x="171" y="81"/>
                        <a:pt x="171" y="79"/>
                      </a:cubicBezTo>
                      <a:cubicBezTo>
                        <a:pt x="171" y="79"/>
                        <a:pt x="171" y="79"/>
                        <a:pt x="171" y="79"/>
                      </a:cubicBezTo>
                      <a:cubicBezTo>
                        <a:pt x="171" y="78"/>
                        <a:pt x="169" y="77"/>
                        <a:pt x="168" y="77"/>
                      </a:cubicBezTo>
                      <a:cubicBezTo>
                        <a:pt x="154" y="75"/>
                        <a:pt x="154" y="75"/>
                        <a:pt x="154" y="75"/>
                      </a:cubicBezTo>
                      <a:cubicBezTo>
                        <a:pt x="154" y="71"/>
                        <a:pt x="153" y="68"/>
                        <a:pt x="152" y="65"/>
                      </a:cubicBezTo>
                      <a:cubicBezTo>
                        <a:pt x="163" y="57"/>
                        <a:pt x="163" y="57"/>
                        <a:pt x="163" y="57"/>
                      </a:cubicBezTo>
                      <a:cubicBezTo>
                        <a:pt x="164" y="56"/>
                        <a:pt x="165" y="55"/>
                        <a:pt x="165" y="54"/>
                      </a:cubicBezTo>
                      <a:cubicBezTo>
                        <a:pt x="165" y="54"/>
                        <a:pt x="165" y="53"/>
                        <a:pt x="165" y="53"/>
                      </a:cubicBezTo>
                      <a:cubicBezTo>
                        <a:pt x="164" y="52"/>
                        <a:pt x="163" y="51"/>
                        <a:pt x="161" y="52"/>
                      </a:cubicBezTo>
                      <a:cubicBezTo>
                        <a:pt x="147" y="54"/>
                        <a:pt x="147" y="54"/>
                        <a:pt x="147" y="54"/>
                      </a:cubicBezTo>
                      <a:cubicBezTo>
                        <a:pt x="146" y="51"/>
                        <a:pt x="144" y="48"/>
                        <a:pt x="142" y="45"/>
                      </a:cubicBezTo>
                      <a:cubicBezTo>
                        <a:pt x="151" y="34"/>
                        <a:pt x="151" y="34"/>
                        <a:pt x="151" y="34"/>
                      </a:cubicBezTo>
                      <a:cubicBezTo>
                        <a:pt x="151" y="34"/>
                        <a:pt x="152" y="33"/>
                        <a:pt x="152" y="32"/>
                      </a:cubicBezTo>
                      <a:cubicBezTo>
                        <a:pt x="152" y="31"/>
                        <a:pt x="151" y="31"/>
                        <a:pt x="151" y="30"/>
                      </a:cubicBezTo>
                      <a:cubicBezTo>
                        <a:pt x="150" y="29"/>
                        <a:pt x="148" y="29"/>
                        <a:pt x="147" y="30"/>
                      </a:cubicBezTo>
                      <a:cubicBezTo>
                        <a:pt x="135" y="36"/>
                        <a:pt x="135" y="36"/>
                        <a:pt x="135" y="36"/>
                      </a:cubicBezTo>
                      <a:cubicBezTo>
                        <a:pt x="132" y="34"/>
                        <a:pt x="130" y="32"/>
                        <a:pt x="127" y="30"/>
                      </a:cubicBezTo>
                      <a:cubicBezTo>
                        <a:pt x="132" y="16"/>
                        <a:pt x="132" y="16"/>
                        <a:pt x="132" y="16"/>
                      </a:cubicBezTo>
                      <a:cubicBezTo>
                        <a:pt x="132" y="16"/>
                        <a:pt x="132" y="16"/>
                        <a:pt x="132" y="15"/>
                      </a:cubicBezTo>
                      <a:cubicBezTo>
                        <a:pt x="132" y="14"/>
                        <a:pt x="132" y="13"/>
                        <a:pt x="131" y="13"/>
                      </a:cubicBezTo>
                      <a:cubicBezTo>
                        <a:pt x="129" y="12"/>
                        <a:pt x="128" y="12"/>
                        <a:pt x="127" y="14"/>
                      </a:cubicBezTo>
                      <a:cubicBezTo>
                        <a:pt x="117" y="23"/>
                        <a:pt x="117" y="23"/>
                        <a:pt x="117" y="23"/>
                      </a:cubicBezTo>
                      <a:cubicBezTo>
                        <a:pt x="114" y="22"/>
                        <a:pt x="111" y="21"/>
                        <a:pt x="108" y="20"/>
                      </a:cubicBezTo>
                      <a:cubicBezTo>
                        <a:pt x="108" y="6"/>
                        <a:pt x="108" y="6"/>
                        <a:pt x="108" y="6"/>
                      </a:cubicBezTo>
                      <a:cubicBezTo>
                        <a:pt x="108" y="5"/>
                        <a:pt x="108" y="5"/>
                        <a:pt x="108" y="5"/>
                      </a:cubicBezTo>
                      <a:cubicBezTo>
                        <a:pt x="108" y="4"/>
                        <a:pt x="107" y="3"/>
                        <a:pt x="106" y="2"/>
                      </a:cubicBezTo>
                      <a:cubicBezTo>
                        <a:pt x="105" y="2"/>
                        <a:pt x="103" y="3"/>
                        <a:pt x="103" y="4"/>
                      </a:cubicBezTo>
                      <a:cubicBezTo>
                        <a:pt x="96" y="17"/>
                        <a:pt x="96" y="17"/>
                        <a:pt x="96" y="17"/>
                      </a:cubicBezTo>
                      <a:cubicBezTo>
                        <a:pt x="93" y="16"/>
                        <a:pt x="90" y="16"/>
                        <a:pt x="86" y="16"/>
                      </a:cubicBezTo>
                      <a:cubicBezTo>
                        <a:pt x="82" y="3"/>
                        <a:pt x="82" y="3"/>
                        <a:pt x="82" y="3"/>
                      </a:cubicBezTo>
                      <a:cubicBezTo>
                        <a:pt x="82" y="1"/>
                        <a:pt x="81" y="0"/>
                        <a:pt x="79" y="0"/>
                      </a:cubicBezTo>
                      <a:cubicBezTo>
                        <a:pt x="78" y="0"/>
                        <a:pt x="77" y="1"/>
                        <a:pt x="77" y="3"/>
                      </a:cubicBezTo>
                      <a:cubicBezTo>
                        <a:pt x="77" y="3"/>
                        <a:pt x="77" y="3"/>
                        <a:pt x="77" y="3"/>
                      </a:cubicBezTo>
                      <a:cubicBezTo>
                        <a:pt x="75" y="17"/>
                        <a:pt x="75" y="17"/>
                        <a:pt x="75" y="17"/>
                      </a:cubicBezTo>
                      <a:cubicBezTo>
                        <a:pt x="71" y="17"/>
                        <a:pt x="68" y="18"/>
                        <a:pt x="65" y="19"/>
                      </a:cubicBezTo>
                      <a:cubicBezTo>
                        <a:pt x="57" y="8"/>
                        <a:pt x="57" y="8"/>
                        <a:pt x="57" y="8"/>
                      </a:cubicBezTo>
                      <a:cubicBezTo>
                        <a:pt x="56" y="6"/>
                        <a:pt x="55" y="5"/>
                        <a:pt x="53" y="6"/>
                      </a:cubicBezTo>
                      <a:cubicBezTo>
                        <a:pt x="52" y="6"/>
                        <a:pt x="52" y="7"/>
                        <a:pt x="52" y="9"/>
                      </a:cubicBezTo>
                      <a:cubicBezTo>
                        <a:pt x="52" y="9"/>
                        <a:pt x="52" y="9"/>
                        <a:pt x="52" y="10"/>
                      </a:cubicBezTo>
                      <a:cubicBezTo>
                        <a:pt x="54" y="23"/>
                        <a:pt x="54" y="23"/>
                        <a:pt x="54" y="23"/>
                      </a:cubicBezTo>
                      <a:cubicBezTo>
                        <a:pt x="51" y="25"/>
                        <a:pt x="48" y="27"/>
                        <a:pt x="45" y="29"/>
                      </a:cubicBezTo>
                      <a:cubicBezTo>
                        <a:pt x="34" y="20"/>
                        <a:pt x="34" y="20"/>
                        <a:pt x="34" y="20"/>
                      </a:cubicBezTo>
                      <a:cubicBezTo>
                        <a:pt x="33" y="19"/>
                        <a:pt x="32" y="19"/>
                        <a:pt x="30" y="20"/>
                      </a:cubicBezTo>
                      <a:cubicBezTo>
                        <a:pt x="30" y="20"/>
                        <a:pt x="29" y="21"/>
                        <a:pt x="29" y="22"/>
                      </a:cubicBezTo>
                      <a:cubicBezTo>
                        <a:pt x="29" y="23"/>
                        <a:pt x="30" y="23"/>
                        <a:pt x="30" y="24"/>
                      </a:cubicBezTo>
                      <a:cubicBezTo>
                        <a:pt x="36" y="36"/>
                        <a:pt x="36" y="36"/>
                        <a:pt x="36" y="36"/>
                      </a:cubicBezTo>
                      <a:cubicBezTo>
                        <a:pt x="34" y="39"/>
                        <a:pt x="32" y="41"/>
                        <a:pt x="30" y="44"/>
                      </a:cubicBezTo>
                      <a:cubicBezTo>
                        <a:pt x="17" y="39"/>
                        <a:pt x="17" y="39"/>
                        <a:pt x="17" y="39"/>
                      </a:cubicBezTo>
                      <a:cubicBezTo>
                        <a:pt x="15" y="38"/>
                        <a:pt x="14" y="39"/>
                        <a:pt x="13" y="40"/>
                      </a:cubicBezTo>
                      <a:cubicBezTo>
                        <a:pt x="13" y="41"/>
                        <a:pt x="12" y="41"/>
                        <a:pt x="12" y="42"/>
                      </a:cubicBezTo>
                      <a:cubicBezTo>
                        <a:pt x="12" y="42"/>
                        <a:pt x="13" y="43"/>
                        <a:pt x="14" y="44"/>
                      </a:cubicBezTo>
                      <a:cubicBezTo>
                        <a:pt x="24" y="54"/>
                        <a:pt x="24" y="54"/>
                        <a:pt x="24" y="54"/>
                      </a:cubicBezTo>
                      <a:cubicBezTo>
                        <a:pt x="22" y="57"/>
                        <a:pt x="21" y="60"/>
                        <a:pt x="20" y="63"/>
                      </a:cubicBezTo>
                      <a:cubicBezTo>
                        <a:pt x="6" y="63"/>
                        <a:pt x="6" y="63"/>
                        <a:pt x="6" y="63"/>
                      </a:cubicBezTo>
                      <a:cubicBezTo>
                        <a:pt x="4" y="62"/>
                        <a:pt x="3" y="63"/>
                        <a:pt x="2" y="65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7"/>
                        <a:pt x="3" y="68"/>
                        <a:pt x="4" y="68"/>
                      </a:cubicBezTo>
                      <a:cubicBezTo>
                        <a:pt x="17" y="74"/>
                        <a:pt x="17" y="74"/>
                        <a:pt x="17" y="74"/>
                      </a:cubicBezTo>
                      <a:cubicBezTo>
                        <a:pt x="16" y="78"/>
                        <a:pt x="16" y="81"/>
                        <a:pt x="16" y="84"/>
                      </a:cubicBezTo>
                      <a:cubicBezTo>
                        <a:pt x="3" y="89"/>
                        <a:pt x="3" y="89"/>
                        <a:pt x="3" y="89"/>
                      </a:cubicBezTo>
                      <a:cubicBezTo>
                        <a:pt x="1" y="89"/>
                        <a:pt x="0" y="90"/>
                        <a:pt x="0" y="91"/>
                      </a:cubicBezTo>
                      <a:cubicBezTo>
                        <a:pt x="0" y="91"/>
                        <a:pt x="0" y="91"/>
                        <a:pt x="0" y="91"/>
                      </a:cubicBezTo>
                      <a:cubicBezTo>
                        <a:pt x="0" y="93"/>
                        <a:pt x="2" y="94"/>
                        <a:pt x="3" y="94"/>
                      </a:cubicBezTo>
                      <a:cubicBezTo>
                        <a:pt x="17" y="96"/>
                        <a:pt x="17" y="96"/>
                        <a:pt x="17" y="96"/>
                      </a:cubicBezTo>
                      <a:cubicBezTo>
                        <a:pt x="17" y="99"/>
                        <a:pt x="18" y="103"/>
                        <a:pt x="19" y="106"/>
                      </a:cubicBezTo>
                      <a:cubicBezTo>
                        <a:pt x="8" y="114"/>
                        <a:pt x="8" y="114"/>
                        <a:pt x="8" y="114"/>
                      </a:cubicBezTo>
                      <a:cubicBezTo>
                        <a:pt x="7" y="114"/>
                        <a:pt x="6" y="115"/>
                        <a:pt x="6" y="116"/>
                      </a:cubicBezTo>
                      <a:cubicBezTo>
                        <a:pt x="6" y="117"/>
                        <a:pt x="6" y="117"/>
                        <a:pt x="6" y="118"/>
                      </a:cubicBezTo>
                      <a:cubicBezTo>
                        <a:pt x="7" y="119"/>
                        <a:pt x="8" y="120"/>
                        <a:pt x="10" y="119"/>
                      </a:cubicBezTo>
                      <a:cubicBezTo>
                        <a:pt x="24" y="117"/>
                        <a:pt x="24" y="117"/>
                        <a:pt x="24" y="117"/>
                      </a:cubicBezTo>
                      <a:cubicBezTo>
                        <a:pt x="25" y="120"/>
                        <a:pt x="27" y="123"/>
                        <a:pt x="29" y="125"/>
                      </a:cubicBezTo>
                      <a:cubicBezTo>
                        <a:pt x="20" y="137"/>
                        <a:pt x="20" y="137"/>
                        <a:pt x="20" y="137"/>
                      </a:cubicBezTo>
                      <a:cubicBezTo>
                        <a:pt x="20" y="137"/>
                        <a:pt x="19" y="138"/>
                        <a:pt x="19" y="139"/>
                      </a:cubicBezTo>
                      <a:cubicBezTo>
                        <a:pt x="19" y="139"/>
                        <a:pt x="20" y="140"/>
                        <a:pt x="20" y="140"/>
                      </a:cubicBezTo>
                      <a:cubicBezTo>
                        <a:pt x="21" y="142"/>
                        <a:pt x="23" y="142"/>
                        <a:pt x="24" y="141"/>
                      </a:cubicBezTo>
                      <a:cubicBezTo>
                        <a:pt x="36" y="134"/>
                        <a:pt x="36" y="134"/>
                        <a:pt x="36" y="134"/>
                      </a:cubicBezTo>
                      <a:cubicBezTo>
                        <a:pt x="39" y="137"/>
                        <a:pt x="41" y="139"/>
                        <a:pt x="44" y="141"/>
                      </a:cubicBezTo>
                      <a:cubicBezTo>
                        <a:pt x="39" y="154"/>
                        <a:pt x="39" y="154"/>
                        <a:pt x="39" y="154"/>
                      </a:cubicBezTo>
                      <a:cubicBezTo>
                        <a:pt x="39" y="155"/>
                        <a:pt x="39" y="155"/>
                        <a:pt x="39" y="156"/>
                      </a:cubicBezTo>
                      <a:cubicBezTo>
                        <a:pt x="39" y="157"/>
                        <a:pt x="39" y="157"/>
                        <a:pt x="40" y="158"/>
                      </a:cubicBezTo>
                      <a:cubicBezTo>
                        <a:pt x="42" y="159"/>
                        <a:pt x="43" y="158"/>
                        <a:pt x="44" y="157"/>
                      </a:cubicBezTo>
                      <a:cubicBezTo>
                        <a:pt x="54" y="147"/>
                        <a:pt x="54" y="147"/>
                        <a:pt x="54" y="147"/>
                      </a:cubicBezTo>
                      <a:cubicBezTo>
                        <a:pt x="57" y="149"/>
                        <a:pt x="60" y="150"/>
                        <a:pt x="63" y="151"/>
                      </a:cubicBezTo>
                      <a:cubicBezTo>
                        <a:pt x="63" y="165"/>
                        <a:pt x="63" y="165"/>
                        <a:pt x="63" y="165"/>
                      </a:cubicBezTo>
                      <a:cubicBezTo>
                        <a:pt x="63" y="165"/>
                        <a:pt x="63" y="166"/>
                        <a:pt x="63" y="166"/>
                      </a:cubicBezTo>
                      <a:cubicBezTo>
                        <a:pt x="63" y="167"/>
                        <a:pt x="64" y="168"/>
                        <a:pt x="65" y="168"/>
                      </a:cubicBezTo>
                      <a:cubicBezTo>
                        <a:pt x="66" y="169"/>
                        <a:pt x="68" y="168"/>
                        <a:pt x="68" y="166"/>
                      </a:cubicBezTo>
                      <a:cubicBezTo>
                        <a:pt x="75" y="154"/>
                        <a:pt x="75" y="154"/>
                        <a:pt x="75" y="154"/>
                      </a:cubicBezTo>
                      <a:cubicBezTo>
                        <a:pt x="78" y="154"/>
                        <a:pt x="81" y="155"/>
                        <a:pt x="85" y="155"/>
                      </a:cubicBezTo>
                      <a:cubicBezTo>
                        <a:pt x="89" y="168"/>
                        <a:pt x="89" y="168"/>
                        <a:pt x="89" y="168"/>
                      </a:cubicBezTo>
                      <a:cubicBezTo>
                        <a:pt x="89" y="170"/>
                        <a:pt x="90" y="171"/>
                        <a:pt x="91" y="171"/>
                      </a:cubicBezTo>
                      <a:cubicBezTo>
                        <a:pt x="91" y="171"/>
                        <a:pt x="92" y="171"/>
                        <a:pt x="92" y="171"/>
                      </a:cubicBezTo>
                      <a:cubicBezTo>
                        <a:pt x="93" y="171"/>
                        <a:pt x="94" y="169"/>
                        <a:pt x="94" y="168"/>
                      </a:cubicBezTo>
                      <a:cubicBezTo>
                        <a:pt x="94" y="168"/>
                        <a:pt x="94" y="168"/>
                        <a:pt x="94" y="168"/>
                      </a:cubicBezTo>
                      <a:cubicBezTo>
                        <a:pt x="96" y="154"/>
                        <a:pt x="96" y="154"/>
                        <a:pt x="96" y="154"/>
                      </a:cubicBezTo>
                      <a:cubicBezTo>
                        <a:pt x="100" y="153"/>
                        <a:pt x="103" y="153"/>
                        <a:pt x="106" y="152"/>
                      </a:cubicBezTo>
                      <a:cubicBezTo>
                        <a:pt x="114" y="163"/>
                        <a:pt x="114" y="163"/>
                        <a:pt x="114" y="163"/>
                      </a:cubicBezTo>
                      <a:cubicBezTo>
                        <a:pt x="115" y="165"/>
                        <a:pt x="116" y="165"/>
                        <a:pt x="118" y="165"/>
                      </a:cubicBezTo>
                      <a:cubicBezTo>
                        <a:pt x="119" y="164"/>
                        <a:pt x="119" y="163"/>
                        <a:pt x="119" y="162"/>
                      </a:cubicBezTo>
                      <a:cubicBezTo>
                        <a:pt x="119" y="162"/>
                        <a:pt x="119" y="161"/>
                        <a:pt x="119" y="161"/>
                      </a:cubicBezTo>
                      <a:cubicBezTo>
                        <a:pt x="117" y="147"/>
                        <a:pt x="117" y="147"/>
                        <a:pt x="117" y="147"/>
                      </a:cubicBezTo>
                      <a:cubicBezTo>
                        <a:pt x="120" y="146"/>
                        <a:pt x="123" y="144"/>
                        <a:pt x="126" y="142"/>
                      </a:cubicBezTo>
                      <a:cubicBezTo>
                        <a:pt x="137" y="150"/>
                        <a:pt x="137" y="150"/>
                        <a:pt x="137" y="150"/>
                      </a:cubicBezTo>
                      <a:cubicBezTo>
                        <a:pt x="138" y="152"/>
                        <a:pt x="139" y="152"/>
                        <a:pt x="141" y="151"/>
                      </a:cubicBezTo>
                      <a:cubicBezTo>
                        <a:pt x="141" y="150"/>
                        <a:pt x="142" y="149"/>
                        <a:pt x="142" y="149"/>
                      </a:cubicBezTo>
                      <a:cubicBezTo>
                        <a:pt x="142" y="148"/>
                        <a:pt x="141" y="147"/>
                        <a:pt x="141" y="147"/>
                      </a:cubicBezTo>
                      <a:cubicBezTo>
                        <a:pt x="135" y="134"/>
                        <a:pt x="135" y="134"/>
                        <a:pt x="135" y="134"/>
                      </a:cubicBezTo>
                      <a:cubicBezTo>
                        <a:pt x="137" y="132"/>
                        <a:pt x="139" y="130"/>
                        <a:pt x="141" y="127"/>
                      </a:cubicBezTo>
                      <a:cubicBezTo>
                        <a:pt x="154" y="131"/>
                        <a:pt x="154" y="131"/>
                        <a:pt x="154" y="131"/>
                      </a:cubicBezTo>
                      <a:cubicBezTo>
                        <a:pt x="156" y="132"/>
                        <a:pt x="157" y="132"/>
                        <a:pt x="158" y="131"/>
                      </a:cubicBezTo>
                      <a:cubicBezTo>
                        <a:pt x="158" y="130"/>
                        <a:pt x="159" y="130"/>
                        <a:pt x="159" y="129"/>
                      </a:cubicBezTo>
                      <a:cubicBezTo>
                        <a:pt x="159" y="128"/>
                        <a:pt x="158" y="127"/>
                        <a:pt x="157" y="127"/>
                      </a:cubicBezTo>
                      <a:cubicBezTo>
                        <a:pt x="147" y="117"/>
                        <a:pt x="147" y="117"/>
                        <a:pt x="147" y="117"/>
                      </a:cubicBezTo>
                      <a:cubicBezTo>
                        <a:pt x="149" y="114"/>
                        <a:pt x="150" y="111"/>
                        <a:pt x="151" y="108"/>
                      </a:cubicBezTo>
                      <a:cubicBezTo>
                        <a:pt x="165" y="108"/>
                        <a:pt x="165" y="108"/>
                        <a:pt x="165" y="108"/>
                      </a:cubicBezTo>
                      <a:cubicBezTo>
                        <a:pt x="167" y="108"/>
                        <a:pt x="168" y="107"/>
                        <a:pt x="169" y="106"/>
                      </a:cubicBezTo>
                      <a:cubicBezTo>
                        <a:pt x="169" y="106"/>
                        <a:pt x="169" y="105"/>
                        <a:pt x="169" y="105"/>
                      </a:cubicBezTo>
                      <a:cubicBezTo>
                        <a:pt x="169" y="104"/>
                        <a:pt x="168" y="103"/>
                        <a:pt x="167" y="103"/>
                      </a:cubicBezTo>
                      <a:cubicBezTo>
                        <a:pt x="154" y="96"/>
                        <a:pt x="154" y="96"/>
                        <a:pt x="154" y="96"/>
                      </a:cubicBezTo>
                      <a:cubicBezTo>
                        <a:pt x="155" y="93"/>
                        <a:pt x="155" y="90"/>
                        <a:pt x="155" y="86"/>
                      </a:cubicBezTo>
                      <a:lnTo>
                        <a:pt x="168" y="82"/>
                      </a:lnTo>
                      <a:close/>
                      <a:moveTo>
                        <a:pt x="86" y="101"/>
                      </a:moveTo>
                      <a:cubicBezTo>
                        <a:pt x="77" y="101"/>
                        <a:pt x="70" y="94"/>
                        <a:pt x="70" y="85"/>
                      </a:cubicBezTo>
                      <a:cubicBezTo>
                        <a:pt x="70" y="77"/>
                        <a:pt x="77" y="70"/>
                        <a:pt x="86" y="70"/>
                      </a:cubicBezTo>
                      <a:cubicBezTo>
                        <a:pt x="94" y="70"/>
                        <a:pt x="101" y="77"/>
                        <a:pt x="101" y="85"/>
                      </a:cubicBezTo>
                      <a:cubicBezTo>
                        <a:pt x="101" y="94"/>
                        <a:pt x="94" y="101"/>
                        <a:pt x="86" y="10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685165">
                    <a:defRPr/>
                  </a:pPr>
                  <a:endParaRPr lang="en-US" sz="1400" kern="0" smtClean="0">
                    <a:solidFill>
                      <a:srgbClr val="FFFFFF"/>
                    </a:solidFill>
                    <a:latin typeface="Segoe UI" panose="020B0502040204020203"/>
                  </a:endParaRPr>
                </a:p>
              </p:txBody>
            </p:sp>
            <p:sp>
              <p:nvSpPr>
                <p:cNvPr id="49" name="Freeform 20"/>
                <p:cNvSpPr>
                  <a:spLocks noEditPoints="1"/>
                </p:cNvSpPr>
                <p:nvPr/>
              </p:nvSpPr>
              <p:spPr bwMode="auto">
                <a:xfrm>
                  <a:off x="-1333500" y="1651000"/>
                  <a:ext cx="454025" cy="454025"/>
                </a:xfrm>
                <a:custGeom>
                  <a:avLst/>
                  <a:gdLst>
                    <a:gd name="T0" fmla="*/ 121 w 121"/>
                    <a:gd name="T1" fmla="*/ 56 h 121"/>
                    <a:gd name="T2" fmla="*/ 119 w 121"/>
                    <a:gd name="T3" fmla="*/ 54 h 121"/>
                    <a:gd name="T4" fmla="*/ 108 w 121"/>
                    <a:gd name="T5" fmla="*/ 46 h 121"/>
                    <a:gd name="T6" fmla="*/ 117 w 121"/>
                    <a:gd name="T7" fmla="*/ 38 h 121"/>
                    <a:gd name="T8" fmla="*/ 115 w 121"/>
                    <a:gd name="T9" fmla="*/ 37 h 121"/>
                    <a:gd name="T10" fmla="*/ 101 w 121"/>
                    <a:gd name="T11" fmla="*/ 32 h 121"/>
                    <a:gd name="T12" fmla="*/ 108 w 121"/>
                    <a:gd name="T13" fmla="*/ 23 h 121"/>
                    <a:gd name="T14" fmla="*/ 105 w 121"/>
                    <a:gd name="T15" fmla="*/ 21 h 121"/>
                    <a:gd name="T16" fmla="*/ 90 w 121"/>
                    <a:gd name="T17" fmla="*/ 21 h 121"/>
                    <a:gd name="T18" fmla="*/ 94 w 121"/>
                    <a:gd name="T19" fmla="*/ 11 h 121"/>
                    <a:gd name="T20" fmla="*/ 90 w 121"/>
                    <a:gd name="T21" fmla="*/ 10 h 121"/>
                    <a:gd name="T22" fmla="*/ 77 w 121"/>
                    <a:gd name="T23" fmla="*/ 14 h 121"/>
                    <a:gd name="T24" fmla="*/ 77 w 121"/>
                    <a:gd name="T25" fmla="*/ 3 h 121"/>
                    <a:gd name="T26" fmla="*/ 73 w 121"/>
                    <a:gd name="T27" fmla="*/ 3 h 121"/>
                    <a:gd name="T28" fmla="*/ 61 w 121"/>
                    <a:gd name="T29" fmla="*/ 11 h 121"/>
                    <a:gd name="T30" fmla="*/ 56 w 121"/>
                    <a:gd name="T31" fmla="*/ 0 h 121"/>
                    <a:gd name="T32" fmla="*/ 55 w 121"/>
                    <a:gd name="T33" fmla="*/ 2 h 121"/>
                    <a:gd name="T34" fmla="*/ 46 w 121"/>
                    <a:gd name="T35" fmla="*/ 13 h 121"/>
                    <a:gd name="T36" fmla="*/ 38 w 121"/>
                    <a:gd name="T37" fmla="*/ 4 h 121"/>
                    <a:gd name="T38" fmla="*/ 37 w 121"/>
                    <a:gd name="T39" fmla="*/ 7 h 121"/>
                    <a:gd name="T40" fmla="*/ 32 w 121"/>
                    <a:gd name="T41" fmla="*/ 20 h 121"/>
                    <a:gd name="T42" fmla="*/ 22 w 121"/>
                    <a:gd name="T43" fmla="*/ 14 h 121"/>
                    <a:gd name="T44" fmla="*/ 21 w 121"/>
                    <a:gd name="T45" fmla="*/ 17 h 121"/>
                    <a:gd name="T46" fmla="*/ 21 w 121"/>
                    <a:gd name="T47" fmla="*/ 31 h 121"/>
                    <a:gd name="T48" fmla="*/ 9 w 121"/>
                    <a:gd name="T49" fmla="*/ 28 h 121"/>
                    <a:gd name="T50" fmla="*/ 10 w 121"/>
                    <a:gd name="T51" fmla="*/ 31 h 121"/>
                    <a:gd name="T52" fmla="*/ 14 w 121"/>
                    <a:gd name="T53" fmla="*/ 45 h 121"/>
                    <a:gd name="T54" fmla="*/ 2 w 121"/>
                    <a:gd name="T55" fmla="*/ 46 h 121"/>
                    <a:gd name="T56" fmla="*/ 3 w 121"/>
                    <a:gd name="T57" fmla="*/ 48 h 121"/>
                    <a:gd name="T58" fmla="*/ 11 w 121"/>
                    <a:gd name="T59" fmla="*/ 60 h 121"/>
                    <a:gd name="T60" fmla="*/ 0 w 121"/>
                    <a:gd name="T61" fmla="*/ 65 h 121"/>
                    <a:gd name="T62" fmla="*/ 2 w 121"/>
                    <a:gd name="T63" fmla="*/ 67 h 121"/>
                    <a:gd name="T64" fmla="*/ 14 w 121"/>
                    <a:gd name="T65" fmla="*/ 75 h 121"/>
                    <a:gd name="T66" fmla="*/ 4 w 121"/>
                    <a:gd name="T67" fmla="*/ 83 h 121"/>
                    <a:gd name="T68" fmla="*/ 7 w 121"/>
                    <a:gd name="T69" fmla="*/ 84 h 121"/>
                    <a:gd name="T70" fmla="*/ 20 w 121"/>
                    <a:gd name="T71" fmla="*/ 89 h 121"/>
                    <a:gd name="T72" fmla="*/ 14 w 121"/>
                    <a:gd name="T73" fmla="*/ 98 h 121"/>
                    <a:gd name="T74" fmla="*/ 17 w 121"/>
                    <a:gd name="T75" fmla="*/ 100 h 121"/>
                    <a:gd name="T76" fmla="*/ 31 w 121"/>
                    <a:gd name="T77" fmla="*/ 100 h 121"/>
                    <a:gd name="T78" fmla="*/ 28 w 121"/>
                    <a:gd name="T79" fmla="*/ 110 h 121"/>
                    <a:gd name="T80" fmla="*/ 31 w 121"/>
                    <a:gd name="T81" fmla="*/ 112 h 121"/>
                    <a:gd name="T82" fmla="*/ 45 w 121"/>
                    <a:gd name="T83" fmla="*/ 107 h 121"/>
                    <a:gd name="T84" fmla="*/ 45 w 121"/>
                    <a:gd name="T85" fmla="*/ 118 h 121"/>
                    <a:gd name="T86" fmla="*/ 49 w 121"/>
                    <a:gd name="T87" fmla="*/ 118 h 121"/>
                    <a:gd name="T88" fmla="*/ 60 w 121"/>
                    <a:gd name="T89" fmla="*/ 110 h 121"/>
                    <a:gd name="T90" fmla="*/ 65 w 121"/>
                    <a:gd name="T91" fmla="*/ 121 h 121"/>
                    <a:gd name="T92" fmla="*/ 67 w 121"/>
                    <a:gd name="T93" fmla="*/ 119 h 121"/>
                    <a:gd name="T94" fmla="*/ 68 w 121"/>
                    <a:gd name="T95" fmla="*/ 109 h 121"/>
                    <a:gd name="T96" fmla="*/ 81 w 121"/>
                    <a:gd name="T97" fmla="*/ 116 h 121"/>
                    <a:gd name="T98" fmla="*/ 85 w 121"/>
                    <a:gd name="T99" fmla="*/ 115 h 121"/>
                    <a:gd name="T100" fmla="*/ 83 w 121"/>
                    <a:gd name="T101" fmla="*/ 104 h 121"/>
                    <a:gd name="T102" fmla="*/ 97 w 121"/>
                    <a:gd name="T103" fmla="*/ 107 h 121"/>
                    <a:gd name="T104" fmla="*/ 101 w 121"/>
                    <a:gd name="T105" fmla="*/ 106 h 121"/>
                    <a:gd name="T106" fmla="*/ 96 w 121"/>
                    <a:gd name="T107" fmla="*/ 95 h 121"/>
                    <a:gd name="T108" fmla="*/ 110 w 121"/>
                    <a:gd name="T109" fmla="*/ 93 h 121"/>
                    <a:gd name="T110" fmla="*/ 113 w 121"/>
                    <a:gd name="T111" fmla="*/ 92 h 121"/>
                    <a:gd name="T112" fmla="*/ 105 w 121"/>
                    <a:gd name="T113" fmla="*/ 83 h 121"/>
                    <a:gd name="T114" fmla="*/ 117 w 121"/>
                    <a:gd name="T115" fmla="*/ 77 h 121"/>
                    <a:gd name="T116" fmla="*/ 120 w 121"/>
                    <a:gd name="T117" fmla="*/ 75 h 121"/>
                    <a:gd name="T118" fmla="*/ 109 w 121"/>
                    <a:gd name="T119" fmla="*/ 68 h 121"/>
                    <a:gd name="T120" fmla="*/ 120 w 121"/>
                    <a:gd name="T121" fmla="*/ 58 h 121"/>
                    <a:gd name="T122" fmla="*/ 50 w 121"/>
                    <a:gd name="T123" fmla="*/ 61 h 121"/>
                    <a:gd name="T124" fmla="*/ 72 w 121"/>
                    <a:gd name="T125" fmla="*/ 61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21" h="121">
                      <a:moveTo>
                        <a:pt x="120" y="58"/>
                      </a:moveTo>
                      <a:cubicBezTo>
                        <a:pt x="121" y="58"/>
                        <a:pt x="121" y="57"/>
                        <a:pt x="121" y="56"/>
                      </a:cubicBezTo>
                      <a:cubicBezTo>
                        <a:pt x="121" y="56"/>
                        <a:pt x="121" y="56"/>
                        <a:pt x="121" y="56"/>
                      </a:cubicBezTo>
                      <a:cubicBezTo>
                        <a:pt x="121" y="55"/>
                        <a:pt x="120" y="54"/>
                        <a:pt x="119" y="54"/>
                      </a:cubicBezTo>
                      <a:cubicBezTo>
                        <a:pt x="110" y="53"/>
                        <a:pt x="110" y="53"/>
                        <a:pt x="110" y="53"/>
                      </a:cubicBezTo>
                      <a:cubicBezTo>
                        <a:pt x="109" y="50"/>
                        <a:pt x="109" y="48"/>
                        <a:pt x="108" y="46"/>
                      </a:cubicBezTo>
                      <a:cubicBezTo>
                        <a:pt x="116" y="40"/>
                        <a:pt x="116" y="40"/>
                        <a:pt x="116" y="40"/>
                      </a:cubicBezTo>
                      <a:cubicBezTo>
                        <a:pt x="117" y="40"/>
                        <a:pt x="117" y="39"/>
                        <a:pt x="117" y="38"/>
                      </a:cubicBezTo>
                      <a:cubicBezTo>
                        <a:pt x="117" y="38"/>
                        <a:pt x="117" y="38"/>
                        <a:pt x="117" y="38"/>
                      </a:cubicBezTo>
                      <a:cubicBezTo>
                        <a:pt x="117" y="37"/>
                        <a:pt x="116" y="36"/>
                        <a:pt x="115" y="37"/>
                      </a:cubicBezTo>
                      <a:cubicBezTo>
                        <a:pt x="105" y="38"/>
                        <a:pt x="105" y="38"/>
                        <a:pt x="105" y="38"/>
                      </a:cubicBezTo>
                      <a:cubicBezTo>
                        <a:pt x="104" y="36"/>
                        <a:pt x="102" y="34"/>
                        <a:pt x="101" y="32"/>
                      </a:cubicBezTo>
                      <a:cubicBezTo>
                        <a:pt x="107" y="24"/>
                        <a:pt x="107" y="24"/>
                        <a:pt x="107" y="24"/>
                      </a:cubicBezTo>
                      <a:cubicBezTo>
                        <a:pt x="108" y="24"/>
                        <a:pt x="108" y="23"/>
                        <a:pt x="108" y="23"/>
                      </a:cubicBezTo>
                      <a:cubicBezTo>
                        <a:pt x="108" y="22"/>
                        <a:pt x="108" y="22"/>
                        <a:pt x="107" y="21"/>
                      </a:cubicBezTo>
                      <a:cubicBezTo>
                        <a:pt x="107" y="21"/>
                        <a:pt x="105" y="20"/>
                        <a:pt x="105" y="21"/>
                      </a:cubicBezTo>
                      <a:cubicBezTo>
                        <a:pt x="96" y="26"/>
                        <a:pt x="96" y="26"/>
                        <a:pt x="96" y="26"/>
                      </a:cubicBezTo>
                      <a:cubicBezTo>
                        <a:pt x="94" y="24"/>
                        <a:pt x="92" y="22"/>
                        <a:pt x="90" y="21"/>
                      </a:cubicBezTo>
                      <a:cubicBezTo>
                        <a:pt x="94" y="12"/>
                        <a:pt x="94" y="12"/>
                        <a:pt x="94" y="12"/>
                      </a:cubicBezTo>
                      <a:cubicBezTo>
                        <a:pt x="94" y="11"/>
                        <a:pt x="94" y="11"/>
                        <a:pt x="94" y="11"/>
                      </a:cubicBezTo>
                      <a:cubicBezTo>
                        <a:pt x="94" y="10"/>
                        <a:pt x="94" y="9"/>
                        <a:pt x="93" y="9"/>
                      </a:cubicBezTo>
                      <a:cubicBezTo>
                        <a:pt x="92" y="8"/>
                        <a:pt x="91" y="9"/>
                        <a:pt x="90" y="10"/>
                      </a:cubicBezTo>
                      <a:cubicBezTo>
                        <a:pt x="83" y="17"/>
                        <a:pt x="83" y="17"/>
                        <a:pt x="83" y="17"/>
                      </a:cubicBezTo>
                      <a:cubicBezTo>
                        <a:pt x="81" y="15"/>
                        <a:pt x="79" y="15"/>
                        <a:pt x="77" y="14"/>
                      </a:cubicBezTo>
                      <a:cubicBezTo>
                        <a:pt x="77" y="4"/>
                        <a:pt x="77" y="4"/>
                        <a:pt x="77" y="4"/>
                      </a:cubicBezTo>
                      <a:cubicBezTo>
                        <a:pt x="77" y="4"/>
                        <a:pt x="77" y="4"/>
                        <a:pt x="77" y="3"/>
                      </a:cubicBezTo>
                      <a:cubicBezTo>
                        <a:pt x="77" y="2"/>
                        <a:pt x="76" y="2"/>
                        <a:pt x="75" y="1"/>
                      </a:cubicBezTo>
                      <a:cubicBezTo>
                        <a:pt x="74" y="1"/>
                        <a:pt x="73" y="2"/>
                        <a:pt x="73" y="3"/>
                      </a:cubicBezTo>
                      <a:cubicBezTo>
                        <a:pt x="69" y="12"/>
                        <a:pt x="69" y="12"/>
                        <a:pt x="69" y="12"/>
                      </a:cubicBezTo>
                      <a:cubicBezTo>
                        <a:pt x="66" y="11"/>
                        <a:pt x="64" y="11"/>
                        <a:pt x="61" y="11"/>
                      </a:cubicBezTo>
                      <a:cubicBezTo>
                        <a:pt x="59" y="2"/>
                        <a:pt x="59" y="2"/>
                        <a:pt x="59" y="2"/>
                      </a:cubicBezTo>
                      <a:cubicBezTo>
                        <a:pt x="58" y="1"/>
                        <a:pt x="58" y="0"/>
                        <a:pt x="56" y="0"/>
                      </a:cubicBezTo>
                      <a:cubicBezTo>
                        <a:pt x="55" y="0"/>
                        <a:pt x="55" y="1"/>
                        <a:pt x="55" y="2"/>
                      </a:cubicBezTo>
                      <a:cubicBezTo>
                        <a:pt x="55" y="2"/>
                        <a:pt x="55" y="2"/>
                        <a:pt x="55" y="2"/>
                      </a:cubicBezTo>
                      <a:cubicBezTo>
                        <a:pt x="53" y="12"/>
                        <a:pt x="53" y="12"/>
                        <a:pt x="53" y="12"/>
                      </a:cubicBezTo>
                      <a:cubicBezTo>
                        <a:pt x="51" y="12"/>
                        <a:pt x="48" y="13"/>
                        <a:pt x="46" y="13"/>
                      </a:cubicBezTo>
                      <a:cubicBezTo>
                        <a:pt x="40" y="5"/>
                        <a:pt x="40" y="5"/>
                        <a:pt x="40" y="5"/>
                      </a:cubicBezTo>
                      <a:cubicBezTo>
                        <a:pt x="40" y="4"/>
                        <a:pt x="39" y="4"/>
                        <a:pt x="38" y="4"/>
                      </a:cubicBezTo>
                      <a:cubicBezTo>
                        <a:pt x="37" y="4"/>
                        <a:pt x="37" y="5"/>
                        <a:pt x="37" y="6"/>
                      </a:cubicBezTo>
                      <a:cubicBezTo>
                        <a:pt x="37" y="6"/>
                        <a:pt x="37" y="6"/>
                        <a:pt x="37" y="7"/>
                      </a:cubicBezTo>
                      <a:cubicBezTo>
                        <a:pt x="38" y="17"/>
                        <a:pt x="38" y="17"/>
                        <a:pt x="38" y="17"/>
                      </a:cubicBezTo>
                      <a:cubicBezTo>
                        <a:pt x="36" y="18"/>
                        <a:pt x="34" y="19"/>
                        <a:pt x="32" y="20"/>
                      </a:cubicBezTo>
                      <a:cubicBezTo>
                        <a:pt x="24" y="14"/>
                        <a:pt x="24" y="14"/>
                        <a:pt x="24" y="14"/>
                      </a:cubicBezTo>
                      <a:cubicBezTo>
                        <a:pt x="24" y="13"/>
                        <a:pt x="22" y="13"/>
                        <a:pt x="22" y="14"/>
                      </a:cubicBezTo>
                      <a:cubicBezTo>
                        <a:pt x="21" y="14"/>
                        <a:pt x="21" y="15"/>
                        <a:pt x="21" y="15"/>
                      </a:cubicBezTo>
                      <a:cubicBezTo>
                        <a:pt x="21" y="16"/>
                        <a:pt x="21" y="16"/>
                        <a:pt x="21" y="17"/>
                      </a:cubicBezTo>
                      <a:cubicBezTo>
                        <a:pt x="26" y="26"/>
                        <a:pt x="26" y="26"/>
                        <a:pt x="26" y="26"/>
                      </a:cubicBezTo>
                      <a:cubicBezTo>
                        <a:pt x="24" y="27"/>
                        <a:pt x="23" y="29"/>
                        <a:pt x="21" y="31"/>
                      </a:cubicBezTo>
                      <a:cubicBezTo>
                        <a:pt x="12" y="28"/>
                        <a:pt x="12" y="28"/>
                        <a:pt x="12" y="28"/>
                      </a:cubicBezTo>
                      <a:cubicBezTo>
                        <a:pt x="11" y="27"/>
                        <a:pt x="10" y="27"/>
                        <a:pt x="9" y="28"/>
                      </a:cubicBezTo>
                      <a:cubicBezTo>
                        <a:pt x="9" y="29"/>
                        <a:pt x="9" y="29"/>
                        <a:pt x="9" y="29"/>
                      </a:cubicBezTo>
                      <a:cubicBezTo>
                        <a:pt x="9" y="30"/>
                        <a:pt x="9" y="31"/>
                        <a:pt x="10" y="31"/>
                      </a:cubicBezTo>
                      <a:cubicBezTo>
                        <a:pt x="17" y="38"/>
                        <a:pt x="17" y="38"/>
                        <a:pt x="17" y="38"/>
                      </a:cubicBezTo>
                      <a:cubicBezTo>
                        <a:pt x="16" y="40"/>
                        <a:pt x="15" y="42"/>
                        <a:pt x="14" y="45"/>
                      </a:cubicBezTo>
                      <a:cubicBezTo>
                        <a:pt x="4" y="44"/>
                        <a:pt x="4" y="44"/>
                        <a:pt x="4" y="44"/>
                      </a:cubicBezTo>
                      <a:cubicBezTo>
                        <a:pt x="3" y="44"/>
                        <a:pt x="2" y="45"/>
                        <a:pt x="2" y="46"/>
                      </a:cubicBezTo>
                      <a:cubicBezTo>
                        <a:pt x="2" y="46"/>
                        <a:pt x="2" y="46"/>
                        <a:pt x="2" y="46"/>
                      </a:cubicBezTo>
                      <a:cubicBezTo>
                        <a:pt x="2" y="47"/>
                        <a:pt x="2" y="48"/>
                        <a:pt x="3" y="48"/>
                      </a:cubicBezTo>
                      <a:cubicBezTo>
                        <a:pt x="12" y="53"/>
                        <a:pt x="12" y="53"/>
                        <a:pt x="12" y="53"/>
                      </a:cubicBezTo>
                      <a:cubicBezTo>
                        <a:pt x="12" y="55"/>
                        <a:pt x="11" y="57"/>
                        <a:pt x="11" y="60"/>
                      </a:cubicBezTo>
                      <a:cubicBezTo>
                        <a:pt x="2" y="63"/>
                        <a:pt x="2" y="63"/>
                        <a:pt x="2" y="63"/>
                      </a:cubicBezTo>
                      <a:cubicBezTo>
                        <a:pt x="1" y="63"/>
                        <a:pt x="0" y="64"/>
                        <a:pt x="0" y="65"/>
                      </a:cubicBezTo>
                      <a:cubicBezTo>
                        <a:pt x="0" y="65"/>
                        <a:pt x="0" y="65"/>
                        <a:pt x="0" y="65"/>
                      </a:cubicBezTo>
                      <a:cubicBezTo>
                        <a:pt x="0" y="66"/>
                        <a:pt x="1" y="67"/>
                        <a:pt x="2" y="67"/>
                      </a:cubicBezTo>
                      <a:cubicBezTo>
                        <a:pt x="12" y="68"/>
                        <a:pt x="12" y="68"/>
                        <a:pt x="12" y="68"/>
                      </a:cubicBezTo>
                      <a:cubicBezTo>
                        <a:pt x="12" y="71"/>
                        <a:pt x="13" y="73"/>
                        <a:pt x="14" y="75"/>
                      </a:cubicBezTo>
                      <a:cubicBezTo>
                        <a:pt x="5" y="81"/>
                        <a:pt x="5" y="81"/>
                        <a:pt x="5" y="81"/>
                      </a:cubicBezTo>
                      <a:cubicBezTo>
                        <a:pt x="5" y="81"/>
                        <a:pt x="4" y="82"/>
                        <a:pt x="4" y="83"/>
                      </a:cubicBezTo>
                      <a:cubicBezTo>
                        <a:pt x="4" y="83"/>
                        <a:pt x="4" y="83"/>
                        <a:pt x="4" y="83"/>
                      </a:cubicBezTo>
                      <a:cubicBezTo>
                        <a:pt x="5" y="84"/>
                        <a:pt x="6" y="85"/>
                        <a:pt x="7" y="84"/>
                      </a:cubicBezTo>
                      <a:cubicBezTo>
                        <a:pt x="17" y="83"/>
                        <a:pt x="17" y="83"/>
                        <a:pt x="17" y="83"/>
                      </a:cubicBezTo>
                      <a:cubicBezTo>
                        <a:pt x="18" y="85"/>
                        <a:pt x="19" y="87"/>
                        <a:pt x="20" y="89"/>
                      </a:cubicBezTo>
                      <a:cubicBezTo>
                        <a:pt x="14" y="97"/>
                        <a:pt x="14" y="97"/>
                        <a:pt x="14" y="97"/>
                      </a:cubicBezTo>
                      <a:cubicBezTo>
                        <a:pt x="14" y="97"/>
                        <a:pt x="14" y="98"/>
                        <a:pt x="14" y="98"/>
                      </a:cubicBezTo>
                      <a:cubicBezTo>
                        <a:pt x="14" y="99"/>
                        <a:pt x="14" y="99"/>
                        <a:pt x="14" y="100"/>
                      </a:cubicBezTo>
                      <a:cubicBezTo>
                        <a:pt x="15" y="100"/>
                        <a:pt x="16" y="101"/>
                        <a:pt x="17" y="100"/>
                      </a:cubicBezTo>
                      <a:cubicBezTo>
                        <a:pt x="26" y="95"/>
                        <a:pt x="26" y="95"/>
                        <a:pt x="26" y="95"/>
                      </a:cubicBezTo>
                      <a:cubicBezTo>
                        <a:pt x="28" y="97"/>
                        <a:pt x="29" y="99"/>
                        <a:pt x="31" y="100"/>
                      </a:cubicBezTo>
                      <a:cubicBezTo>
                        <a:pt x="28" y="109"/>
                        <a:pt x="28" y="109"/>
                        <a:pt x="28" y="109"/>
                      </a:cubicBezTo>
                      <a:cubicBezTo>
                        <a:pt x="28" y="110"/>
                        <a:pt x="28" y="110"/>
                        <a:pt x="28" y="110"/>
                      </a:cubicBezTo>
                      <a:cubicBezTo>
                        <a:pt x="28" y="111"/>
                        <a:pt x="28" y="112"/>
                        <a:pt x="29" y="112"/>
                      </a:cubicBezTo>
                      <a:cubicBezTo>
                        <a:pt x="30" y="113"/>
                        <a:pt x="31" y="112"/>
                        <a:pt x="31" y="112"/>
                      </a:cubicBezTo>
                      <a:cubicBezTo>
                        <a:pt x="38" y="104"/>
                        <a:pt x="38" y="104"/>
                        <a:pt x="38" y="104"/>
                      </a:cubicBezTo>
                      <a:cubicBezTo>
                        <a:pt x="40" y="106"/>
                        <a:pt x="43" y="106"/>
                        <a:pt x="45" y="107"/>
                      </a:cubicBezTo>
                      <a:cubicBezTo>
                        <a:pt x="45" y="117"/>
                        <a:pt x="45" y="117"/>
                        <a:pt x="45" y="117"/>
                      </a:cubicBezTo>
                      <a:cubicBezTo>
                        <a:pt x="45" y="117"/>
                        <a:pt x="45" y="117"/>
                        <a:pt x="45" y="118"/>
                      </a:cubicBezTo>
                      <a:cubicBezTo>
                        <a:pt x="45" y="119"/>
                        <a:pt x="45" y="119"/>
                        <a:pt x="46" y="120"/>
                      </a:cubicBezTo>
                      <a:cubicBezTo>
                        <a:pt x="47" y="120"/>
                        <a:pt x="48" y="119"/>
                        <a:pt x="49" y="118"/>
                      </a:cubicBezTo>
                      <a:cubicBezTo>
                        <a:pt x="53" y="109"/>
                        <a:pt x="53" y="109"/>
                        <a:pt x="53" y="109"/>
                      </a:cubicBezTo>
                      <a:cubicBezTo>
                        <a:pt x="55" y="110"/>
                        <a:pt x="58" y="110"/>
                        <a:pt x="60" y="110"/>
                      </a:cubicBezTo>
                      <a:cubicBezTo>
                        <a:pt x="63" y="119"/>
                        <a:pt x="63" y="119"/>
                        <a:pt x="63" y="119"/>
                      </a:cubicBezTo>
                      <a:cubicBezTo>
                        <a:pt x="63" y="120"/>
                        <a:pt x="64" y="121"/>
                        <a:pt x="65" y="121"/>
                      </a:cubicBezTo>
                      <a:cubicBezTo>
                        <a:pt x="65" y="121"/>
                        <a:pt x="65" y="121"/>
                        <a:pt x="65" y="121"/>
                      </a:cubicBezTo>
                      <a:cubicBezTo>
                        <a:pt x="66" y="121"/>
                        <a:pt x="67" y="120"/>
                        <a:pt x="67" y="119"/>
                      </a:cubicBezTo>
                      <a:cubicBezTo>
                        <a:pt x="67" y="119"/>
                        <a:pt x="67" y="119"/>
                        <a:pt x="67" y="119"/>
                      </a:cubicBezTo>
                      <a:cubicBezTo>
                        <a:pt x="68" y="109"/>
                        <a:pt x="68" y="109"/>
                        <a:pt x="68" y="109"/>
                      </a:cubicBezTo>
                      <a:cubicBezTo>
                        <a:pt x="71" y="109"/>
                        <a:pt x="73" y="108"/>
                        <a:pt x="75" y="108"/>
                      </a:cubicBezTo>
                      <a:cubicBezTo>
                        <a:pt x="81" y="116"/>
                        <a:pt x="81" y="116"/>
                        <a:pt x="81" y="116"/>
                      </a:cubicBezTo>
                      <a:cubicBezTo>
                        <a:pt x="82" y="117"/>
                        <a:pt x="83" y="117"/>
                        <a:pt x="84" y="117"/>
                      </a:cubicBezTo>
                      <a:cubicBezTo>
                        <a:pt x="84" y="117"/>
                        <a:pt x="85" y="116"/>
                        <a:pt x="85" y="115"/>
                      </a:cubicBezTo>
                      <a:cubicBezTo>
                        <a:pt x="85" y="115"/>
                        <a:pt x="85" y="115"/>
                        <a:pt x="85" y="114"/>
                      </a:cubicBezTo>
                      <a:cubicBezTo>
                        <a:pt x="83" y="104"/>
                        <a:pt x="83" y="104"/>
                        <a:pt x="83" y="104"/>
                      </a:cubicBezTo>
                      <a:cubicBezTo>
                        <a:pt x="85" y="103"/>
                        <a:pt x="87" y="102"/>
                        <a:pt x="89" y="101"/>
                      </a:cubicBezTo>
                      <a:cubicBezTo>
                        <a:pt x="97" y="107"/>
                        <a:pt x="97" y="107"/>
                        <a:pt x="97" y="107"/>
                      </a:cubicBezTo>
                      <a:cubicBezTo>
                        <a:pt x="98" y="108"/>
                        <a:pt x="99" y="108"/>
                        <a:pt x="100" y="107"/>
                      </a:cubicBezTo>
                      <a:cubicBezTo>
                        <a:pt x="100" y="107"/>
                        <a:pt x="101" y="106"/>
                        <a:pt x="101" y="106"/>
                      </a:cubicBezTo>
                      <a:cubicBezTo>
                        <a:pt x="101" y="105"/>
                        <a:pt x="100" y="105"/>
                        <a:pt x="100" y="104"/>
                      </a:cubicBezTo>
                      <a:cubicBezTo>
                        <a:pt x="96" y="95"/>
                        <a:pt x="96" y="95"/>
                        <a:pt x="96" y="95"/>
                      </a:cubicBezTo>
                      <a:cubicBezTo>
                        <a:pt x="97" y="94"/>
                        <a:pt x="99" y="92"/>
                        <a:pt x="100" y="90"/>
                      </a:cubicBezTo>
                      <a:cubicBezTo>
                        <a:pt x="110" y="93"/>
                        <a:pt x="110" y="93"/>
                        <a:pt x="110" y="93"/>
                      </a:cubicBezTo>
                      <a:cubicBezTo>
                        <a:pt x="111" y="94"/>
                        <a:pt x="112" y="94"/>
                        <a:pt x="112" y="93"/>
                      </a:cubicBezTo>
                      <a:cubicBezTo>
                        <a:pt x="113" y="92"/>
                        <a:pt x="113" y="92"/>
                        <a:pt x="113" y="92"/>
                      </a:cubicBezTo>
                      <a:cubicBezTo>
                        <a:pt x="113" y="91"/>
                        <a:pt x="112" y="90"/>
                        <a:pt x="112" y="90"/>
                      </a:cubicBezTo>
                      <a:cubicBezTo>
                        <a:pt x="105" y="83"/>
                        <a:pt x="105" y="83"/>
                        <a:pt x="105" y="83"/>
                      </a:cubicBezTo>
                      <a:cubicBezTo>
                        <a:pt x="106" y="81"/>
                        <a:pt x="107" y="79"/>
                        <a:pt x="107" y="76"/>
                      </a:cubicBezTo>
                      <a:cubicBezTo>
                        <a:pt x="117" y="77"/>
                        <a:pt x="117" y="77"/>
                        <a:pt x="117" y="77"/>
                      </a:cubicBezTo>
                      <a:cubicBezTo>
                        <a:pt x="118" y="77"/>
                        <a:pt x="120" y="76"/>
                        <a:pt x="120" y="75"/>
                      </a:cubicBezTo>
                      <a:cubicBezTo>
                        <a:pt x="120" y="75"/>
                        <a:pt x="120" y="75"/>
                        <a:pt x="120" y="75"/>
                      </a:cubicBezTo>
                      <a:cubicBezTo>
                        <a:pt x="120" y="74"/>
                        <a:pt x="119" y="73"/>
                        <a:pt x="118" y="73"/>
                      </a:cubicBezTo>
                      <a:cubicBezTo>
                        <a:pt x="109" y="68"/>
                        <a:pt x="109" y="68"/>
                        <a:pt x="109" y="68"/>
                      </a:cubicBezTo>
                      <a:cubicBezTo>
                        <a:pt x="110" y="66"/>
                        <a:pt x="110" y="64"/>
                        <a:pt x="110" y="61"/>
                      </a:cubicBezTo>
                      <a:lnTo>
                        <a:pt x="120" y="58"/>
                      </a:lnTo>
                      <a:close/>
                      <a:moveTo>
                        <a:pt x="61" y="72"/>
                      </a:moveTo>
                      <a:cubicBezTo>
                        <a:pt x="55" y="72"/>
                        <a:pt x="50" y="67"/>
                        <a:pt x="50" y="61"/>
                      </a:cubicBezTo>
                      <a:cubicBezTo>
                        <a:pt x="50" y="54"/>
                        <a:pt x="55" y="49"/>
                        <a:pt x="61" y="49"/>
                      </a:cubicBezTo>
                      <a:cubicBezTo>
                        <a:pt x="67" y="49"/>
                        <a:pt x="72" y="54"/>
                        <a:pt x="72" y="61"/>
                      </a:cubicBezTo>
                      <a:cubicBezTo>
                        <a:pt x="72" y="67"/>
                        <a:pt x="67" y="72"/>
                        <a:pt x="61" y="7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685165">
                    <a:defRPr/>
                  </a:pPr>
                  <a:endParaRPr lang="en-US" sz="1400" kern="0" smtClean="0">
                    <a:solidFill>
                      <a:srgbClr val="FFFFFF"/>
                    </a:solidFill>
                    <a:latin typeface="Segoe UI" panose="020B0502040204020203"/>
                  </a:endParaRPr>
                </a:p>
              </p:txBody>
            </p:sp>
            <p:sp>
              <p:nvSpPr>
                <p:cNvPr id="50" name="Oval 21"/>
                <p:cNvSpPr>
                  <a:spLocks noChangeArrowheads="1"/>
                </p:cNvSpPr>
                <p:nvPr/>
              </p:nvSpPr>
              <p:spPr bwMode="auto">
                <a:xfrm>
                  <a:off x="-1055688" y="2462213"/>
                  <a:ext cx="171450" cy="171450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685165">
                    <a:defRPr/>
                  </a:pPr>
                  <a:endParaRPr lang="en-US" sz="1400" kern="0" smtClean="0">
                    <a:solidFill>
                      <a:srgbClr val="FFFFFF"/>
                    </a:solidFill>
                    <a:latin typeface="Segoe UI" panose="020B0502040204020203"/>
                  </a:endParaRPr>
                </a:p>
              </p:txBody>
            </p:sp>
            <p:sp>
              <p:nvSpPr>
                <p:cNvPr id="51" name="Oval 22"/>
                <p:cNvSpPr>
                  <a:spLocks noChangeArrowheads="1"/>
                </p:cNvSpPr>
                <p:nvPr/>
              </p:nvSpPr>
              <p:spPr bwMode="auto">
                <a:xfrm>
                  <a:off x="-1776413" y="2792413"/>
                  <a:ext cx="115888" cy="119063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685165">
                    <a:defRPr/>
                  </a:pPr>
                  <a:endParaRPr lang="en-US" sz="1400" kern="0" smtClean="0">
                    <a:solidFill>
                      <a:srgbClr val="FFFFFF"/>
                    </a:solidFill>
                    <a:latin typeface="Segoe UI" panose="020B0502040204020203"/>
                  </a:endParaRPr>
                </a:p>
              </p:txBody>
            </p:sp>
            <p:sp>
              <p:nvSpPr>
                <p:cNvPr id="52" name="Freeform 23"/>
                <p:cNvSpPr>
                  <a:spLocks noEditPoints="1"/>
                </p:cNvSpPr>
                <p:nvPr/>
              </p:nvSpPr>
              <p:spPr bwMode="auto">
                <a:xfrm>
                  <a:off x="-2773363" y="2439988"/>
                  <a:ext cx="2692401" cy="2659063"/>
                </a:xfrm>
                <a:custGeom>
                  <a:avLst/>
                  <a:gdLst>
                    <a:gd name="T0" fmla="*/ 605 w 718"/>
                    <a:gd name="T1" fmla="*/ 20 h 709"/>
                    <a:gd name="T2" fmla="*/ 602 w 718"/>
                    <a:gd name="T3" fmla="*/ 58 h 709"/>
                    <a:gd name="T4" fmla="*/ 587 w 718"/>
                    <a:gd name="T5" fmla="*/ 93 h 709"/>
                    <a:gd name="T6" fmla="*/ 563 w 718"/>
                    <a:gd name="T7" fmla="*/ 121 h 709"/>
                    <a:gd name="T8" fmla="*/ 530 w 718"/>
                    <a:gd name="T9" fmla="*/ 141 h 709"/>
                    <a:gd name="T10" fmla="*/ 493 w 718"/>
                    <a:gd name="T11" fmla="*/ 149 h 709"/>
                    <a:gd name="T12" fmla="*/ 456 w 718"/>
                    <a:gd name="T13" fmla="*/ 147 h 709"/>
                    <a:gd name="T14" fmla="*/ 420 w 718"/>
                    <a:gd name="T15" fmla="*/ 134 h 709"/>
                    <a:gd name="T16" fmla="*/ 391 w 718"/>
                    <a:gd name="T17" fmla="*/ 110 h 709"/>
                    <a:gd name="T18" fmla="*/ 371 w 718"/>
                    <a:gd name="T19" fmla="*/ 78 h 709"/>
                    <a:gd name="T20" fmla="*/ 361 w 718"/>
                    <a:gd name="T21" fmla="*/ 42 h 709"/>
                    <a:gd name="T22" fmla="*/ 363 w 718"/>
                    <a:gd name="T23" fmla="*/ 4 h 709"/>
                    <a:gd name="T24" fmla="*/ 68 w 718"/>
                    <a:gd name="T25" fmla="*/ 221 h 709"/>
                    <a:gd name="T26" fmla="*/ 162 w 718"/>
                    <a:gd name="T27" fmla="*/ 514 h 709"/>
                    <a:gd name="T28" fmla="*/ 334 w 718"/>
                    <a:gd name="T29" fmla="*/ 176 h 709"/>
                    <a:gd name="T30" fmla="*/ 311 w 718"/>
                    <a:gd name="T31" fmla="*/ 189 h 709"/>
                    <a:gd name="T32" fmla="*/ 288 w 718"/>
                    <a:gd name="T33" fmla="*/ 197 h 709"/>
                    <a:gd name="T34" fmla="*/ 258 w 718"/>
                    <a:gd name="T35" fmla="*/ 192 h 709"/>
                    <a:gd name="T36" fmla="*/ 234 w 718"/>
                    <a:gd name="T37" fmla="*/ 181 h 709"/>
                    <a:gd name="T38" fmla="*/ 214 w 718"/>
                    <a:gd name="T39" fmla="*/ 164 h 709"/>
                    <a:gd name="T40" fmla="*/ 201 w 718"/>
                    <a:gd name="T41" fmla="*/ 141 h 709"/>
                    <a:gd name="T42" fmla="*/ 195 w 718"/>
                    <a:gd name="T43" fmla="*/ 116 h 709"/>
                    <a:gd name="T44" fmla="*/ 197 w 718"/>
                    <a:gd name="T45" fmla="*/ 89 h 709"/>
                    <a:gd name="T46" fmla="*/ 207 w 718"/>
                    <a:gd name="T47" fmla="*/ 64 h 709"/>
                    <a:gd name="T48" fmla="*/ 225 w 718"/>
                    <a:gd name="T49" fmla="*/ 43 h 709"/>
                    <a:gd name="T50" fmla="*/ 249 w 718"/>
                    <a:gd name="T51" fmla="*/ 29 h 709"/>
                    <a:gd name="T52" fmla="*/ 275 w 718"/>
                    <a:gd name="T53" fmla="*/ 23 h 709"/>
                    <a:gd name="T54" fmla="*/ 305 w 718"/>
                    <a:gd name="T55" fmla="*/ 28 h 709"/>
                    <a:gd name="T56" fmla="*/ 329 w 718"/>
                    <a:gd name="T57" fmla="*/ 38 h 709"/>
                    <a:gd name="T58" fmla="*/ 349 w 718"/>
                    <a:gd name="T59" fmla="*/ 55 h 709"/>
                    <a:gd name="T60" fmla="*/ 362 w 718"/>
                    <a:gd name="T61" fmla="*/ 78 h 709"/>
                    <a:gd name="T62" fmla="*/ 368 w 718"/>
                    <a:gd name="T63" fmla="*/ 104 h 709"/>
                    <a:gd name="T64" fmla="*/ 366 w 718"/>
                    <a:gd name="T65" fmla="*/ 131 h 709"/>
                    <a:gd name="T66" fmla="*/ 356 w 718"/>
                    <a:gd name="T67" fmla="*/ 156 h 709"/>
                    <a:gd name="T68" fmla="*/ 338 w 718"/>
                    <a:gd name="T69" fmla="*/ 176 h 709"/>
                    <a:gd name="T70" fmla="*/ 451 w 718"/>
                    <a:gd name="T71" fmla="*/ 208 h 709"/>
                    <a:gd name="T72" fmla="*/ 444 w 718"/>
                    <a:gd name="T73" fmla="*/ 224 h 709"/>
                    <a:gd name="T74" fmla="*/ 433 w 718"/>
                    <a:gd name="T75" fmla="*/ 237 h 709"/>
                    <a:gd name="T76" fmla="*/ 418 w 718"/>
                    <a:gd name="T77" fmla="*/ 247 h 709"/>
                    <a:gd name="T78" fmla="*/ 401 w 718"/>
                    <a:gd name="T79" fmla="*/ 251 h 709"/>
                    <a:gd name="T80" fmla="*/ 383 w 718"/>
                    <a:gd name="T81" fmla="*/ 250 h 709"/>
                    <a:gd name="T82" fmla="*/ 367 w 718"/>
                    <a:gd name="T83" fmla="*/ 243 h 709"/>
                    <a:gd name="T84" fmla="*/ 353 w 718"/>
                    <a:gd name="T85" fmla="*/ 232 h 709"/>
                    <a:gd name="T86" fmla="*/ 343 w 718"/>
                    <a:gd name="T87" fmla="*/ 217 h 709"/>
                    <a:gd name="T88" fmla="*/ 339 w 718"/>
                    <a:gd name="T89" fmla="*/ 200 h 709"/>
                    <a:gd name="T90" fmla="*/ 340 w 718"/>
                    <a:gd name="T91" fmla="*/ 183 h 709"/>
                    <a:gd name="T92" fmla="*/ 346 w 718"/>
                    <a:gd name="T93" fmla="*/ 166 h 709"/>
                    <a:gd name="T94" fmla="*/ 357 w 718"/>
                    <a:gd name="T95" fmla="*/ 153 h 709"/>
                    <a:gd name="T96" fmla="*/ 372 w 718"/>
                    <a:gd name="T97" fmla="*/ 143 h 709"/>
                    <a:gd name="T98" fmla="*/ 389 w 718"/>
                    <a:gd name="T99" fmla="*/ 138 h 709"/>
                    <a:gd name="T100" fmla="*/ 407 w 718"/>
                    <a:gd name="T101" fmla="*/ 139 h 709"/>
                    <a:gd name="T102" fmla="*/ 423 w 718"/>
                    <a:gd name="T103" fmla="*/ 146 h 709"/>
                    <a:gd name="T104" fmla="*/ 437 w 718"/>
                    <a:gd name="T105" fmla="*/ 157 h 709"/>
                    <a:gd name="T106" fmla="*/ 446 w 718"/>
                    <a:gd name="T107" fmla="*/ 172 h 709"/>
                    <a:gd name="T108" fmla="*/ 451 w 718"/>
                    <a:gd name="T109" fmla="*/ 189 h 7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18" h="709">
                      <a:moveTo>
                        <a:pt x="606" y="330"/>
                      </a:moveTo>
                      <a:cubicBezTo>
                        <a:pt x="718" y="140"/>
                        <a:pt x="627" y="0"/>
                        <a:pt x="627" y="0"/>
                      </a:cubicBezTo>
                      <a:cubicBezTo>
                        <a:pt x="578" y="0"/>
                        <a:pt x="578" y="0"/>
                        <a:pt x="578" y="0"/>
                      </a:cubicBezTo>
                      <a:cubicBezTo>
                        <a:pt x="579" y="4"/>
                        <a:pt x="580" y="9"/>
                        <a:pt x="581" y="13"/>
                      </a:cubicBezTo>
                      <a:cubicBezTo>
                        <a:pt x="601" y="16"/>
                        <a:pt x="601" y="16"/>
                        <a:pt x="601" y="16"/>
                      </a:cubicBezTo>
                      <a:cubicBezTo>
                        <a:pt x="603" y="16"/>
                        <a:pt x="605" y="18"/>
                        <a:pt x="605" y="20"/>
                      </a:cubicBezTo>
                      <a:cubicBezTo>
                        <a:pt x="605" y="20"/>
                        <a:pt x="605" y="20"/>
                        <a:pt x="605" y="20"/>
                      </a:cubicBezTo>
                      <a:cubicBezTo>
                        <a:pt x="605" y="23"/>
                        <a:pt x="604" y="24"/>
                        <a:pt x="601" y="24"/>
                      </a:cubicBezTo>
                      <a:cubicBezTo>
                        <a:pt x="582" y="30"/>
                        <a:pt x="582" y="30"/>
                        <a:pt x="582" y="30"/>
                      </a:cubicBezTo>
                      <a:cubicBezTo>
                        <a:pt x="582" y="35"/>
                        <a:pt x="581" y="40"/>
                        <a:pt x="581" y="45"/>
                      </a:cubicBezTo>
                      <a:cubicBezTo>
                        <a:pt x="599" y="54"/>
                        <a:pt x="599" y="54"/>
                        <a:pt x="599" y="54"/>
                      </a:cubicBezTo>
                      <a:cubicBezTo>
                        <a:pt x="601" y="55"/>
                        <a:pt x="602" y="56"/>
                        <a:pt x="602" y="58"/>
                      </a:cubicBezTo>
                      <a:cubicBezTo>
                        <a:pt x="602" y="58"/>
                        <a:pt x="602" y="59"/>
                        <a:pt x="602" y="59"/>
                      </a:cubicBezTo>
                      <a:cubicBezTo>
                        <a:pt x="601" y="61"/>
                        <a:pt x="599" y="62"/>
                        <a:pt x="597" y="62"/>
                      </a:cubicBezTo>
                      <a:cubicBezTo>
                        <a:pt x="577" y="62"/>
                        <a:pt x="577" y="62"/>
                        <a:pt x="577" y="62"/>
                      </a:cubicBezTo>
                      <a:cubicBezTo>
                        <a:pt x="575" y="66"/>
                        <a:pt x="573" y="71"/>
                        <a:pt x="571" y="75"/>
                      </a:cubicBezTo>
                      <a:cubicBezTo>
                        <a:pt x="585" y="89"/>
                        <a:pt x="585" y="89"/>
                        <a:pt x="585" y="89"/>
                      </a:cubicBezTo>
                      <a:cubicBezTo>
                        <a:pt x="587" y="90"/>
                        <a:pt x="587" y="91"/>
                        <a:pt x="587" y="93"/>
                      </a:cubicBezTo>
                      <a:cubicBezTo>
                        <a:pt x="587" y="94"/>
                        <a:pt x="587" y="94"/>
                        <a:pt x="587" y="95"/>
                      </a:cubicBezTo>
                      <a:cubicBezTo>
                        <a:pt x="585" y="97"/>
                        <a:pt x="583" y="97"/>
                        <a:pt x="581" y="96"/>
                      </a:cubicBezTo>
                      <a:cubicBezTo>
                        <a:pt x="562" y="90"/>
                        <a:pt x="562" y="90"/>
                        <a:pt x="562" y="90"/>
                      </a:cubicBezTo>
                      <a:cubicBezTo>
                        <a:pt x="559" y="94"/>
                        <a:pt x="556" y="97"/>
                        <a:pt x="552" y="101"/>
                      </a:cubicBezTo>
                      <a:cubicBezTo>
                        <a:pt x="562" y="119"/>
                        <a:pt x="562" y="119"/>
                        <a:pt x="562" y="119"/>
                      </a:cubicBezTo>
                      <a:cubicBezTo>
                        <a:pt x="562" y="120"/>
                        <a:pt x="563" y="120"/>
                        <a:pt x="563" y="121"/>
                      </a:cubicBezTo>
                      <a:cubicBezTo>
                        <a:pt x="563" y="122"/>
                        <a:pt x="562" y="124"/>
                        <a:pt x="561" y="124"/>
                      </a:cubicBezTo>
                      <a:cubicBezTo>
                        <a:pt x="559" y="126"/>
                        <a:pt x="557" y="126"/>
                        <a:pt x="555" y="124"/>
                      </a:cubicBezTo>
                      <a:cubicBezTo>
                        <a:pt x="539" y="112"/>
                        <a:pt x="539" y="112"/>
                        <a:pt x="539" y="112"/>
                      </a:cubicBezTo>
                      <a:cubicBezTo>
                        <a:pt x="535" y="114"/>
                        <a:pt x="531" y="117"/>
                        <a:pt x="527" y="119"/>
                      </a:cubicBezTo>
                      <a:cubicBezTo>
                        <a:pt x="530" y="139"/>
                        <a:pt x="530" y="139"/>
                        <a:pt x="530" y="139"/>
                      </a:cubicBezTo>
                      <a:cubicBezTo>
                        <a:pt x="530" y="140"/>
                        <a:pt x="530" y="140"/>
                        <a:pt x="530" y="141"/>
                      </a:cubicBezTo>
                      <a:cubicBezTo>
                        <a:pt x="530" y="142"/>
                        <a:pt x="529" y="144"/>
                        <a:pt x="528" y="145"/>
                      </a:cubicBezTo>
                      <a:cubicBezTo>
                        <a:pt x="526" y="145"/>
                        <a:pt x="523" y="144"/>
                        <a:pt x="522" y="142"/>
                      </a:cubicBezTo>
                      <a:cubicBezTo>
                        <a:pt x="511" y="126"/>
                        <a:pt x="511" y="126"/>
                        <a:pt x="511" y="126"/>
                      </a:cubicBezTo>
                      <a:cubicBezTo>
                        <a:pt x="506" y="127"/>
                        <a:pt x="501" y="128"/>
                        <a:pt x="497" y="129"/>
                      </a:cubicBezTo>
                      <a:cubicBezTo>
                        <a:pt x="493" y="149"/>
                        <a:pt x="493" y="149"/>
                        <a:pt x="493" y="149"/>
                      </a:cubicBezTo>
                      <a:cubicBezTo>
                        <a:pt x="493" y="149"/>
                        <a:pt x="493" y="149"/>
                        <a:pt x="493" y="149"/>
                      </a:cubicBezTo>
                      <a:cubicBezTo>
                        <a:pt x="493" y="151"/>
                        <a:pt x="492" y="153"/>
                        <a:pt x="490" y="153"/>
                      </a:cubicBezTo>
                      <a:cubicBezTo>
                        <a:pt x="490" y="153"/>
                        <a:pt x="490" y="153"/>
                        <a:pt x="489" y="153"/>
                      </a:cubicBezTo>
                      <a:cubicBezTo>
                        <a:pt x="487" y="153"/>
                        <a:pt x="486" y="152"/>
                        <a:pt x="485" y="150"/>
                      </a:cubicBezTo>
                      <a:cubicBezTo>
                        <a:pt x="479" y="130"/>
                        <a:pt x="479" y="130"/>
                        <a:pt x="479" y="130"/>
                      </a:cubicBezTo>
                      <a:cubicBezTo>
                        <a:pt x="475" y="130"/>
                        <a:pt x="470" y="130"/>
                        <a:pt x="465" y="129"/>
                      </a:cubicBezTo>
                      <a:cubicBezTo>
                        <a:pt x="456" y="147"/>
                        <a:pt x="456" y="147"/>
                        <a:pt x="456" y="147"/>
                      </a:cubicBezTo>
                      <a:cubicBezTo>
                        <a:pt x="455" y="149"/>
                        <a:pt x="453" y="151"/>
                        <a:pt x="451" y="150"/>
                      </a:cubicBezTo>
                      <a:cubicBezTo>
                        <a:pt x="449" y="150"/>
                        <a:pt x="448" y="148"/>
                        <a:pt x="448" y="146"/>
                      </a:cubicBezTo>
                      <a:cubicBezTo>
                        <a:pt x="448" y="146"/>
                        <a:pt x="448" y="146"/>
                        <a:pt x="448" y="145"/>
                      </a:cubicBezTo>
                      <a:cubicBezTo>
                        <a:pt x="448" y="125"/>
                        <a:pt x="448" y="125"/>
                        <a:pt x="448" y="125"/>
                      </a:cubicBezTo>
                      <a:cubicBezTo>
                        <a:pt x="444" y="123"/>
                        <a:pt x="439" y="121"/>
                        <a:pt x="435" y="119"/>
                      </a:cubicBezTo>
                      <a:cubicBezTo>
                        <a:pt x="420" y="134"/>
                        <a:pt x="420" y="134"/>
                        <a:pt x="420" y="134"/>
                      </a:cubicBezTo>
                      <a:cubicBezTo>
                        <a:pt x="419" y="135"/>
                        <a:pt x="417" y="136"/>
                        <a:pt x="415" y="135"/>
                      </a:cubicBezTo>
                      <a:cubicBezTo>
                        <a:pt x="414" y="134"/>
                        <a:pt x="413" y="133"/>
                        <a:pt x="413" y="131"/>
                      </a:cubicBezTo>
                      <a:cubicBezTo>
                        <a:pt x="413" y="131"/>
                        <a:pt x="413" y="130"/>
                        <a:pt x="414" y="129"/>
                      </a:cubicBezTo>
                      <a:cubicBezTo>
                        <a:pt x="420" y="110"/>
                        <a:pt x="420" y="110"/>
                        <a:pt x="420" y="110"/>
                      </a:cubicBezTo>
                      <a:cubicBezTo>
                        <a:pt x="416" y="107"/>
                        <a:pt x="413" y="104"/>
                        <a:pt x="409" y="101"/>
                      </a:cubicBezTo>
                      <a:cubicBezTo>
                        <a:pt x="391" y="110"/>
                        <a:pt x="391" y="110"/>
                        <a:pt x="391" y="110"/>
                      </a:cubicBezTo>
                      <a:cubicBezTo>
                        <a:pt x="389" y="111"/>
                        <a:pt x="387" y="111"/>
                        <a:pt x="386" y="109"/>
                      </a:cubicBezTo>
                      <a:cubicBezTo>
                        <a:pt x="385" y="109"/>
                        <a:pt x="385" y="108"/>
                        <a:pt x="385" y="107"/>
                      </a:cubicBezTo>
                      <a:cubicBezTo>
                        <a:pt x="385" y="106"/>
                        <a:pt x="385" y="104"/>
                        <a:pt x="386" y="104"/>
                      </a:cubicBezTo>
                      <a:cubicBezTo>
                        <a:pt x="398" y="87"/>
                        <a:pt x="398" y="87"/>
                        <a:pt x="398" y="87"/>
                      </a:cubicBezTo>
                      <a:cubicBezTo>
                        <a:pt x="395" y="83"/>
                        <a:pt x="393" y="79"/>
                        <a:pt x="391" y="75"/>
                      </a:cubicBezTo>
                      <a:cubicBezTo>
                        <a:pt x="371" y="78"/>
                        <a:pt x="371" y="78"/>
                        <a:pt x="371" y="78"/>
                      </a:cubicBezTo>
                      <a:cubicBezTo>
                        <a:pt x="369" y="79"/>
                        <a:pt x="366" y="78"/>
                        <a:pt x="365" y="76"/>
                      </a:cubicBezTo>
                      <a:cubicBezTo>
                        <a:pt x="365" y="75"/>
                        <a:pt x="365" y="75"/>
                        <a:pt x="365" y="74"/>
                      </a:cubicBezTo>
                      <a:cubicBezTo>
                        <a:pt x="365" y="73"/>
                        <a:pt x="366" y="71"/>
                        <a:pt x="368" y="71"/>
                      </a:cubicBezTo>
                      <a:cubicBezTo>
                        <a:pt x="384" y="59"/>
                        <a:pt x="384" y="59"/>
                        <a:pt x="384" y="59"/>
                      </a:cubicBezTo>
                      <a:cubicBezTo>
                        <a:pt x="383" y="54"/>
                        <a:pt x="382" y="50"/>
                        <a:pt x="381" y="45"/>
                      </a:cubicBezTo>
                      <a:cubicBezTo>
                        <a:pt x="361" y="42"/>
                        <a:pt x="361" y="42"/>
                        <a:pt x="361" y="42"/>
                      </a:cubicBezTo>
                      <a:cubicBezTo>
                        <a:pt x="359" y="42"/>
                        <a:pt x="357" y="40"/>
                        <a:pt x="357" y="38"/>
                      </a:cubicBezTo>
                      <a:cubicBezTo>
                        <a:pt x="357" y="38"/>
                        <a:pt x="357" y="38"/>
                        <a:pt x="357" y="38"/>
                      </a:cubicBezTo>
                      <a:cubicBezTo>
                        <a:pt x="357" y="36"/>
                        <a:pt x="358" y="34"/>
                        <a:pt x="360" y="34"/>
                      </a:cubicBezTo>
                      <a:cubicBezTo>
                        <a:pt x="380" y="28"/>
                        <a:pt x="380" y="28"/>
                        <a:pt x="380" y="28"/>
                      </a:cubicBezTo>
                      <a:cubicBezTo>
                        <a:pt x="380" y="23"/>
                        <a:pt x="380" y="18"/>
                        <a:pt x="381" y="13"/>
                      </a:cubicBezTo>
                      <a:cubicBezTo>
                        <a:pt x="363" y="4"/>
                        <a:pt x="363" y="4"/>
                        <a:pt x="363" y="4"/>
                      </a:cubicBezTo>
                      <a:cubicBezTo>
                        <a:pt x="361" y="4"/>
                        <a:pt x="360" y="2"/>
                        <a:pt x="360" y="0"/>
                      </a:cubicBezTo>
                      <a:cubicBezTo>
                        <a:pt x="360" y="0"/>
                        <a:pt x="360" y="0"/>
                        <a:pt x="360" y="0"/>
                      </a:cubicBezTo>
                      <a:cubicBezTo>
                        <a:pt x="110" y="0"/>
                        <a:pt x="110" y="0"/>
                        <a:pt x="110" y="0"/>
                      </a:cubicBezTo>
                      <a:cubicBezTo>
                        <a:pt x="103" y="41"/>
                        <a:pt x="83" y="85"/>
                        <a:pt x="83" y="85"/>
                      </a:cubicBezTo>
                      <a:cubicBezTo>
                        <a:pt x="71" y="115"/>
                        <a:pt x="79" y="137"/>
                        <a:pt x="79" y="137"/>
                      </a:cubicBezTo>
                      <a:cubicBezTo>
                        <a:pt x="103" y="178"/>
                        <a:pt x="84" y="200"/>
                        <a:pt x="68" y="221"/>
                      </a:cubicBezTo>
                      <a:cubicBezTo>
                        <a:pt x="53" y="242"/>
                        <a:pt x="0" y="315"/>
                        <a:pt x="51" y="317"/>
                      </a:cubicBezTo>
                      <a:cubicBezTo>
                        <a:pt x="99" y="318"/>
                        <a:pt x="84" y="334"/>
                        <a:pt x="84" y="334"/>
                      </a:cubicBezTo>
                      <a:cubicBezTo>
                        <a:pt x="63" y="380"/>
                        <a:pt x="96" y="381"/>
                        <a:pt x="96" y="381"/>
                      </a:cubicBezTo>
                      <a:cubicBezTo>
                        <a:pt x="81" y="408"/>
                        <a:pt x="103" y="409"/>
                        <a:pt x="103" y="409"/>
                      </a:cubicBezTo>
                      <a:cubicBezTo>
                        <a:pt x="135" y="409"/>
                        <a:pt x="118" y="438"/>
                        <a:pt x="118" y="438"/>
                      </a:cubicBezTo>
                      <a:cubicBezTo>
                        <a:pt x="79" y="481"/>
                        <a:pt x="113" y="524"/>
                        <a:pt x="162" y="514"/>
                      </a:cubicBezTo>
                      <a:cubicBezTo>
                        <a:pt x="259" y="494"/>
                        <a:pt x="309" y="527"/>
                        <a:pt x="286" y="597"/>
                      </a:cubicBezTo>
                      <a:cubicBezTo>
                        <a:pt x="263" y="666"/>
                        <a:pt x="232" y="709"/>
                        <a:pt x="232" y="709"/>
                      </a:cubicBezTo>
                      <a:cubicBezTo>
                        <a:pt x="659" y="709"/>
                        <a:pt x="659" y="709"/>
                        <a:pt x="659" y="709"/>
                      </a:cubicBezTo>
                      <a:cubicBezTo>
                        <a:pt x="568" y="521"/>
                        <a:pt x="568" y="521"/>
                        <a:pt x="568" y="521"/>
                      </a:cubicBezTo>
                      <a:cubicBezTo>
                        <a:pt x="540" y="458"/>
                        <a:pt x="606" y="330"/>
                        <a:pt x="606" y="330"/>
                      </a:cubicBezTo>
                      <a:close/>
                      <a:moveTo>
                        <a:pt x="334" y="176"/>
                      </a:moveTo>
                      <a:cubicBezTo>
                        <a:pt x="322" y="168"/>
                        <a:pt x="322" y="168"/>
                        <a:pt x="322" y="168"/>
                      </a:cubicBezTo>
                      <a:cubicBezTo>
                        <a:pt x="320" y="169"/>
                        <a:pt x="317" y="171"/>
                        <a:pt x="314" y="173"/>
                      </a:cubicBezTo>
                      <a:cubicBezTo>
                        <a:pt x="316" y="187"/>
                        <a:pt x="316" y="187"/>
                        <a:pt x="316" y="187"/>
                      </a:cubicBezTo>
                      <a:cubicBezTo>
                        <a:pt x="316" y="187"/>
                        <a:pt x="316" y="188"/>
                        <a:pt x="316" y="188"/>
                      </a:cubicBezTo>
                      <a:cubicBezTo>
                        <a:pt x="316" y="189"/>
                        <a:pt x="315" y="190"/>
                        <a:pt x="314" y="191"/>
                      </a:cubicBezTo>
                      <a:cubicBezTo>
                        <a:pt x="313" y="191"/>
                        <a:pt x="311" y="190"/>
                        <a:pt x="311" y="189"/>
                      </a:cubicBezTo>
                      <a:cubicBezTo>
                        <a:pt x="302" y="177"/>
                        <a:pt x="302" y="177"/>
                        <a:pt x="302" y="177"/>
                      </a:cubicBezTo>
                      <a:cubicBezTo>
                        <a:pt x="299" y="178"/>
                        <a:pt x="296" y="179"/>
                        <a:pt x="293" y="180"/>
                      </a:cubicBezTo>
                      <a:cubicBezTo>
                        <a:pt x="290" y="194"/>
                        <a:pt x="290" y="194"/>
                        <a:pt x="290" y="194"/>
                      </a:cubicBezTo>
                      <a:cubicBezTo>
                        <a:pt x="290" y="194"/>
                        <a:pt x="290" y="194"/>
                        <a:pt x="290" y="194"/>
                      </a:cubicBezTo>
                      <a:cubicBezTo>
                        <a:pt x="290" y="195"/>
                        <a:pt x="289" y="197"/>
                        <a:pt x="288" y="197"/>
                      </a:cubicBezTo>
                      <a:cubicBezTo>
                        <a:pt x="288" y="197"/>
                        <a:pt x="288" y="197"/>
                        <a:pt x="288" y="197"/>
                      </a:cubicBezTo>
                      <a:cubicBezTo>
                        <a:pt x="286" y="197"/>
                        <a:pt x="285" y="196"/>
                        <a:pt x="285" y="194"/>
                      </a:cubicBezTo>
                      <a:cubicBezTo>
                        <a:pt x="281" y="180"/>
                        <a:pt x="281" y="180"/>
                        <a:pt x="281" y="180"/>
                      </a:cubicBezTo>
                      <a:cubicBezTo>
                        <a:pt x="277" y="180"/>
                        <a:pt x="274" y="180"/>
                        <a:pt x="270" y="180"/>
                      </a:cubicBezTo>
                      <a:cubicBezTo>
                        <a:pt x="264" y="192"/>
                        <a:pt x="264" y="192"/>
                        <a:pt x="264" y="192"/>
                      </a:cubicBezTo>
                      <a:cubicBezTo>
                        <a:pt x="264" y="194"/>
                        <a:pt x="262" y="195"/>
                        <a:pt x="261" y="194"/>
                      </a:cubicBezTo>
                      <a:cubicBezTo>
                        <a:pt x="259" y="194"/>
                        <a:pt x="258" y="193"/>
                        <a:pt x="258" y="192"/>
                      </a:cubicBezTo>
                      <a:cubicBezTo>
                        <a:pt x="258" y="191"/>
                        <a:pt x="258" y="191"/>
                        <a:pt x="259" y="191"/>
                      </a:cubicBezTo>
                      <a:cubicBezTo>
                        <a:pt x="259" y="177"/>
                        <a:pt x="259" y="177"/>
                        <a:pt x="259" y="177"/>
                      </a:cubicBezTo>
                      <a:cubicBezTo>
                        <a:pt x="255" y="176"/>
                        <a:pt x="252" y="174"/>
                        <a:pt x="249" y="173"/>
                      </a:cubicBezTo>
                      <a:cubicBezTo>
                        <a:pt x="239" y="183"/>
                        <a:pt x="239" y="183"/>
                        <a:pt x="239" y="183"/>
                      </a:cubicBezTo>
                      <a:cubicBezTo>
                        <a:pt x="238" y="184"/>
                        <a:pt x="237" y="185"/>
                        <a:pt x="235" y="184"/>
                      </a:cubicBezTo>
                      <a:cubicBezTo>
                        <a:pt x="235" y="183"/>
                        <a:pt x="234" y="182"/>
                        <a:pt x="234" y="181"/>
                      </a:cubicBezTo>
                      <a:cubicBezTo>
                        <a:pt x="234" y="181"/>
                        <a:pt x="234" y="180"/>
                        <a:pt x="235" y="180"/>
                      </a:cubicBezTo>
                      <a:cubicBezTo>
                        <a:pt x="239" y="166"/>
                        <a:pt x="239" y="166"/>
                        <a:pt x="239" y="166"/>
                      </a:cubicBezTo>
                      <a:cubicBezTo>
                        <a:pt x="236" y="164"/>
                        <a:pt x="234" y="162"/>
                        <a:pt x="231" y="160"/>
                      </a:cubicBezTo>
                      <a:cubicBezTo>
                        <a:pt x="219" y="166"/>
                        <a:pt x="219" y="166"/>
                        <a:pt x="219" y="166"/>
                      </a:cubicBezTo>
                      <a:cubicBezTo>
                        <a:pt x="218" y="167"/>
                        <a:pt x="216" y="167"/>
                        <a:pt x="215" y="166"/>
                      </a:cubicBezTo>
                      <a:cubicBezTo>
                        <a:pt x="214" y="165"/>
                        <a:pt x="214" y="165"/>
                        <a:pt x="214" y="164"/>
                      </a:cubicBezTo>
                      <a:cubicBezTo>
                        <a:pt x="214" y="163"/>
                        <a:pt x="214" y="163"/>
                        <a:pt x="215" y="162"/>
                      </a:cubicBezTo>
                      <a:cubicBezTo>
                        <a:pt x="224" y="151"/>
                        <a:pt x="224" y="151"/>
                        <a:pt x="224" y="151"/>
                      </a:cubicBezTo>
                      <a:cubicBezTo>
                        <a:pt x="222" y="148"/>
                        <a:pt x="220" y="145"/>
                        <a:pt x="218" y="142"/>
                      </a:cubicBezTo>
                      <a:cubicBezTo>
                        <a:pt x="204" y="144"/>
                        <a:pt x="204" y="144"/>
                        <a:pt x="204" y="144"/>
                      </a:cubicBezTo>
                      <a:cubicBezTo>
                        <a:pt x="203" y="145"/>
                        <a:pt x="201" y="144"/>
                        <a:pt x="201" y="143"/>
                      </a:cubicBezTo>
                      <a:cubicBezTo>
                        <a:pt x="201" y="142"/>
                        <a:pt x="201" y="142"/>
                        <a:pt x="201" y="141"/>
                      </a:cubicBezTo>
                      <a:cubicBezTo>
                        <a:pt x="201" y="140"/>
                        <a:pt x="201" y="139"/>
                        <a:pt x="202" y="139"/>
                      </a:cubicBezTo>
                      <a:cubicBezTo>
                        <a:pt x="214" y="131"/>
                        <a:pt x="214" y="131"/>
                        <a:pt x="214" y="131"/>
                      </a:cubicBezTo>
                      <a:cubicBezTo>
                        <a:pt x="213" y="127"/>
                        <a:pt x="212" y="124"/>
                        <a:pt x="212" y="121"/>
                      </a:cubicBezTo>
                      <a:cubicBezTo>
                        <a:pt x="198" y="119"/>
                        <a:pt x="198" y="119"/>
                        <a:pt x="198" y="119"/>
                      </a:cubicBezTo>
                      <a:cubicBezTo>
                        <a:pt x="196" y="119"/>
                        <a:pt x="195" y="118"/>
                        <a:pt x="195" y="116"/>
                      </a:cubicBezTo>
                      <a:cubicBezTo>
                        <a:pt x="195" y="116"/>
                        <a:pt x="195" y="116"/>
                        <a:pt x="195" y="116"/>
                      </a:cubicBezTo>
                      <a:cubicBezTo>
                        <a:pt x="195" y="114"/>
                        <a:pt x="196" y="113"/>
                        <a:pt x="197" y="113"/>
                      </a:cubicBezTo>
                      <a:cubicBezTo>
                        <a:pt x="211" y="109"/>
                        <a:pt x="211" y="109"/>
                        <a:pt x="211" y="109"/>
                      </a:cubicBezTo>
                      <a:cubicBezTo>
                        <a:pt x="211" y="105"/>
                        <a:pt x="211" y="102"/>
                        <a:pt x="212" y="99"/>
                      </a:cubicBezTo>
                      <a:cubicBezTo>
                        <a:pt x="199" y="92"/>
                        <a:pt x="199" y="92"/>
                        <a:pt x="199" y="92"/>
                      </a:cubicBezTo>
                      <a:cubicBezTo>
                        <a:pt x="198" y="92"/>
                        <a:pt x="197" y="91"/>
                        <a:pt x="197" y="89"/>
                      </a:cubicBezTo>
                      <a:cubicBezTo>
                        <a:pt x="197" y="89"/>
                        <a:pt x="197" y="89"/>
                        <a:pt x="197" y="89"/>
                      </a:cubicBezTo>
                      <a:cubicBezTo>
                        <a:pt x="197" y="87"/>
                        <a:pt x="199" y="86"/>
                        <a:pt x="200" y="87"/>
                      </a:cubicBezTo>
                      <a:cubicBezTo>
                        <a:pt x="215" y="87"/>
                        <a:pt x="215" y="87"/>
                        <a:pt x="215" y="87"/>
                      </a:cubicBezTo>
                      <a:cubicBezTo>
                        <a:pt x="216" y="84"/>
                        <a:pt x="217" y="81"/>
                        <a:pt x="218" y="78"/>
                      </a:cubicBezTo>
                      <a:cubicBezTo>
                        <a:pt x="208" y="68"/>
                        <a:pt x="208" y="68"/>
                        <a:pt x="208" y="68"/>
                      </a:cubicBezTo>
                      <a:cubicBezTo>
                        <a:pt x="208" y="67"/>
                        <a:pt x="207" y="66"/>
                        <a:pt x="207" y="65"/>
                      </a:cubicBezTo>
                      <a:cubicBezTo>
                        <a:pt x="207" y="65"/>
                        <a:pt x="207" y="64"/>
                        <a:pt x="207" y="64"/>
                      </a:cubicBezTo>
                      <a:cubicBezTo>
                        <a:pt x="208" y="62"/>
                        <a:pt x="210" y="62"/>
                        <a:pt x="211" y="63"/>
                      </a:cubicBezTo>
                      <a:cubicBezTo>
                        <a:pt x="225" y="67"/>
                        <a:pt x="225" y="67"/>
                        <a:pt x="225" y="67"/>
                      </a:cubicBezTo>
                      <a:cubicBezTo>
                        <a:pt x="227" y="65"/>
                        <a:pt x="229" y="62"/>
                        <a:pt x="232" y="60"/>
                      </a:cubicBezTo>
                      <a:cubicBezTo>
                        <a:pt x="225" y="47"/>
                        <a:pt x="225" y="47"/>
                        <a:pt x="225" y="47"/>
                      </a:cubicBezTo>
                      <a:cubicBezTo>
                        <a:pt x="225" y="46"/>
                        <a:pt x="224" y="46"/>
                        <a:pt x="224" y="45"/>
                      </a:cubicBezTo>
                      <a:cubicBezTo>
                        <a:pt x="224" y="44"/>
                        <a:pt x="225" y="44"/>
                        <a:pt x="225" y="43"/>
                      </a:cubicBezTo>
                      <a:cubicBezTo>
                        <a:pt x="227" y="42"/>
                        <a:pt x="228" y="42"/>
                        <a:pt x="229" y="43"/>
                      </a:cubicBezTo>
                      <a:cubicBezTo>
                        <a:pt x="241" y="52"/>
                        <a:pt x="241" y="52"/>
                        <a:pt x="241" y="52"/>
                      </a:cubicBezTo>
                      <a:cubicBezTo>
                        <a:pt x="243" y="50"/>
                        <a:pt x="246" y="48"/>
                        <a:pt x="249" y="47"/>
                      </a:cubicBezTo>
                      <a:cubicBezTo>
                        <a:pt x="247" y="33"/>
                        <a:pt x="247" y="33"/>
                        <a:pt x="247" y="33"/>
                      </a:cubicBezTo>
                      <a:cubicBezTo>
                        <a:pt x="247" y="32"/>
                        <a:pt x="247" y="32"/>
                        <a:pt x="247" y="32"/>
                      </a:cubicBezTo>
                      <a:cubicBezTo>
                        <a:pt x="247" y="30"/>
                        <a:pt x="248" y="29"/>
                        <a:pt x="249" y="29"/>
                      </a:cubicBezTo>
                      <a:cubicBezTo>
                        <a:pt x="250" y="28"/>
                        <a:pt x="252" y="29"/>
                        <a:pt x="252" y="31"/>
                      </a:cubicBezTo>
                      <a:cubicBezTo>
                        <a:pt x="261" y="42"/>
                        <a:pt x="261" y="42"/>
                        <a:pt x="261" y="42"/>
                      </a:cubicBezTo>
                      <a:cubicBezTo>
                        <a:pt x="264" y="41"/>
                        <a:pt x="267" y="40"/>
                        <a:pt x="270" y="40"/>
                      </a:cubicBezTo>
                      <a:cubicBezTo>
                        <a:pt x="273" y="26"/>
                        <a:pt x="273" y="26"/>
                        <a:pt x="273" y="26"/>
                      </a:cubicBezTo>
                      <a:cubicBezTo>
                        <a:pt x="273" y="26"/>
                        <a:pt x="273" y="26"/>
                        <a:pt x="273" y="26"/>
                      </a:cubicBezTo>
                      <a:cubicBezTo>
                        <a:pt x="273" y="24"/>
                        <a:pt x="274" y="23"/>
                        <a:pt x="275" y="23"/>
                      </a:cubicBezTo>
                      <a:cubicBezTo>
                        <a:pt x="277" y="23"/>
                        <a:pt x="278" y="24"/>
                        <a:pt x="278" y="25"/>
                      </a:cubicBezTo>
                      <a:cubicBezTo>
                        <a:pt x="282" y="39"/>
                        <a:pt x="282" y="39"/>
                        <a:pt x="282" y="39"/>
                      </a:cubicBezTo>
                      <a:cubicBezTo>
                        <a:pt x="286" y="39"/>
                        <a:pt x="289" y="39"/>
                        <a:pt x="293" y="40"/>
                      </a:cubicBezTo>
                      <a:cubicBezTo>
                        <a:pt x="299" y="27"/>
                        <a:pt x="299" y="27"/>
                        <a:pt x="299" y="27"/>
                      </a:cubicBezTo>
                      <a:cubicBezTo>
                        <a:pt x="299" y="26"/>
                        <a:pt x="301" y="25"/>
                        <a:pt x="302" y="25"/>
                      </a:cubicBezTo>
                      <a:cubicBezTo>
                        <a:pt x="304" y="25"/>
                        <a:pt x="305" y="27"/>
                        <a:pt x="305" y="28"/>
                      </a:cubicBezTo>
                      <a:cubicBezTo>
                        <a:pt x="305" y="28"/>
                        <a:pt x="305" y="28"/>
                        <a:pt x="304" y="29"/>
                      </a:cubicBezTo>
                      <a:cubicBezTo>
                        <a:pt x="304" y="43"/>
                        <a:pt x="304" y="43"/>
                        <a:pt x="304" y="43"/>
                      </a:cubicBezTo>
                      <a:cubicBezTo>
                        <a:pt x="308" y="44"/>
                        <a:pt x="311" y="45"/>
                        <a:pt x="314" y="47"/>
                      </a:cubicBezTo>
                      <a:cubicBezTo>
                        <a:pt x="324" y="37"/>
                        <a:pt x="324" y="37"/>
                        <a:pt x="324" y="37"/>
                      </a:cubicBezTo>
                      <a:cubicBezTo>
                        <a:pt x="325" y="35"/>
                        <a:pt x="326" y="35"/>
                        <a:pt x="328" y="36"/>
                      </a:cubicBezTo>
                      <a:cubicBezTo>
                        <a:pt x="328" y="36"/>
                        <a:pt x="329" y="37"/>
                        <a:pt x="329" y="38"/>
                      </a:cubicBezTo>
                      <a:cubicBezTo>
                        <a:pt x="329" y="39"/>
                        <a:pt x="329" y="39"/>
                        <a:pt x="328" y="40"/>
                      </a:cubicBezTo>
                      <a:cubicBezTo>
                        <a:pt x="324" y="53"/>
                        <a:pt x="324" y="53"/>
                        <a:pt x="324" y="53"/>
                      </a:cubicBezTo>
                      <a:cubicBezTo>
                        <a:pt x="327" y="55"/>
                        <a:pt x="329" y="57"/>
                        <a:pt x="332" y="60"/>
                      </a:cubicBezTo>
                      <a:cubicBezTo>
                        <a:pt x="344" y="53"/>
                        <a:pt x="344" y="53"/>
                        <a:pt x="344" y="53"/>
                      </a:cubicBezTo>
                      <a:cubicBezTo>
                        <a:pt x="345" y="52"/>
                        <a:pt x="347" y="52"/>
                        <a:pt x="348" y="54"/>
                      </a:cubicBezTo>
                      <a:cubicBezTo>
                        <a:pt x="349" y="54"/>
                        <a:pt x="349" y="55"/>
                        <a:pt x="349" y="55"/>
                      </a:cubicBezTo>
                      <a:cubicBezTo>
                        <a:pt x="349" y="56"/>
                        <a:pt x="349" y="57"/>
                        <a:pt x="348" y="58"/>
                      </a:cubicBezTo>
                      <a:cubicBezTo>
                        <a:pt x="339" y="69"/>
                        <a:pt x="339" y="69"/>
                        <a:pt x="339" y="69"/>
                      </a:cubicBezTo>
                      <a:cubicBezTo>
                        <a:pt x="341" y="72"/>
                        <a:pt x="343" y="75"/>
                        <a:pt x="345" y="78"/>
                      </a:cubicBezTo>
                      <a:cubicBezTo>
                        <a:pt x="359" y="75"/>
                        <a:pt x="359" y="75"/>
                        <a:pt x="359" y="75"/>
                      </a:cubicBezTo>
                      <a:cubicBezTo>
                        <a:pt x="360" y="75"/>
                        <a:pt x="362" y="76"/>
                        <a:pt x="362" y="77"/>
                      </a:cubicBezTo>
                      <a:cubicBezTo>
                        <a:pt x="362" y="77"/>
                        <a:pt x="362" y="78"/>
                        <a:pt x="362" y="78"/>
                      </a:cubicBezTo>
                      <a:cubicBezTo>
                        <a:pt x="362" y="79"/>
                        <a:pt x="362" y="80"/>
                        <a:pt x="361" y="81"/>
                      </a:cubicBezTo>
                      <a:cubicBezTo>
                        <a:pt x="349" y="89"/>
                        <a:pt x="349" y="89"/>
                        <a:pt x="349" y="89"/>
                      </a:cubicBezTo>
                      <a:cubicBezTo>
                        <a:pt x="350" y="92"/>
                        <a:pt x="351" y="95"/>
                        <a:pt x="351" y="99"/>
                      </a:cubicBezTo>
                      <a:cubicBezTo>
                        <a:pt x="365" y="101"/>
                        <a:pt x="365" y="101"/>
                        <a:pt x="365" y="101"/>
                      </a:cubicBezTo>
                      <a:cubicBezTo>
                        <a:pt x="367" y="101"/>
                        <a:pt x="368" y="102"/>
                        <a:pt x="368" y="104"/>
                      </a:cubicBezTo>
                      <a:cubicBezTo>
                        <a:pt x="368" y="104"/>
                        <a:pt x="368" y="104"/>
                        <a:pt x="368" y="104"/>
                      </a:cubicBezTo>
                      <a:cubicBezTo>
                        <a:pt x="368" y="105"/>
                        <a:pt x="367" y="106"/>
                        <a:pt x="366" y="107"/>
                      </a:cubicBezTo>
                      <a:cubicBezTo>
                        <a:pt x="352" y="111"/>
                        <a:pt x="352" y="111"/>
                        <a:pt x="352" y="111"/>
                      </a:cubicBezTo>
                      <a:cubicBezTo>
                        <a:pt x="352" y="114"/>
                        <a:pt x="352" y="118"/>
                        <a:pt x="351" y="121"/>
                      </a:cubicBezTo>
                      <a:cubicBezTo>
                        <a:pt x="364" y="127"/>
                        <a:pt x="364" y="127"/>
                        <a:pt x="364" y="127"/>
                      </a:cubicBezTo>
                      <a:cubicBezTo>
                        <a:pt x="365" y="128"/>
                        <a:pt x="366" y="129"/>
                        <a:pt x="366" y="130"/>
                      </a:cubicBezTo>
                      <a:cubicBezTo>
                        <a:pt x="366" y="130"/>
                        <a:pt x="366" y="130"/>
                        <a:pt x="366" y="131"/>
                      </a:cubicBezTo>
                      <a:cubicBezTo>
                        <a:pt x="366" y="132"/>
                        <a:pt x="364" y="133"/>
                        <a:pt x="363" y="133"/>
                      </a:cubicBezTo>
                      <a:cubicBezTo>
                        <a:pt x="348" y="133"/>
                        <a:pt x="348" y="133"/>
                        <a:pt x="348" y="133"/>
                      </a:cubicBezTo>
                      <a:cubicBezTo>
                        <a:pt x="347" y="136"/>
                        <a:pt x="346" y="139"/>
                        <a:pt x="345" y="142"/>
                      </a:cubicBezTo>
                      <a:cubicBezTo>
                        <a:pt x="355" y="152"/>
                        <a:pt x="355" y="152"/>
                        <a:pt x="355" y="152"/>
                      </a:cubicBezTo>
                      <a:cubicBezTo>
                        <a:pt x="355" y="153"/>
                        <a:pt x="356" y="153"/>
                        <a:pt x="356" y="154"/>
                      </a:cubicBezTo>
                      <a:cubicBezTo>
                        <a:pt x="356" y="155"/>
                        <a:pt x="356" y="155"/>
                        <a:pt x="356" y="156"/>
                      </a:cubicBezTo>
                      <a:cubicBezTo>
                        <a:pt x="355" y="157"/>
                        <a:pt x="353" y="158"/>
                        <a:pt x="352" y="157"/>
                      </a:cubicBezTo>
                      <a:cubicBezTo>
                        <a:pt x="338" y="152"/>
                        <a:pt x="338" y="152"/>
                        <a:pt x="338" y="152"/>
                      </a:cubicBezTo>
                      <a:cubicBezTo>
                        <a:pt x="336" y="155"/>
                        <a:pt x="334" y="157"/>
                        <a:pt x="331" y="160"/>
                      </a:cubicBezTo>
                      <a:cubicBezTo>
                        <a:pt x="338" y="173"/>
                        <a:pt x="338" y="173"/>
                        <a:pt x="338" y="173"/>
                      </a:cubicBezTo>
                      <a:cubicBezTo>
                        <a:pt x="338" y="173"/>
                        <a:pt x="339" y="174"/>
                        <a:pt x="339" y="174"/>
                      </a:cubicBezTo>
                      <a:cubicBezTo>
                        <a:pt x="339" y="175"/>
                        <a:pt x="338" y="176"/>
                        <a:pt x="338" y="176"/>
                      </a:cubicBezTo>
                      <a:cubicBezTo>
                        <a:pt x="336" y="177"/>
                        <a:pt x="335" y="177"/>
                        <a:pt x="334" y="176"/>
                      </a:cubicBezTo>
                      <a:close/>
                      <a:moveTo>
                        <a:pt x="451" y="192"/>
                      </a:moveTo>
                      <a:cubicBezTo>
                        <a:pt x="442" y="195"/>
                        <a:pt x="442" y="195"/>
                        <a:pt x="442" y="195"/>
                      </a:cubicBezTo>
                      <a:cubicBezTo>
                        <a:pt x="442" y="197"/>
                        <a:pt x="442" y="200"/>
                        <a:pt x="441" y="202"/>
                      </a:cubicBezTo>
                      <a:cubicBezTo>
                        <a:pt x="450" y="206"/>
                        <a:pt x="450" y="206"/>
                        <a:pt x="450" y="206"/>
                      </a:cubicBezTo>
                      <a:cubicBezTo>
                        <a:pt x="451" y="206"/>
                        <a:pt x="451" y="207"/>
                        <a:pt x="451" y="208"/>
                      </a:cubicBezTo>
                      <a:cubicBezTo>
                        <a:pt x="451" y="208"/>
                        <a:pt x="451" y="208"/>
                        <a:pt x="451" y="208"/>
                      </a:cubicBezTo>
                      <a:cubicBezTo>
                        <a:pt x="451" y="209"/>
                        <a:pt x="450" y="210"/>
                        <a:pt x="449" y="210"/>
                      </a:cubicBezTo>
                      <a:cubicBezTo>
                        <a:pt x="439" y="210"/>
                        <a:pt x="439" y="210"/>
                        <a:pt x="439" y="210"/>
                      </a:cubicBezTo>
                      <a:cubicBezTo>
                        <a:pt x="439" y="212"/>
                        <a:pt x="438" y="214"/>
                        <a:pt x="437" y="216"/>
                      </a:cubicBezTo>
                      <a:cubicBezTo>
                        <a:pt x="444" y="223"/>
                        <a:pt x="444" y="223"/>
                        <a:pt x="444" y="223"/>
                      </a:cubicBezTo>
                      <a:cubicBezTo>
                        <a:pt x="444" y="223"/>
                        <a:pt x="444" y="224"/>
                        <a:pt x="444" y="224"/>
                      </a:cubicBezTo>
                      <a:cubicBezTo>
                        <a:pt x="444" y="225"/>
                        <a:pt x="444" y="225"/>
                        <a:pt x="444" y="225"/>
                      </a:cubicBezTo>
                      <a:cubicBezTo>
                        <a:pt x="444" y="226"/>
                        <a:pt x="443" y="226"/>
                        <a:pt x="442" y="226"/>
                      </a:cubicBezTo>
                      <a:cubicBezTo>
                        <a:pt x="433" y="223"/>
                        <a:pt x="433" y="223"/>
                        <a:pt x="433" y="223"/>
                      </a:cubicBezTo>
                      <a:cubicBezTo>
                        <a:pt x="431" y="224"/>
                        <a:pt x="430" y="226"/>
                        <a:pt x="428" y="228"/>
                      </a:cubicBezTo>
                      <a:cubicBezTo>
                        <a:pt x="433" y="236"/>
                        <a:pt x="433" y="236"/>
                        <a:pt x="433" y="236"/>
                      </a:cubicBezTo>
                      <a:cubicBezTo>
                        <a:pt x="433" y="237"/>
                        <a:pt x="433" y="237"/>
                        <a:pt x="433" y="237"/>
                      </a:cubicBezTo>
                      <a:cubicBezTo>
                        <a:pt x="433" y="238"/>
                        <a:pt x="433" y="239"/>
                        <a:pt x="432" y="239"/>
                      </a:cubicBezTo>
                      <a:cubicBezTo>
                        <a:pt x="431" y="240"/>
                        <a:pt x="430" y="239"/>
                        <a:pt x="430" y="239"/>
                      </a:cubicBezTo>
                      <a:cubicBezTo>
                        <a:pt x="422" y="233"/>
                        <a:pt x="422" y="233"/>
                        <a:pt x="422" y="233"/>
                      </a:cubicBezTo>
                      <a:cubicBezTo>
                        <a:pt x="420" y="234"/>
                        <a:pt x="418" y="235"/>
                        <a:pt x="416" y="236"/>
                      </a:cubicBezTo>
                      <a:cubicBezTo>
                        <a:pt x="418" y="246"/>
                        <a:pt x="418" y="246"/>
                        <a:pt x="418" y="246"/>
                      </a:cubicBezTo>
                      <a:cubicBezTo>
                        <a:pt x="418" y="246"/>
                        <a:pt x="418" y="246"/>
                        <a:pt x="418" y="247"/>
                      </a:cubicBezTo>
                      <a:cubicBezTo>
                        <a:pt x="418" y="247"/>
                        <a:pt x="417" y="248"/>
                        <a:pt x="417" y="248"/>
                      </a:cubicBezTo>
                      <a:cubicBezTo>
                        <a:pt x="416" y="249"/>
                        <a:pt x="415" y="248"/>
                        <a:pt x="414" y="247"/>
                      </a:cubicBezTo>
                      <a:cubicBezTo>
                        <a:pt x="409" y="239"/>
                        <a:pt x="409" y="239"/>
                        <a:pt x="409" y="239"/>
                      </a:cubicBezTo>
                      <a:cubicBezTo>
                        <a:pt x="407" y="240"/>
                        <a:pt x="404" y="241"/>
                        <a:pt x="402" y="241"/>
                      </a:cubicBezTo>
                      <a:cubicBezTo>
                        <a:pt x="401" y="250"/>
                        <a:pt x="401" y="250"/>
                        <a:pt x="401" y="250"/>
                      </a:cubicBezTo>
                      <a:cubicBezTo>
                        <a:pt x="401" y="250"/>
                        <a:pt x="401" y="251"/>
                        <a:pt x="401" y="251"/>
                      </a:cubicBezTo>
                      <a:cubicBezTo>
                        <a:pt x="401" y="252"/>
                        <a:pt x="400" y="252"/>
                        <a:pt x="399" y="252"/>
                      </a:cubicBezTo>
                      <a:cubicBezTo>
                        <a:pt x="399" y="252"/>
                        <a:pt x="399" y="252"/>
                        <a:pt x="399" y="252"/>
                      </a:cubicBezTo>
                      <a:cubicBezTo>
                        <a:pt x="398" y="252"/>
                        <a:pt x="397" y="252"/>
                        <a:pt x="397" y="251"/>
                      </a:cubicBezTo>
                      <a:cubicBezTo>
                        <a:pt x="394" y="242"/>
                        <a:pt x="394" y="242"/>
                        <a:pt x="394" y="242"/>
                      </a:cubicBezTo>
                      <a:cubicBezTo>
                        <a:pt x="392" y="242"/>
                        <a:pt x="390" y="241"/>
                        <a:pt x="387" y="241"/>
                      </a:cubicBezTo>
                      <a:cubicBezTo>
                        <a:pt x="383" y="250"/>
                        <a:pt x="383" y="250"/>
                        <a:pt x="383" y="250"/>
                      </a:cubicBezTo>
                      <a:cubicBezTo>
                        <a:pt x="383" y="251"/>
                        <a:pt x="382" y="251"/>
                        <a:pt x="381" y="251"/>
                      </a:cubicBezTo>
                      <a:cubicBezTo>
                        <a:pt x="380" y="251"/>
                        <a:pt x="379" y="250"/>
                        <a:pt x="379" y="249"/>
                      </a:cubicBezTo>
                      <a:cubicBezTo>
                        <a:pt x="379" y="249"/>
                        <a:pt x="379" y="249"/>
                        <a:pt x="379" y="249"/>
                      </a:cubicBezTo>
                      <a:cubicBezTo>
                        <a:pt x="380" y="239"/>
                        <a:pt x="380" y="239"/>
                        <a:pt x="380" y="239"/>
                      </a:cubicBezTo>
                      <a:cubicBezTo>
                        <a:pt x="377" y="238"/>
                        <a:pt x="375" y="237"/>
                        <a:pt x="373" y="236"/>
                      </a:cubicBezTo>
                      <a:cubicBezTo>
                        <a:pt x="367" y="243"/>
                        <a:pt x="367" y="243"/>
                        <a:pt x="367" y="243"/>
                      </a:cubicBezTo>
                      <a:cubicBezTo>
                        <a:pt x="366" y="244"/>
                        <a:pt x="365" y="244"/>
                        <a:pt x="364" y="244"/>
                      </a:cubicBezTo>
                      <a:cubicBezTo>
                        <a:pt x="364" y="243"/>
                        <a:pt x="363" y="243"/>
                        <a:pt x="363" y="242"/>
                      </a:cubicBezTo>
                      <a:cubicBezTo>
                        <a:pt x="363" y="242"/>
                        <a:pt x="363" y="242"/>
                        <a:pt x="364" y="241"/>
                      </a:cubicBezTo>
                      <a:cubicBezTo>
                        <a:pt x="367" y="232"/>
                        <a:pt x="367" y="232"/>
                        <a:pt x="367" y="232"/>
                      </a:cubicBezTo>
                      <a:cubicBezTo>
                        <a:pt x="365" y="231"/>
                        <a:pt x="363" y="229"/>
                        <a:pt x="361" y="228"/>
                      </a:cubicBezTo>
                      <a:cubicBezTo>
                        <a:pt x="353" y="232"/>
                        <a:pt x="353" y="232"/>
                        <a:pt x="353" y="232"/>
                      </a:cubicBezTo>
                      <a:cubicBezTo>
                        <a:pt x="352" y="233"/>
                        <a:pt x="351" y="233"/>
                        <a:pt x="350" y="232"/>
                      </a:cubicBezTo>
                      <a:cubicBezTo>
                        <a:pt x="350" y="232"/>
                        <a:pt x="350" y="231"/>
                        <a:pt x="350" y="231"/>
                      </a:cubicBezTo>
                      <a:cubicBezTo>
                        <a:pt x="350" y="230"/>
                        <a:pt x="350" y="230"/>
                        <a:pt x="351" y="229"/>
                      </a:cubicBezTo>
                      <a:cubicBezTo>
                        <a:pt x="356" y="222"/>
                        <a:pt x="356" y="222"/>
                        <a:pt x="356" y="222"/>
                      </a:cubicBezTo>
                      <a:cubicBezTo>
                        <a:pt x="355" y="220"/>
                        <a:pt x="354" y="218"/>
                        <a:pt x="353" y="216"/>
                      </a:cubicBezTo>
                      <a:cubicBezTo>
                        <a:pt x="343" y="217"/>
                        <a:pt x="343" y="217"/>
                        <a:pt x="343" y="217"/>
                      </a:cubicBezTo>
                      <a:cubicBezTo>
                        <a:pt x="342" y="218"/>
                        <a:pt x="341" y="217"/>
                        <a:pt x="341" y="216"/>
                      </a:cubicBezTo>
                      <a:cubicBezTo>
                        <a:pt x="341" y="216"/>
                        <a:pt x="341" y="216"/>
                        <a:pt x="341" y="216"/>
                      </a:cubicBezTo>
                      <a:cubicBezTo>
                        <a:pt x="341" y="215"/>
                        <a:pt x="341" y="214"/>
                        <a:pt x="342" y="214"/>
                      </a:cubicBezTo>
                      <a:cubicBezTo>
                        <a:pt x="350" y="208"/>
                        <a:pt x="350" y="208"/>
                        <a:pt x="350" y="208"/>
                      </a:cubicBezTo>
                      <a:cubicBezTo>
                        <a:pt x="349" y="206"/>
                        <a:pt x="349" y="204"/>
                        <a:pt x="348" y="202"/>
                      </a:cubicBezTo>
                      <a:cubicBezTo>
                        <a:pt x="339" y="200"/>
                        <a:pt x="339" y="200"/>
                        <a:pt x="339" y="200"/>
                      </a:cubicBezTo>
                      <a:cubicBezTo>
                        <a:pt x="338" y="200"/>
                        <a:pt x="337" y="200"/>
                        <a:pt x="337" y="199"/>
                      </a:cubicBezTo>
                      <a:cubicBezTo>
                        <a:pt x="337" y="199"/>
                        <a:pt x="337" y="198"/>
                        <a:pt x="337" y="198"/>
                      </a:cubicBezTo>
                      <a:cubicBezTo>
                        <a:pt x="337" y="197"/>
                        <a:pt x="338" y="197"/>
                        <a:pt x="339" y="197"/>
                      </a:cubicBezTo>
                      <a:cubicBezTo>
                        <a:pt x="348" y="194"/>
                        <a:pt x="348" y="194"/>
                        <a:pt x="348" y="194"/>
                      </a:cubicBezTo>
                      <a:cubicBezTo>
                        <a:pt x="348" y="191"/>
                        <a:pt x="348" y="189"/>
                        <a:pt x="348" y="187"/>
                      </a:cubicBezTo>
                      <a:cubicBezTo>
                        <a:pt x="340" y="183"/>
                        <a:pt x="340" y="183"/>
                        <a:pt x="340" y="183"/>
                      </a:cubicBezTo>
                      <a:cubicBezTo>
                        <a:pt x="339" y="182"/>
                        <a:pt x="338" y="182"/>
                        <a:pt x="338" y="181"/>
                      </a:cubicBezTo>
                      <a:cubicBezTo>
                        <a:pt x="338" y="181"/>
                        <a:pt x="338" y="181"/>
                        <a:pt x="338" y="180"/>
                      </a:cubicBezTo>
                      <a:cubicBezTo>
                        <a:pt x="339" y="179"/>
                        <a:pt x="340" y="179"/>
                        <a:pt x="341" y="179"/>
                      </a:cubicBezTo>
                      <a:cubicBezTo>
                        <a:pt x="350" y="179"/>
                        <a:pt x="350" y="179"/>
                        <a:pt x="350" y="179"/>
                      </a:cubicBezTo>
                      <a:cubicBezTo>
                        <a:pt x="351" y="177"/>
                        <a:pt x="352" y="175"/>
                        <a:pt x="353" y="173"/>
                      </a:cubicBezTo>
                      <a:cubicBezTo>
                        <a:pt x="346" y="166"/>
                        <a:pt x="346" y="166"/>
                        <a:pt x="346" y="166"/>
                      </a:cubicBezTo>
                      <a:cubicBezTo>
                        <a:pt x="346" y="166"/>
                        <a:pt x="345" y="165"/>
                        <a:pt x="345" y="165"/>
                      </a:cubicBezTo>
                      <a:cubicBezTo>
                        <a:pt x="345" y="164"/>
                        <a:pt x="345" y="164"/>
                        <a:pt x="345" y="164"/>
                      </a:cubicBezTo>
                      <a:cubicBezTo>
                        <a:pt x="346" y="163"/>
                        <a:pt x="347" y="163"/>
                        <a:pt x="348" y="163"/>
                      </a:cubicBezTo>
                      <a:cubicBezTo>
                        <a:pt x="357" y="166"/>
                        <a:pt x="357" y="166"/>
                        <a:pt x="357" y="166"/>
                      </a:cubicBezTo>
                      <a:cubicBezTo>
                        <a:pt x="358" y="164"/>
                        <a:pt x="360" y="163"/>
                        <a:pt x="361" y="161"/>
                      </a:cubicBezTo>
                      <a:cubicBezTo>
                        <a:pt x="357" y="153"/>
                        <a:pt x="357" y="153"/>
                        <a:pt x="357" y="153"/>
                      </a:cubicBezTo>
                      <a:cubicBezTo>
                        <a:pt x="357" y="152"/>
                        <a:pt x="357" y="152"/>
                        <a:pt x="357" y="151"/>
                      </a:cubicBezTo>
                      <a:cubicBezTo>
                        <a:pt x="357" y="151"/>
                        <a:pt x="357" y="150"/>
                        <a:pt x="357" y="150"/>
                      </a:cubicBezTo>
                      <a:cubicBezTo>
                        <a:pt x="358" y="149"/>
                        <a:pt x="359" y="149"/>
                        <a:pt x="360" y="150"/>
                      </a:cubicBezTo>
                      <a:cubicBezTo>
                        <a:pt x="368" y="156"/>
                        <a:pt x="368" y="156"/>
                        <a:pt x="368" y="156"/>
                      </a:cubicBezTo>
                      <a:cubicBezTo>
                        <a:pt x="369" y="155"/>
                        <a:pt x="371" y="153"/>
                        <a:pt x="373" y="152"/>
                      </a:cubicBezTo>
                      <a:cubicBezTo>
                        <a:pt x="372" y="143"/>
                        <a:pt x="372" y="143"/>
                        <a:pt x="372" y="143"/>
                      </a:cubicBezTo>
                      <a:cubicBezTo>
                        <a:pt x="372" y="143"/>
                        <a:pt x="372" y="143"/>
                        <a:pt x="372" y="142"/>
                      </a:cubicBezTo>
                      <a:cubicBezTo>
                        <a:pt x="372" y="142"/>
                        <a:pt x="372" y="141"/>
                        <a:pt x="373" y="141"/>
                      </a:cubicBezTo>
                      <a:cubicBezTo>
                        <a:pt x="374" y="140"/>
                        <a:pt x="375" y="141"/>
                        <a:pt x="375" y="142"/>
                      </a:cubicBezTo>
                      <a:cubicBezTo>
                        <a:pt x="381" y="149"/>
                        <a:pt x="381" y="149"/>
                        <a:pt x="381" y="149"/>
                      </a:cubicBezTo>
                      <a:cubicBezTo>
                        <a:pt x="383" y="149"/>
                        <a:pt x="385" y="148"/>
                        <a:pt x="387" y="148"/>
                      </a:cubicBezTo>
                      <a:cubicBezTo>
                        <a:pt x="389" y="138"/>
                        <a:pt x="389" y="138"/>
                        <a:pt x="389" y="138"/>
                      </a:cubicBezTo>
                      <a:cubicBezTo>
                        <a:pt x="389" y="138"/>
                        <a:pt x="389" y="138"/>
                        <a:pt x="389" y="138"/>
                      </a:cubicBezTo>
                      <a:cubicBezTo>
                        <a:pt x="389" y="137"/>
                        <a:pt x="390" y="136"/>
                        <a:pt x="391" y="136"/>
                      </a:cubicBezTo>
                      <a:cubicBezTo>
                        <a:pt x="392" y="136"/>
                        <a:pt x="393" y="137"/>
                        <a:pt x="393" y="138"/>
                      </a:cubicBezTo>
                      <a:cubicBezTo>
                        <a:pt x="395" y="147"/>
                        <a:pt x="395" y="147"/>
                        <a:pt x="395" y="147"/>
                      </a:cubicBezTo>
                      <a:cubicBezTo>
                        <a:pt x="398" y="147"/>
                        <a:pt x="400" y="147"/>
                        <a:pt x="402" y="148"/>
                      </a:cubicBezTo>
                      <a:cubicBezTo>
                        <a:pt x="407" y="139"/>
                        <a:pt x="407" y="139"/>
                        <a:pt x="407" y="139"/>
                      </a:cubicBezTo>
                      <a:cubicBezTo>
                        <a:pt x="407" y="138"/>
                        <a:pt x="408" y="138"/>
                        <a:pt x="409" y="138"/>
                      </a:cubicBezTo>
                      <a:cubicBezTo>
                        <a:pt x="410" y="138"/>
                        <a:pt x="410" y="139"/>
                        <a:pt x="410" y="140"/>
                      </a:cubicBezTo>
                      <a:cubicBezTo>
                        <a:pt x="410" y="140"/>
                        <a:pt x="410" y="140"/>
                        <a:pt x="410" y="140"/>
                      </a:cubicBezTo>
                      <a:cubicBezTo>
                        <a:pt x="410" y="150"/>
                        <a:pt x="410" y="150"/>
                        <a:pt x="410" y="150"/>
                      </a:cubicBezTo>
                      <a:cubicBezTo>
                        <a:pt x="412" y="150"/>
                        <a:pt x="414" y="151"/>
                        <a:pt x="416" y="152"/>
                      </a:cubicBezTo>
                      <a:cubicBezTo>
                        <a:pt x="423" y="146"/>
                        <a:pt x="423" y="146"/>
                        <a:pt x="423" y="146"/>
                      </a:cubicBezTo>
                      <a:cubicBezTo>
                        <a:pt x="424" y="145"/>
                        <a:pt x="425" y="145"/>
                        <a:pt x="426" y="145"/>
                      </a:cubicBezTo>
                      <a:cubicBezTo>
                        <a:pt x="426" y="145"/>
                        <a:pt x="426" y="146"/>
                        <a:pt x="426" y="147"/>
                      </a:cubicBezTo>
                      <a:cubicBezTo>
                        <a:pt x="426" y="147"/>
                        <a:pt x="426" y="147"/>
                        <a:pt x="426" y="148"/>
                      </a:cubicBezTo>
                      <a:cubicBezTo>
                        <a:pt x="423" y="157"/>
                        <a:pt x="423" y="157"/>
                        <a:pt x="423" y="157"/>
                      </a:cubicBezTo>
                      <a:cubicBezTo>
                        <a:pt x="425" y="158"/>
                        <a:pt x="427" y="159"/>
                        <a:pt x="428" y="161"/>
                      </a:cubicBezTo>
                      <a:cubicBezTo>
                        <a:pt x="437" y="157"/>
                        <a:pt x="437" y="157"/>
                        <a:pt x="437" y="157"/>
                      </a:cubicBezTo>
                      <a:cubicBezTo>
                        <a:pt x="437" y="156"/>
                        <a:pt x="439" y="156"/>
                        <a:pt x="439" y="157"/>
                      </a:cubicBezTo>
                      <a:cubicBezTo>
                        <a:pt x="440" y="157"/>
                        <a:pt x="440" y="158"/>
                        <a:pt x="440" y="158"/>
                      </a:cubicBezTo>
                      <a:cubicBezTo>
                        <a:pt x="440" y="159"/>
                        <a:pt x="440" y="159"/>
                        <a:pt x="439" y="160"/>
                      </a:cubicBezTo>
                      <a:cubicBezTo>
                        <a:pt x="433" y="167"/>
                        <a:pt x="433" y="167"/>
                        <a:pt x="433" y="167"/>
                      </a:cubicBezTo>
                      <a:cubicBezTo>
                        <a:pt x="435" y="169"/>
                        <a:pt x="436" y="171"/>
                        <a:pt x="437" y="173"/>
                      </a:cubicBezTo>
                      <a:cubicBezTo>
                        <a:pt x="446" y="172"/>
                        <a:pt x="446" y="172"/>
                        <a:pt x="446" y="172"/>
                      </a:cubicBezTo>
                      <a:cubicBezTo>
                        <a:pt x="447" y="171"/>
                        <a:pt x="448" y="172"/>
                        <a:pt x="449" y="173"/>
                      </a:cubicBezTo>
                      <a:cubicBezTo>
                        <a:pt x="449" y="173"/>
                        <a:pt x="449" y="173"/>
                        <a:pt x="449" y="173"/>
                      </a:cubicBezTo>
                      <a:cubicBezTo>
                        <a:pt x="449" y="174"/>
                        <a:pt x="448" y="175"/>
                        <a:pt x="448" y="175"/>
                      </a:cubicBezTo>
                      <a:cubicBezTo>
                        <a:pt x="440" y="180"/>
                        <a:pt x="440" y="180"/>
                        <a:pt x="440" y="180"/>
                      </a:cubicBezTo>
                      <a:cubicBezTo>
                        <a:pt x="441" y="183"/>
                        <a:pt x="441" y="185"/>
                        <a:pt x="441" y="187"/>
                      </a:cubicBezTo>
                      <a:cubicBezTo>
                        <a:pt x="451" y="189"/>
                        <a:pt x="451" y="189"/>
                        <a:pt x="451" y="189"/>
                      </a:cubicBezTo>
                      <a:cubicBezTo>
                        <a:pt x="452" y="188"/>
                        <a:pt x="453" y="189"/>
                        <a:pt x="453" y="190"/>
                      </a:cubicBezTo>
                      <a:cubicBezTo>
                        <a:pt x="453" y="190"/>
                        <a:pt x="453" y="190"/>
                        <a:pt x="453" y="190"/>
                      </a:cubicBezTo>
                      <a:cubicBezTo>
                        <a:pt x="453" y="191"/>
                        <a:pt x="452" y="192"/>
                        <a:pt x="451" y="19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685165">
                    <a:defRPr/>
                  </a:pPr>
                  <a:endParaRPr lang="en-US" sz="1400" kern="0" smtClean="0">
                    <a:solidFill>
                      <a:srgbClr val="FFFFFF"/>
                    </a:solidFill>
                    <a:latin typeface="Segoe UI" panose="020B0502040204020203"/>
                  </a:endParaRPr>
                </a:p>
              </p:txBody>
            </p:sp>
            <p:sp>
              <p:nvSpPr>
                <p:cNvPr id="53" name="Oval 24"/>
                <p:cNvSpPr>
                  <a:spLocks noChangeArrowheads="1"/>
                </p:cNvSpPr>
                <p:nvPr/>
              </p:nvSpPr>
              <p:spPr bwMode="auto">
                <a:xfrm>
                  <a:off x="-1333500" y="3128963"/>
                  <a:ext cx="77788" cy="79375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685165">
                    <a:defRPr/>
                  </a:pPr>
                  <a:endParaRPr lang="en-US" sz="1400" kern="0" smtClean="0">
                    <a:solidFill>
                      <a:srgbClr val="FFFFFF"/>
                    </a:solidFill>
                    <a:latin typeface="Segoe UI" panose="020B0502040204020203"/>
                  </a:endParaRPr>
                </a:p>
              </p:txBody>
            </p:sp>
            <p:sp>
              <p:nvSpPr>
                <p:cNvPr id="54" name="Freeform 25"/>
                <p:cNvSpPr/>
                <p:nvPr/>
              </p:nvSpPr>
              <p:spPr bwMode="auto">
                <a:xfrm>
                  <a:off x="-1423988" y="2082800"/>
                  <a:ext cx="889000" cy="357188"/>
                </a:xfrm>
                <a:custGeom>
                  <a:avLst/>
                  <a:gdLst>
                    <a:gd name="T0" fmla="*/ 218 w 237"/>
                    <a:gd name="T1" fmla="*/ 95 h 95"/>
                    <a:gd name="T2" fmla="*/ 217 w 237"/>
                    <a:gd name="T3" fmla="*/ 94 h 95"/>
                    <a:gd name="T4" fmla="*/ 234 w 237"/>
                    <a:gd name="T5" fmla="*/ 82 h 95"/>
                    <a:gd name="T6" fmla="*/ 237 w 237"/>
                    <a:gd name="T7" fmla="*/ 79 h 95"/>
                    <a:gd name="T8" fmla="*/ 236 w 237"/>
                    <a:gd name="T9" fmla="*/ 77 h 95"/>
                    <a:gd name="T10" fmla="*/ 231 w 237"/>
                    <a:gd name="T11" fmla="*/ 75 h 95"/>
                    <a:gd name="T12" fmla="*/ 211 w 237"/>
                    <a:gd name="T13" fmla="*/ 78 h 95"/>
                    <a:gd name="T14" fmla="*/ 203 w 237"/>
                    <a:gd name="T15" fmla="*/ 66 h 95"/>
                    <a:gd name="T16" fmla="*/ 216 w 237"/>
                    <a:gd name="T17" fmla="*/ 49 h 95"/>
                    <a:gd name="T18" fmla="*/ 217 w 237"/>
                    <a:gd name="T19" fmla="*/ 46 h 95"/>
                    <a:gd name="T20" fmla="*/ 216 w 237"/>
                    <a:gd name="T21" fmla="*/ 44 h 95"/>
                    <a:gd name="T22" fmla="*/ 211 w 237"/>
                    <a:gd name="T23" fmla="*/ 43 h 95"/>
                    <a:gd name="T24" fmla="*/ 192 w 237"/>
                    <a:gd name="T25" fmla="*/ 53 h 95"/>
                    <a:gd name="T26" fmla="*/ 181 w 237"/>
                    <a:gd name="T27" fmla="*/ 43 h 95"/>
                    <a:gd name="T28" fmla="*/ 188 w 237"/>
                    <a:gd name="T29" fmla="*/ 24 h 95"/>
                    <a:gd name="T30" fmla="*/ 189 w 237"/>
                    <a:gd name="T31" fmla="*/ 22 h 95"/>
                    <a:gd name="T32" fmla="*/ 187 w 237"/>
                    <a:gd name="T33" fmla="*/ 18 h 95"/>
                    <a:gd name="T34" fmla="*/ 181 w 237"/>
                    <a:gd name="T35" fmla="*/ 20 h 95"/>
                    <a:gd name="T36" fmla="*/ 167 w 237"/>
                    <a:gd name="T37" fmla="*/ 34 h 95"/>
                    <a:gd name="T38" fmla="*/ 153 w 237"/>
                    <a:gd name="T39" fmla="*/ 28 h 95"/>
                    <a:gd name="T40" fmla="*/ 154 w 237"/>
                    <a:gd name="T41" fmla="*/ 8 h 95"/>
                    <a:gd name="T42" fmla="*/ 154 w 237"/>
                    <a:gd name="T43" fmla="*/ 7 h 95"/>
                    <a:gd name="T44" fmla="*/ 151 w 237"/>
                    <a:gd name="T45" fmla="*/ 3 h 95"/>
                    <a:gd name="T46" fmla="*/ 146 w 237"/>
                    <a:gd name="T47" fmla="*/ 6 h 95"/>
                    <a:gd name="T48" fmla="*/ 137 w 237"/>
                    <a:gd name="T49" fmla="*/ 24 h 95"/>
                    <a:gd name="T50" fmla="*/ 122 w 237"/>
                    <a:gd name="T51" fmla="*/ 23 h 95"/>
                    <a:gd name="T52" fmla="*/ 116 w 237"/>
                    <a:gd name="T53" fmla="*/ 4 h 95"/>
                    <a:gd name="T54" fmla="*/ 112 w 237"/>
                    <a:gd name="T55" fmla="*/ 0 h 95"/>
                    <a:gd name="T56" fmla="*/ 108 w 237"/>
                    <a:gd name="T57" fmla="*/ 4 h 95"/>
                    <a:gd name="T58" fmla="*/ 108 w 237"/>
                    <a:gd name="T59" fmla="*/ 4 h 95"/>
                    <a:gd name="T60" fmla="*/ 105 w 237"/>
                    <a:gd name="T61" fmla="*/ 24 h 95"/>
                    <a:gd name="T62" fmla="*/ 91 w 237"/>
                    <a:gd name="T63" fmla="*/ 28 h 95"/>
                    <a:gd name="T64" fmla="*/ 79 w 237"/>
                    <a:gd name="T65" fmla="*/ 11 h 95"/>
                    <a:gd name="T66" fmla="*/ 74 w 237"/>
                    <a:gd name="T67" fmla="*/ 9 h 95"/>
                    <a:gd name="T68" fmla="*/ 71 w 237"/>
                    <a:gd name="T69" fmla="*/ 12 h 95"/>
                    <a:gd name="T70" fmla="*/ 72 w 237"/>
                    <a:gd name="T71" fmla="*/ 14 h 95"/>
                    <a:gd name="T72" fmla="*/ 75 w 237"/>
                    <a:gd name="T73" fmla="*/ 34 h 95"/>
                    <a:gd name="T74" fmla="*/ 63 w 237"/>
                    <a:gd name="T75" fmla="*/ 42 h 95"/>
                    <a:gd name="T76" fmla="*/ 46 w 237"/>
                    <a:gd name="T77" fmla="*/ 29 h 95"/>
                    <a:gd name="T78" fmla="*/ 41 w 237"/>
                    <a:gd name="T79" fmla="*/ 29 h 95"/>
                    <a:gd name="T80" fmla="*/ 39 w 237"/>
                    <a:gd name="T81" fmla="*/ 32 h 95"/>
                    <a:gd name="T82" fmla="*/ 40 w 237"/>
                    <a:gd name="T83" fmla="*/ 34 h 95"/>
                    <a:gd name="T84" fmla="*/ 49 w 237"/>
                    <a:gd name="T85" fmla="*/ 53 h 95"/>
                    <a:gd name="T86" fmla="*/ 40 w 237"/>
                    <a:gd name="T87" fmla="*/ 64 h 95"/>
                    <a:gd name="T88" fmla="*/ 21 w 237"/>
                    <a:gd name="T89" fmla="*/ 57 h 95"/>
                    <a:gd name="T90" fmla="*/ 15 w 237"/>
                    <a:gd name="T91" fmla="*/ 58 h 95"/>
                    <a:gd name="T92" fmla="*/ 14 w 237"/>
                    <a:gd name="T93" fmla="*/ 60 h 95"/>
                    <a:gd name="T94" fmla="*/ 16 w 237"/>
                    <a:gd name="T95" fmla="*/ 64 h 95"/>
                    <a:gd name="T96" fmla="*/ 31 w 237"/>
                    <a:gd name="T97" fmla="*/ 78 h 95"/>
                    <a:gd name="T98" fmla="*/ 25 w 237"/>
                    <a:gd name="T99" fmla="*/ 92 h 95"/>
                    <a:gd name="T100" fmla="*/ 5 w 237"/>
                    <a:gd name="T101" fmla="*/ 91 h 95"/>
                    <a:gd name="T102" fmla="*/ 0 w 237"/>
                    <a:gd name="T103" fmla="*/ 94 h 95"/>
                    <a:gd name="T104" fmla="*/ 0 w 237"/>
                    <a:gd name="T105" fmla="*/ 95 h 95"/>
                    <a:gd name="T106" fmla="*/ 218 w 237"/>
                    <a:gd name="T107" fmla="*/ 95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37" h="95">
                      <a:moveTo>
                        <a:pt x="218" y="95"/>
                      </a:moveTo>
                      <a:cubicBezTo>
                        <a:pt x="218" y="95"/>
                        <a:pt x="217" y="94"/>
                        <a:pt x="217" y="94"/>
                      </a:cubicBezTo>
                      <a:cubicBezTo>
                        <a:pt x="234" y="82"/>
                        <a:pt x="234" y="82"/>
                        <a:pt x="234" y="82"/>
                      </a:cubicBezTo>
                      <a:cubicBezTo>
                        <a:pt x="236" y="82"/>
                        <a:pt x="237" y="80"/>
                        <a:pt x="237" y="79"/>
                      </a:cubicBezTo>
                      <a:cubicBezTo>
                        <a:pt x="237" y="78"/>
                        <a:pt x="236" y="78"/>
                        <a:pt x="236" y="77"/>
                      </a:cubicBezTo>
                      <a:cubicBezTo>
                        <a:pt x="235" y="75"/>
                        <a:pt x="233" y="74"/>
                        <a:pt x="231" y="75"/>
                      </a:cubicBezTo>
                      <a:cubicBezTo>
                        <a:pt x="211" y="78"/>
                        <a:pt x="211" y="78"/>
                        <a:pt x="211" y="78"/>
                      </a:cubicBezTo>
                      <a:cubicBezTo>
                        <a:pt x="209" y="74"/>
                        <a:pt x="206" y="70"/>
                        <a:pt x="203" y="66"/>
                      </a:cubicBezTo>
                      <a:cubicBezTo>
                        <a:pt x="216" y="49"/>
                        <a:pt x="216" y="49"/>
                        <a:pt x="216" y="49"/>
                      </a:cubicBezTo>
                      <a:cubicBezTo>
                        <a:pt x="217" y="49"/>
                        <a:pt x="217" y="48"/>
                        <a:pt x="217" y="46"/>
                      </a:cubicBezTo>
                      <a:cubicBezTo>
                        <a:pt x="217" y="46"/>
                        <a:pt x="217" y="45"/>
                        <a:pt x="216" y="44"/>
                      </a:cubicBezTo>
                      <a:cubicBezTo>
                        <a:pt x="215" y="42"/>
                        <a:pt x="212" y="42"/>
                        <a:pt x="211" y="43"/>
                      </a:cubicBezTo>
                      <a:cubicBezTo>
                        <a:pt x="192" y="53"/>
                        <a:pt x="192" y="53"/>
                        <a:pt x="192" y="53"/>
                      </a:cubicBezTo>
                      <a:cubicBezTo>
                        <a:pt x="189" y="49"/>
                        <a:pt x="185" y="46"/>
                        <a:pt x="181" y="43"/>
                      </a:cubicBezTo>
                      <a:cubicBezTo>
                        <a:pt x="188" y="24"/>
                        <a:pt x="188" y="24"/>
                        <a:pt x="188" y="24"/>
                      </a:cubicBezTo>
                      <a:cubicBezTo>
                        <a:pt x="188" y="23"/>
                        <a:pt x="189" y="22"/>
                        <a:pt x="189" y="22"/>
                      </a:cubicBezTo>
                      <a:cubicBezTo>
                        <a:pt x="189" y="20"/>
                        <a:pt x="188" y="19"/>
                        <a:pt x="187" y="18"/>
                      </a:cubicBezTo>
                      <a:cubicBezTo>
                        <a:pt x="185" y="17"/>
                        <a:pt x="182" y="18"/>
                        <a:pt x="181" y="20"/>
                      </a:cubicBezTo>
                      <a:cubicBezTo>
                        <a:pt x="167" y="34"/>
                        <a:pt x="167" y="34"/>
                        <a:pt x="167" y="34"/>
                      </a:cubicBezTo>
                      <a:cubicBezTo>
                        <a:pt x="162" y="32"/>
                        <a:pt x="158" y="30"/>
                        <a:pt x="153" y="28"/>
                      </a:cubicBezTo>
                      <a:cubicBezTo>
                        <a:pt x="154" y="8"/>
                        <a:pt x="154" y="8"/>
                        <a:pt x="154" y="8"/>
                      </a:cubicBezTo>
                      <a:cubicBezTo>
                        <a:pt x="154" y="8"/>
                        <a:pt x="154" y="7"/>
                        <a:pt x="154" y="7"/>
                      </a:cubicBezTo>
                      <a:cubicBezTo>
                        <a:pt x="154" y="5"/>
                        <a:pt x="153" y="4"/>
                        <a:pt x="151" y="3"/>
                      </a:cubicBezTo>
                      <a:cubicBezTo>
                        <a:pt x="149" y="3"/>
                        <a:pt x="146" y="4"/>
                        <a:pt x="146" y="6"/>
                      </a:cubicBezTo>
                      <a:cubicBezTo>
                        <a:pt x="137" y="24"/>
                        <a:pt x="137" y="24"/>
                        <a:pt x="137" y="24"/>
                      </a:cubicBezTo>
                      <a:cubicBezTo>
                        <a:pt x="132" y="24"/>
                        <a:pt x="127" y="23"/>
                        <a:pt x="122" y="23"/>
                      </a:cubicBezTo>
                      <a:cubicBezTo>
                        <a:pt x="116" y="4"/>
                        <a:pt x="116" y="4"/>
                        <a:pt x="116" y="4"/>
                      </a:cubicBezTo>
                      <a:cubicBezTo>
                        <a:pt x="116" y="1"/>
                        <a:pt x="114" y="0"/>
                        <a:pt x="112" y="0"/>
                      </a:cubicBezTo>
                      <a:cubicBezTo>
                        <a:pt x="110" y="0"/>
                        <a:pt x="108" y="2"/>
                        <a:pt x="108" y="4"/>
                      </a:cubicBezTo>
                      <a:cubicBezTo>
                        <a:pt x="108" y="4"/>
                        <a:pt x="108" y="4"/>
                        <a:pt x="108" y="4"/>
                      </a:cubicBezTo>
                      <a:cubicBezTo>
                        <a:pt x="105" y="24"/>
                        <a:pt x="105" y="24"/>
                        <a:pt x="105" y="24"/>
                      </a:cubicBezTo>
                      <a:cubicBezTo>
                        <a:pt x="100" y="25"/>
                        <a:pt x="95" y="26"/>
                        <a:pt x="91" y="28"/>
                      </a:cubicBezTo>
                      <a:cubicBezTo>
                        <a:pt x="79" y="11"/>
                        <a:pt x="79" y="11"/>
                        <a:pt x="79" y="11"/>
                      </a:cubicBezTo>
                      <a:cubicBezTo>
                        <a:pt x="78" y="9"/>
                        <a:pt x="76" y="8"/>
                        <a:pt x="74" y="9"/>
                      </a:cubicBezTo>
                      <a:cubicBezTo>
                        <a:pt x="72" y="9"/>
                        <a:pt x="71" y="11"/>
                        <a:pt x="71" y="12"/>
                      </a:cubicBezTo>
                      <a:cubicBezTo>
                        <a:pt x="71" y="13"/>
                        <a:pt x="72" y="13"/>
                        <a:pt x="72" y="14"/>
                      </a:cubicBezTo>
                      <a:cubicBezTo>
                        <a:pt x="75" y="34"/>
                        <a:pt x="75" y="34"/>
                        <a:pt x="75" y="34"/>
                      </a:cubicBezTo>
                      <a:cubicBezTo>
                        <a:pt x="71" y="36"/>
                        <a:pt x="66" y="39"/>
                        <a:pt x="63" y="42"/>
                      </a:cubicBezTo>
                      <a:cubicBezTo>
                        <a:pt x="46" y="29"/>
                        <a:pt x="46" y="29"/>
                        <a:pt x="46" y="29"/>
                      </a:cubicBezTo>
                      <a:cubicBezTo>
                        <a:pt x="45" y="28"/>
                        <a:pt x="42" y="27"/>
                        <a:pt x="41" y="29"/>
                      </a:cubicBezTo>
                      <a:cubicBezTo>
                        <a:pt x="40" y="30"/>
                        <a:pt x="39" y="31"/>
                        <a:pt x="39" y="32"/>
                      </a:cubicBezTo>
                      <a:cubicBezTo>
                        <a:pt x="39" y="33"/>
                        <a:pt x="39" y="34"/>
                        <a:pt x="40" y="34"/>
                      </a:cubicBezTo>
                      <a:cubicBezTo>
                        <a:pt x="49" y="53"/>
                        <a:pt x="49" y="53"/>
                        <a:pt x="49" y="53"/>
                      </a:cubicBezTo>
                      <a:cubicBezTo>
                        <a:pt x="46" y="56"/>
                        <a:pt x="43" y="60"/>
                        <a:pt x="40" y="64"/>
                      </a:cubicBezTo>
                      <a:cubicBezTo>
                        <a:pt x="21" y="57"/>
                        <a:pt x="21" y="57"/>
                        <a:pt x="21" y="57"/>
                      </a:cubicBezTo>
                      <a:cubicBezTo>
                        <a:pt x="19" y="56"/>
                        <a:pt x="16" y="56"/>
                        <a:pt x="15" y="58"/>
                      </a:cubicBezTo>
                      <a:cubicBezTo>
                        <a:pt x="15" y="59"/>
                        <a:pt x="14" y="60"/>
                        <a:pt x="14" y="60"/>
                      </a:cubicBezTo>
                      <a:cubicBezTo>
                        <a:pt x="14" y="62"/>
                        <a:pt x="15" y="63"/>
                        <a:pt x="16" y="64"/>
                      </a:cubicBezTo>
                      <a:cubicBezTo>
                        <a:pt x="31" y="78"/>
                        <a:pt x="31" y="78"/>
                        <a:pt x="31" y="78"/>
                      </a:cubicBezTo>
                      <a:cubicBezTo>
                        <a:pt x="29" y="82"/>
                        <a:pt x="27" y="87"/>
                        <a:pt x="25" y="92"/>
                      </a:cubicBezTo>
                      <a:cubicBezTo>
                        <a:pt x="5" y="91"/>
                        <a:pt x="5" y="91"/>
                        <a:pt x="5" y="91"/>
                      </a:cubicBezTo>
                      <a:cubicBezTo>
                        <a:pt x="3" y="91"/>
                        <a:pt x="0" y="92"/>
                        <a:pt x="0" y="94"/>
                      </a:cubicBezTo>
                      <a:cubicBezTo>
                        <a:pt x="0" y="94"/>
                        <a:pt x="0" y="95"/>
                        <a:pt x="0" y="95"/>
                      </a:cubicBezTo>
                      <a:lnTo>
                        <a:pt x="218" y="9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685165">
                    <a:defRPr/>
                  </a:pPr>
                  <a:endParaRPr lang="en-US" sz="1400" kern="0" smtClean="0">
                    <a:solidFill>
                      <a:srgbClr val="FFFFFF"/>
                    </a:solidFill>
                    <a:latin typeface="Segoe UI" panose="020B0502040204020203"/>
                  </a:endParaRPr>
                </a:p>
              </p:txBody>
            </p:sp>
          </p:grpSp>
        </p:grpSp>
        <p:grpSp>
          <p:nvGrpSpPr>
            <p:cNvPr id="17" name="组合 16"/>
            <p:cNvGrpSpPr/>
            <p:nvPr/>
          </p:nvGrpSpPr>
          <p:grpSpPr>
            <a:xfrm>
              <a:off x="4641669" y="984161"/>
              <a:ext cx="2016777" cy="1303020"/>
              <a:chOff x="4641669" y="984161"/>
              <a:chExt cx="2016777" cy="1303020"/>
            </a:xfrm>
          </p:grpSpPr>
          <p:sp>
            <p:nvSpPr>
              <p:cNvPr id="38" name="Rectangle 8"/>
              <p:cNvSpPr>
                <a:spLocks noChangeAspect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4641669" y="984161"/>
                <a:ext cx="2016777" cy="1303020"/>
              </a:xfrm>
              <a:prstGeom prst="rect">
                <a:avLst/>
              </a:prstGeom>
              <a:solidFill>
                <a:srgbClr val="FF3B77"/>
              </a:solidFill>
              <a:ln w="9525">
                <a:solidFill>
                  <a:srgbClr val="FFFFFF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8E499C">
                    <a:satMod val="300000"/>
                  </a:srgbClr>
                </a:contourClr>
              </a:sp3d>
            </p:spPr>
            <p:txBody>
              <a:bodyPr vert="horz" wrap="square" lIns="121893" tIns="365681" rIns="121893" bIns="60947" numCol="1" rtlCol="0" anchor="b" anchorCtr="0" compatLnSpc="1">
                <a:noAutofit/>
              </a:bodyPr>
              <a:lstStyle/>
              <a:p>
                <a:pPr defTabSz="913765" fontAlgn="base">
                  <a:lnSpc>
                    <a:spcPct val="90000"/>
                  </a:lnSpc>
                  <a:spcBef>
                    <a:spcPts val="630"/>
                  </a:spcBef>
                  <a:spcAft>
                    <a:spcPct val="0"/>
                  </a:spcAft>
                  <a:buClr>
                    <a:srgbClr val="FFFF99"/>
                  </a:buClr>
                  <a:buSzPct val="120000"/>
                  <a:defRPr/>
                </a:pPr>
                <a:r>
                  <a:rPr lang="zh-CN" altLang="en-US" sz="1600" b="1" kern="0" dirty="0">
                    <a:solidFill>
                      <a:srgbClr val="FFFFFF">
                        <a:alpha val="99000"/>
                      </a:srgb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点击添加标题</a:t>
                </a:r>
                <a:endParaRPr lang="en-US" altLang="zh-CN" sz="1600" b="1" kern="0" dirty="0">
                  <a:solidFill>
                    <a:srgbClr val="FFFFFF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39" name="Group 144"/>
              <p:cNvGrpSpPr>
                <a:grpSpLocks noChangeAspect="1"/>
              </p:cNvGrpSpPr>
              <p:nvPr/>
            </p:nvGrpSpPr>
            <p:grpSpPr>
              <a:xfrm>
                <a:off x="4773450" y="1077322"/>
                <a:ext cx="791883" cy="633091"/>
                <a:chOff x="-2630488" y="2244726"/>
                <a:chExt cx="1954213" cy="1557338"/>
              </a:xfrm>
              <a:solidFill>
                <a:srgbClr val="363535"/>
              </a:solidFill>
            </p:grpSpPr>
            <p:sp>
              <p:nvSpPr>
                <p:cNvPr id="40" name="Freeform 103"/>
                <p:cNvSpPr/>
                <p:nvPr/>
              </p:nvSpPr>
              <p:spPr bwMode="auto">
                <a:xfrm>
                  <a:off x="-2570163" y="3328988"/>
                  <a:ext cx="804862" cy="125413"/>
                </a:xfrm>
                <a:custGeom>
                  <a:avLst/>
                  <a:gdLst>
                    <a:gd name="T0" fmla="*/ 507 w 507"/>
                    <a:gd name="T1" fmla="*/ 0 h 79"/>
                    <a:gd name="T2" fmla="*/ 0 w 507"/>
                    <a:gd name="T3" fmla="*/ 61 h 79"/>
                    <a:gd name="T4" fmla="*/ 0 w 507"/>
                    <a:gd name="T5" fmla="*/ 79 h 79"/>
                    <a:gd name="T6" fmla="*/ 507 w 507"/>
                    <a:gd name="T7" fmla="*/ 50 h 79"/>
                    <a:gd name="T8" fmla="*/ 507 w 507"/>
                    <a:gd name="T9" fmla="*/ 0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07" h="79">
                      <a:moveTo>
                        <a:pt x="507" y="0"/>
                      </a:moveTo>
                      <a:lnTo>
                        <a:pt x="0" y="61"/>
                      </a:lnTo>
                      <a:lnTo>
                        <a:pt x="0" y="79"/>
                      </a:lnTo>
                      <a:lnTo>
                        <a:pt x="507" y="50"/>
                      </a:lnTo>
                      <a:lnTo>
                        <a:pt x="507" y="0"/>
                      </a:lnTo>
                      <a:close/>
                    </a:path>
                  </a:pathLst>
                </a:custGeom>
                <a:solidFill>
                  <a:srgbClr val="94C9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685165">
                    <a:defRPr/>
                  </a:pPr>
                  <a:endParaRPr lang="en-US" sz="1400" kern="0" smtClean="0">
                    <a:solidFill>
                      <a:srgbClr val="FFFFFF"/>
                    </a:solidFill>
                    <a:latin typeface="Segoe UI" panose="020B0502040204020203"/>
                  </a:endParaRPr>
                </a:p>
              </p:txBody>
            </p:sp>
            <p:sp>
              <p:nvSpPr>
                <p:cNvPr id="41" name="Freeform 104"/>
                <p:cNvSpPr/>
                <p:nvPr/>
              </p:nvSpPr>
              <p:spPr bwMode="auto">
                <a:xfrm>
                  <a:off x="-2570163" y="3033713"/>
                  <a:ext cx="804862" cy="204788"/>
                </a:xfrm>
                <a:custGeom>
                  <a:avLst/>
                  <a:gdLst>
                    <a:gd name="T0" fmla="*/ 507 w 507"/>
                    <a:gd name="T1" fmla="*/ 0 h 129"/>
                    <a:gd name="T2" fmla="*/ 0 w 507"/>
                    <a:gd name="T3" fmla="*/ 111 h 129"/>
                    <a:gd name="T4" fmla="*/ 0 w 507"/>
                    <a:gd name="T5" fmla="*/ 129 h 129"/>
                    <a:gd name="T6" fmla="*/ 507 w 507"/>
                    <a:gd name="T7" fmla="*/ 60 h 129"/>
                    <a:gd name="T8" fmla="*/ 507 w 507"/>
                    <a:gd name="T9" fmla="*/ 0 h 1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07" h="129">
                      <a:moveTo>
                        <a:pt x="507" y="0"/>
                      </a:moveTo>
                      <a:lnTo>
                        <a:pt x="0" y="111"/>
                      </a:lnTo>
                      <a:lnTo>
                        <a:pt x="0" y="129"/>
                      </a:lnTo>
                      <a:lnTo>
                        <a:pt x="507" y="60"/>
                      </a:lnTo>
                      <a:lnTo>
                        <a:pt x="507" y="0"/>
                      </a:lnTo>
                      <a:close/>
                    </a:path>
                  </a:pathLst>
                </a:custGeom>
                <a:solidFill>
                  <a:srgbClr val="94C9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685165">
                    <a:defRPr/>
                  </a:pPr>
                  <a:endParaRPr lang="en-US" sz="1400" kern="0" smtClean="0">
                    <a:solidFill>
                      <a:srgbClr val="FFFFFF"/>
                    </a:solidFill>
                    <a:latin typeface="Segoe UI" panose="020B0502040204020203"/>
                  </a:endParaRPr>
                </a:p>
              </p:txBody>
            </p:sp>
            <p:sp>
              <p:nvSpPr>
                <p:cNvPr id="42" name="Freeform 105"/>
                <p:cNvSpPr>
                  <a:spLocks noEditPoints="1"/>
                </p:cNvSpPr>
                <p:nvPr/>
              </p:nvSpPr>
              <p:spPr bwMode="auto">
                <a:xfrm>
                  <a:off x="-2630488" y="2317751"/>
                  <a:ext cx="1343025" cy="1484313"/>
                </a:xfrm>
                <a:custGeom>
                  <a:avLst/>
                  <a:gdLst>
                    <a:gd name="T0" fmla="*/ 586 w 846"/>
                    <a:gd name="T1" fmla="*/ 78 h 935"/>
                    <a:gd name="T2" fmla="*/ 586 w 846"/>
                    <a:gd name="T3" fmla="*/ 111 h 935"/>
                    <a:gd name="T4" fmla="*/ 214 w 846"/>
                    <a:gd name="T5" fmla="*/ 359 h 935"/>
                    <a:gd name="T6" fmla="*/ 0 w 846"/>
                    <a:gd name="T7" fmla="*/ 527 h 935"/>
                    <a:gd name="T8" fmla="*/ 30 w 846"/>
                    <a:gd name="T9" fmla="*/ 921 h 935"/>
                    <a:gd name="T10" fmla="*/ 39 w 846"/>
                    <a:gd name="T11" fmla="*/ 737 h 935"/>
                    <a:gd name="T12" fmla="*/ 117 w 846"/>
                    <a:gd name="T13" fmla="*/ 923 h 935"/>
                    <a:gd name="T14" fmla="*/ 126 w 846"/>
                    <a:gd name="T15" fmla="*/ 732 h 935"/>
                    <a:gd name="T16" fmla="*/ 202 w 846"/>
                    <a:gd name="T17" fmla="*/ 924 h 935"/>
                    <a:gd name="T18" fmla="*/ 211 w 846"/>
                    <a:gd name="T19" fmla="*/ 727 h 935"/>
                    <a:gd name="T20" fmla="*/ 287 w 846"/>
                    <a:gd name="T21" fmla="*/ 926 h 935"/>
                    <a:gd name="T22" fmla="*/ 296 w 846"/>
                    <a:gd name="T23" fmla="*/ 725 h 935"/>
                    <a:gd name="T24" fmla="*/ 374 w 846"/>
                    <a:gd name="T25" fmla="*/ 927 h 935"/>
                    <a:gd name="T26" fmla="*/ 383 w 846"/>
                    <a:gd name="T27" fmla="*/ 719 h 935"/>
                    <a:gd name="T28" fmla="*/ 459 w 846"/>
                    <a:gd name="T29" fmla="*/ 928 h 935"/>
                    <a:gd name="T30" fmla="*/ 468 w 846"/>
                    <a:gd name="T31" fmla="*/ 715 h 935"/>
                    <a:gd name="T32" fmla="*/ 547 w 846"/>
                    <a:gd name="T33" fmla="*/ 931 h 935"/>
                    <a:gd name="T34" fmla="*/ 556 w 846"/>
                    <a:gd name="T35" fmla="*/ 712 h 935"/>
                    <a:gd name="T36" fmla="*/ 846 w 846"/>
                    <a:gd name="T37" fmla="*/ 935 h 935"/>
                    <a:gd name="T38" fmla="*/ 798 w 846"/>
                    <a:gd name="T39" fmla="*/ 0 h 935"/>
                    <a:gd name="T40" fmla="*/ 228 w 846"/>
                    <a:gd name="T41" fmla="*/ 381 h 935"/>
                    <a:gd name="T42" fmla="*/ 548 w 846"/>
                    <a:gd name="T43" fmla="*/ 388 h 935"/>
                    <a:gd name="T44" fmla="*/ 227 w 846"/>
                    <a:gd name="T45" fmla="*/ 470 h 935"/>
                    <a:gd name="T46" fmla="*/ 554 w 846"/>
                    <a:gd name="T47" fmla="*/ 696 h 935"/>
                    <a:gd name="T48" fmla="*/ 29 w 846"/>
                    <a:gd name="T49" fmla="*/ 725 h 935"/>
                    <a:gd name="T50" fmla="*/ 554 w 846"/>
                    <a:gd name="T51" fmla="*/ 626 h 935"/>
                    <a:gd name="T52" fmla="*/ 554 w 846"/>
                    <a:gd name="T53" fmla="*/ 518 h 935"/>
                    <a:gd name="T54" fmla="*/ 29 w 846"/>
                    <a:gd name="T55" fmla="*/ 555 h 935"/>
                    <a:gd name="T56" fmla="*/ 554 w 846"/>
                    <a:gd name="T57" fmla="*/ 518 h 935"/>
                    <a:gd name="T58" fmla="*/ 591 w 846"/>
                    <a:gd name="T59" fmla="*/ 812 h 935"/>
                    <a:gd name="T60" fmla="*/ 591 w 846"/>
                    <a:gd name="T61" fmla="*/ 794 h 935"/>
                    <a:gd name="T62" fmla="*/ 596 w 846"/>
                    <a:gd name="T63" fmla="*/ 277 h 935"/>
                    <a:gd name="T64" fmla="*/ 773 w 846"/>
                    <a:gd name="T65" fmla="*/ 794 h 935"/>
                    <a:gd name="T66" fmla="*/ 608 w 846"/>
                    <a:gd name="T67" fmla="*/ 593 h 935"/>
                    <a:gd name="T68" fmla="*/ 773 w 846"/>
                    <a:gd name="T69" fmla="*/ 557 h 935"/>
                    <a:gd name="T70" fmla="*/ 608 w 846"/>
                    <a:gd name="T71" fmla="*/ 418 h 935"/>
                    <a:gd name="T72" fmla="*/ 773 w 846"/>
                    <a:gd name="T73" fmla="*/ 369 h 935"/>
                    <a:gd name="T74" fmla="*/ 608 w 846"/>
                    <a:gd name="T75" fmla="*/ 255 h 935"/>
                    <a:gd name="T76" fmla="*/ 773 w 846"/>
                    <a:gd name="T77" fmla="*/ 199 h 935"/>
                    <a:gd name="T78" fmla="*/ 608 w 846"/>
                    <a:gd name="T79" fmla="*/ 116 h 935"/>
                    <a:gd name="T80" fmla="*/ 791 w 846"/>
                    <a:gd name="T81" fmla="*/ 38 h 9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846" h="935">
                      <a:moveTo>
                        <a:pt x="798" y="0"/>
                      </a:moveTo>
                      <a:lnTo>
                        <a:pt x="586" y="78"/>
                      </a:lnTo>
                      <a:lnTo>
                        <a:pt x="586" y="111"/>
                      </a:lnTo>
                      <a:lnTo>
                        <a:pt x="586" y="111"/>
                      </a:lnTo>
                      <a:lnTo>
                        <a:pt x="586" y="256"/>
                      </a:lnTo>
                      <a:lnTo>
                        <a:pt x="214" y="359"/>
                      </a:lnTo>
                      <a:lnTo>
                        <a:pt x="214" y="472"/>
                      </a:lnTo>
                      <a:lnTo>
                        <a:pt x="0" y="527"/>
                      </a:lnTo>
                      <a:lnTo>
                        <a:pt x="0" y="921"/>
                      </a:lnTo>
                      <a:lnTo>
                        <a:pt x="30" y="921"/>
                      </a:lnTo>
                      <a:lnTo>
                        <a:pt x="30" y="737"/>
                      </a:lnTo>
                      <a:lnTo>
                        <a:pt x="39" y="737"/>
                      </a:lnTo>
                      <a:lnTo>
                        <a:pt x="39" y="922"/>
                      </a:lnTo>
                      <a:lnTo>
                        <a:pt x="117" y="923"/>
                      </a:lnTo>
                      <a:lnTo>
                        <a:pt x="117" y="732"/>
                      </a:lnTo>
                      <a:lnTo>
                        <a:pt x="126" y="732"/>
                      </a:lnTo>
                      <a:lnTo>
                        <a:pt x="126" y="923"/>
                      </a:lnTo>
                      <a:lnTo>
                        <a:pt x="202" y="924"/>
                      </a:lnTo>
                      <a:lnTo>
                        <a:pt x="202" y="727"/>
                      </a:lnTo>
                      <a:lnTo>
                        <a:pt x="211" y="727"/>
                      </a:lnTo>
                      <a:lnTo>
                        <a:pt x="211" y="924"/>
                      </a:lnTo>
                      <a:lnTo>
                        <a:pt x="287" y="926"/>
                      </a:lnTo>
                      <a:lnTo>
                        <a:pt x="287" y="725"/>
                      </a:lnTo>
                      <a:lnTo>
                        <a:pt x="296" y="725"/>
                      </a:lnTo>
                      <a:lnTo>
                        <a:pt x="296" y="926"/>
                      </a:lnTo>
                      <a:lnTo>
                        <a:pt x="374" y="927"/>
                      </a:lnTo>
                      <a:lnTo>
                        <a:pt x="374" y="719"/>
                      </a:lnTo>
                      <a:lnTo>
                        <a:pt x="383" y="719"/>
                      </a:lnTo>
                      <a:lnTo>
                        <a:pt x="383" y="927"/>
                      </a:lnTo>
                      <a:lnTo>
                        <a:pt x="459" y="928"/>
                      </a:lnTo>
                      <a:lnTo>
                        <a:pt x="459" y="715"/>
                      </a:lnTo>
                      <a:lnTo>
                        <a:pt x="468" y="715"/>
                      </a:lnTo>
                      <a:lnTo>
                        <a:pt x="468" y="928"/>
                      </a:lnTo>
                      <a:lnTo>
                        <a:pt x="547" y="931"/>
                      </a:lnTo>
                      <a:lnTo>
                        <a:pt x="547" y="712"/>
                      </a:lnTo>
                      <a:lnTo>
                        <a:pt x="556" y="712"/>
                      </a:lnTo>
                      <a:lnTo>
                        <a:pt x="556" y="931"/>
                      </a:lnTo>
                      <a:lnTo>
                        <a:pt x="846" y="935"/>
                      </a:lnTo>
                      <a:lnTo>
                        <a:pt x="846" y="38"/>
                      </a:lnTo>
                      <a:lnTo>
                        <a:pt x="798" y="0"/>
                      </a:lnTo>
                      <a:close/>
                      <a:moveTo>
                        <a:pt x="227" y="381"/>
                      </a:moveTo>
                      <a:lnTo>
                        <a:pt x="228" y="381"/>
                      </a:lnTo>
                      <a:lnTo>
                        <a:pt x="232" y="464"/>
                      </a:lnTo>
                      <a:lnTo>
                        <a:pt x="548" y="388"/>
                      </a:lnTo>
                      <a:lnTo>
                        <a:pt x="549" y="393"/>
                      </a:lnTo>
                      <a:lnTo>
                        <a:pt x="227" y="470"/>
                      </a:lnTo>
                      <a:lnTo>
                        <a:pt x="227" y="381"/>
                      </a:lnTo>
                      <a:close/>
                      <a:moveTo>
                        <a:pt x="554" y="696"/>
                      </a:moveTo>
                      <a:lnTo>
                        <a:pt x="549" y="696"/>
                      </a:lnTo>
                      <a:lnTo>
                        <a:pt x="29" y="725"/>
                      </a:lnTo>
                      <a:lnTo>
                        <a:pt x="29" y="689"/>
                      </a:lnTo>
                      <a:lnTo>
                        <a:pt x="554" y="626"/>
                      </a:lnTo>
                      <a:lnTo>
                        <a:pt x="554" y="696"/>
                      </a:lnTo>
                      <a:close/>
                      <a:moveTo>
                        <a:pt x="554" y="518"/>
                      </a:moveTo>
                      <a:lnTo>
                        <a:pt x="29" y="590"/>
                      </a:lnTo>
                      <a:lnTo>
                        <a:pt x="29" y="555"/>
                      </a:lnTo>
                      <a:lnTo>
                        <a:pt x="554" y="441"/>
                      </a:lnTo>
                      <a:lnTo>
                        <a:pt x="554" y="518"/>
                      </a:lnTo>
                      <a:close/>
                      <a:moveTo>
                        <a:pt x="791" y="812"/>
                      </a:moveTo>
                      <a:lnTo>
                        <a:pt x="591" y="812"/>
                      </a:lnTo>
                      <a:lnTo>
                        <a:pt x="591" y="794"/>
                      </a:lnTo>
                      <a:lnTo>
                        <a:pt x="591" y="794"/>
                      </a:lnTo>
                      <a:lnTo>
                        <a:pt x="591" y="277"/>
                      </a:lnTo>
                      <a:lnTo>
                        <a:pt x="596" y="277"/>
                      </a:lnTo>
                      <a:lnTo>
                        <a:pt x="596" y="794"/>
                      </a:lnTo>
                      <a:lnTo>
                        <a:pt x="773" y="794"/>
                      </a:lnTo>
                      <a:lnTo>
                        <a:pt x="773" y="575"/>
                      </a:lnTo>
                      <a:lnTo>
                        <a:pt x="608" y="593"/>
                      </a:lnTo>
                      <a:lnTo>
                        <a:pt x="608" y="575"/>
                      </a:lnTo>
                      <a:lnTo>
                        <a:pt x="773" y="557"/>
                      </a:lnTo>
                      <a:lnTo>
                        <a:pt x="773" y="386"/>
                      </a:lnTo>
                      <a:lnTo>
                        <a:pt x="608" y="418"/>
                      </a:lnTo>
                      <a:lnTo>
                        <a:pt x="608" y="399"/>
                      </a:lnTo>
                      <a:lnTo>
                        <a:pt x="773" y="369"/>
                      </a:lnTo>
                      <a:lnTo>
                        <a:pt x="773" y="218"/>
                      </a:lnTo>
                      <a:lnTo>
                        <a:pt x="608" y="255"/>
                      </a:lnTo>
                      <a:lnTo>
                        <a:pt x="608" y="237"/>
                      </a:lnTo>
                      <a:lnTo>
                        <a:pt x="773" y="199"/>
                      </a:lnTo>
                      <a:lnTo>
                        <a:pt x="773" y="62"/>
                      </a:lnTo>
                      <a:lnTo>
                        <a:pt x="608" y="116"/>
                      </a:lnTo>
                      <a:lnTo>
                        <a:pt x="608" y="96"/>
                      </a:lnTo>
                      <a:lnTo>
                        <a:pt x="791" y="38"/>
                      </a:lnTo>
                      <a:lnTo>
                        <a:pt x="791" y="812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685165">
                    <a:defRPr/>
                  </a:pPr>
                  <a:endParaRPr lang="en-US" sz="1400" kern="0" smtClean="0">
                    <a:solidFill>
                      <a:srgbClr val="FFFFFF"/>
                    </a:solidFill>
                    <a:latin typeface="Segoe UI" panose="020B0502040204020203"/>
                  </a:endParaRPr>
                </a:p>
              </p:txBody>
            </p:sp>
            <p:sp>
              <p:nvSpPr>
                <p:cNvPr id="43" name="Freeform 106"/>
                <p:cNvSpPr/>
                <p:nvPr/>
              </p:nvSpPr>
              <p:spPr bwMode="auto">
                <a:xfrm>
                  <a:off x="-2466975" y="2806701"/>
                  <a:ext cx="109537" cy="234950"/>
                </a:xfrm>
                <a:custGeom>
                  <a:avLst/>
                  <a:gdLst>
                    <a:gd name="T0" fmla="*/ 69 w 69"/>
                    <a:gd name="T1" fmla="*/ 0 h 148"/>
                    <a:gd name="T2" fmla="*/ 0 w 69"/>
                    <a:gd name="T3" fmla="*/ 24 h 148"/>
                    <a:gd name="T4" fmla="*/ 0 w 69"/>
                    <a:gd name="T5" fmla="*/ 148 h 148"/>
                    <a:gd name="T6" fmla="*/ 69 w 69"/>
                    <a:gd name="T7" fmla="*/ 131 h 148"/>
                    <a:gd name="T8" fmla="*/ 69 w 69"/>
                    <a:gd name="T9" fmla="*/ 0 h 1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9" h="148">
                      <a:moveTo>
                        <a:pt x="69" y="0"/>
                      </a:moveTo>
                      <a:lnTo>
                        <a:pt x="0" y="24"/>
                      </a:lnTo>
                      <a:lnTo>
                        <a:pt x="0" y="148"/>
                      </a:lnTo>
                      <a:lnTo>
                        <a:pt x="69" y="131"/>
                      </a:lnTo>
                      <a:lnTo>
                        <a:pt x="69" y="0"/>
                      </a:lnTo>
                      <a:close/>
                    </a:path>
                  </a:pathLst>
                </a:custGeom>
                <a:solidFill>
                  <a:srgbClr val="94C94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685165">
                    <a:defRPr/>
                  </a:pPr>
                  <a:endParaRPr lang="en-US" sz="1400" kern="0" smtClean="0">
                    <a:solidFill>
                      <a:srgbClr val="FFFFFF"/>
                    </a:solidFill>
                    <a:latin typeface="Segoe UI" panose="020B0502040204020203"/>
                  </a:endParaRPr>
                </a:p>
              </p:txBody>
            </p:sp>
            <p:sp>
              <p:nvSpPr>
                <p:cNvPr id="44" name="Freeform 107"/>
                <p:cNvSpPr>
                  <a:spLocks noEditPoints="1"/>
                </p:cNvSpPr>
                <p:nvPr/>
              </p:nvSpPr>
              <p:spPr bwMode="auto">
                <a:xfrm>
                  <a:off x="-2627313" y="2527301"/>
                  <a:ext cx="906462" cy="592138"/>
                </a:xfrm>
                <a:custGeom>
                  <a:avLst/>
                  <a:gdLst>
                    <a:gd name="T0" fmla="*/ 219 w 571"/>
                    <a:gd name="T1" fmla="*/ 102 h 373"/>
                    <a:gd name="T2" fmla="*/ 219 w 571"/>
                    <a:gd name="T3" fmla="*/ 132 h 373"/>
                    <a:gd name="T4" fmla="*/ 72 w 571"/>
                    <a:gd name="T5" fmla="*/ 184 h 373"/>
                    <a:gd name="T6" fmla="*/ 72 w 571"/>
                    <a:gd name="T7" fmla="*/ 256 h 373"/>
                    <a:gd name="T8" fmla="*/ 0 w 571"/>
                    <a:gd name="T9" fmla="*/ 273 h 373"/>
                    <a:gd name="T10" fmla="*/ 0 w 571"/>
                    <a:gd name="T11" fmla="*/ 308 h 373"/>
                    <a:gd name="T12" fmla="*/ 32 w 571"/>
                    <a:gd name="T13" fmla="*/ 308 h 373"/>
                    <a:gd name="T14" fmla="*/ 32 w 571"/>
                    <a:gd name="T15" fmla="*/ 373 h 373"/>
                    <a:gd name="T16" fmla="*/ 199 w 571"/>
                    <a:gd name="T17" fmla="*/ 330 h 373"/>
                    <a:gd name="T18" fmla="*/ 199 w 571"/>
                    <a:gd name="T19" fmla="*/ 217 h 373"/>
                    <a:gd name="T20" fmla="*/ 571 w 571"/>
                    <a:gd name="T21" fmla="*/ 113 h 373"/>
                    <a:gd name="T22" fmla="*/ 571 w 571"/>
                    <a:gd name="T23" fmla="*/ 0 h 373"/>
                    <a:gd name="T24" fmla="*/ 219 w 571"/>
                    <a:gd name="T25" fmla="*/ 102 h 373"/>
                    <a:gd name="T26" fmla="*/ 179 w 571"/>
                    <a:gd name="T27" fmla="*/ 314 h 373"/>
                    <a:gd name="T28" fmla="*/ 92 w 571"/>
                    <a:gd name="T29" fmla="*/ 335 h 373"/>
                    <a:gd name="T30" fmla="*/ 92 w 571"/>
                    <a:gd name="T31" fmla="*/ 195 h 373"/>
                    <a:gd name="T32" fmla="*/ 179 w 571"/>
                    <a:gd name="T33" fmla="*/ 164 h 373"/>
                    <a:gd name="T34" fmla="*/ 179 w 571"/>
                    <a:gd name="T35" fmla="*/ 314 h 3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571" h="373">
                      <a:moveTo>
                        <a:pt x="219" y="102"/>
                      </a:moveTo>
                      <a:lnTo>
                        <a:pt x="219" y="132"/>
                      </a:lnTo>
                      <a:lnTo>
                        <a:pt x="72" y="184"/>
                      </a:lnTo>
                      <a:lnTo>
                        <a:pt x="72" y="256"/>
                      </a:lnTo>
                      <a:lnTo>
                        <a:pt x="0" y="273"/>
                      </a:lnTo>
                      <a:lnTo>
                        <a:pt x="0" y="308"/>
                      </a:lnTo>
                      <a:lnTo>
                        <a:pt x="32" y="308"/>
                      </a:lnTo>
                      <a:lnTo>
                        <a:pt x="32" y="373"/>
                      </a:lnTo>
                      <a:lnTo>
                        <a:pt x="199" y="330"/>
                      </a:lnTo>
                      <a:lnTo>
                        <a:pt x="199" y="217"/>
                      </a:lnTo>
                      <a:lnTo>
                        <a:pt x="571" y="113"/>
                      </a:lnTo>
                      <a:lnTo>
                        <a:pt x="571" y="0"/>
                      </a:lnTo>
                      <a:lnTo>
                        <a:pt x="219" y="102"/>
                      </a:lnTo>
                      <a:close/>
                      <a:moveTo>
                        <a:pt x="179" y="314"/>
                      </a:moveTo>
                      <a:lnTo>
                        <a:pt x="92" y="335"/>
                      </a:lnTo>
                      <a:lnTo>
                        <a:pt x="92" y="195"/>
                      </a:lnTo>
                      <a:lnTo>
                        <a:pt x="179" y="164"/>
                      </a:lnTo>
                      <a:lnTo>
                        <a:pt x="179" y="31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685165">
                    <a:defRPr/>
                  </a:pPr>
                  <a:endParaRPr lang="en-US" sz="1400" kern="0" smtClean="0">
                    <a:solidFill>
                      <a:srgbClr val="FFFFFF"/>
                    </a:solidFill>
                    <a:latin typeface="Segoe UI" panose="020B0502040204020203"/>
                  </a:endParaRPr>
                </a:p>
              </p:txBody>
            </p:sp>
            <p:sp>
              <p:nvSpPr>
                <p:cNvPr id="45" name="Freeform 108"/>
                <p:cNvSpPr>
                  <a:spLocks noEditPoints="1"/>
                </p:cNvSpPr>
                <p:nvPr/>
              </p:nvSpPr>
              <p:spPr bwMode="auto">
                <a:xfrm>
                  <a:off x="-1273175" y="2244726"/>
                  <a:ext cx="596900" cy="1555750"/>
                </a:xfrm>
                <a:custGeom>
                  <a:avLst/>
                  <a:gdLst>
                    <a:gd name="T0" fmla="*/ 296 w 341"/>
                    <a:gd name="T1" fmla="*/ 336 h 889"/>
                    <a:gd name="T2" fmla="*/ 296 w 341"/>
                    <a:gd name="T3" fmla="*/ 285 h 889"/>
                    <a:gd name="T4" fmla="*/ 181 w 341"/>
                    <a:gd name="T5" fmla="*/ 178 h 889"/>
                    <a:gd name="T6" fmla="*/ 140 w 341"/>
                    <a:gd name="T7" fmla="*/ 182 h 889"/>
                    <a:gd name="T8" fmla="*/ 24 w 341"/>
                    <a:gd name="T9" fmla="*/ 0 h 889"/>
                    <a:gd name="T10" fmla="*/ 0 w 341"/>
                    <a:gd name="T11" fmla="*/ 38 h 889"/>
                    <a:gd name="T12" fmla="*/ 0 w 341"/>
                    <a:gd name="T13" fmla="*/ 889 h 889"/>
                    <a:gd name="T14" fmla="*/ 51 w 341"/>
                    <a:gd name="T15" fmla="*/ 872 h 889"/>
                    <a:gd name="T16" fmla="*/ 51 w 341"/>
                    <a:gd name="T17" fmla="*/ 206 h 889"/>
                    <a:gd name="T18" fmla="*/ 135 w 341"/>
                    <a:gd name="T19" fmla="*/ 186 h 889"/>
                    <a:gd name="T20" fmla="*/ 135 w 341"/>
                    <a:gd name="T21" fmla="*/ 194 h 889"/>
                    <a:gd name="T22" fmla="*/ 59 w 341"/>
                    <a:gd name="T23" fmla="*/ 212 h 889"/>
                    <a:gd name="T24" fmla="*/ 59 w 341"/>
                    <a:gd name="T25" fmla="*/ 872 h 889"/>
                    <a:gd name="T26" fmla="*/ 80 w 341"/>
                    <a:gd name="T27" fmla="*/ 874 h 889"/>
                    <a:gd name="T28" fmla="*/ 80 w 341"/>
                    <a:gd name="T29" fmla="*/ 232 h 889"/>
                    <a:gd name="T30" fmla="*/ 84 w 341"/>
                    <a:gd name="T31" fmla="*/ 232 h 889"/>
                    <a:gd name="T32" fmla="*/ 84 w 341"/>
                    <a:gd name="T33" fmla="*/ 874 h 889"/>
                    <a:gd name="T34" fmla="*/ 108 w 341"/>
                    <a:gd name="T35" fmla="*/ 876 h 889"/>
                    <a:gd name="T36" fmla="*/ 108 w 341"/>
                    <a:gd name="T37" fmla="*/ 228 h 889"/>
                    <a:gd name="T38" fmla="*/ 112 w 341"/>
                    <a:gd name="T39" fmla="*/ 228 h 889"/>
                    <a:gd name="T40" fmla="*/ 112 w 341"/>
                    <a:gd name="T41" fmla="*/ 877 h 889"/>
                    <a:gd name="T42" fmla="*/ 135 w 341"/>
                    <a:gd name="T43" fmla="*/ 878 h 889"/>
                    <a:gd name="T44" fmla="*/ 135 w 341"/>
                    <a:gd name="T45" fmla="*/ 224 h 889"/>
                    <a:gd name="T46" fmla="*/ 139 w 341"/>
                    <a:gd name="T47" fmla="*/ 224 h 889"/>
                    <a:gd name="T48" fmla="*/ 139 w 341"/>
                    <a:gd name="T49" fmla="*/ 879 h 889"/>
                    <a:gd name="T50" fmla="*/ 161 w 341"/>
                    <a:gd name="T51" fmla="*/ 881 h 889"/>
                    <a:gd name="T52" fmla="*/ 161 w 341"/>
                    <a:gd name="T53" fmla="*/ 220 h 889"/>
                    <a:gd name="T54" fmla="*/ 165 w 341"/>
                    <a:gd name="T55" fmla="*/ 220 h 889"/>
                    <a:gd name="T56" fmla="*/ 165 w 341"/>
                    <a:gd name="T57" fmla="*/ 881 h 889"/>
                    <a:gd name="T58" fmla="*/ 181 w 341"/>
                    <a:gd name="T59" fmla="*/ 882 h 889"/>
                    <a:gd name="T60" fmla="*/ 341 w 341"/>
                    <a:gd name="T61" fmla="*/ 869 h 889"/>
                    <a:gd name="T62" fmla="*/ 341 w 341"/>
                    <a:gd name="T63" fmla="*/ 378 h 889"/>
                    <a:gd name="T64" fmla="*/ 296 w 341"/>
                    <a:gd name="T65" fmla="*/ 336 h 889"/>
                    <a:gd name="T66" fmla="*/ 284 w 341"/>
                    <a:gd name="T67" fmla="*/ 305 h 889"/>
                    <a:gd name="T68" fmla="*/ 200 w 341"/>
                    <a:gd name="T69" fmla="*/ 227 h 889"/>
                    <a:gd name="T70" fmla="*/ 200 w 341"/>
                    <a:gd name="T71" fmla="*/ 864 h 889"/>
                    <a:gd name="T72" fmla="*/ 192 w 341"/>
                    <a:gd name="T73" fmla="*/ 864 h 889"/>
                    <a:gd name="T74" fmla="*/ 192 w 341"/>
                    <a:gd name="T75" fmla="*/ 209 h 889"/>
                    <a:gd name="T76" fmla="*/ 283 w 341"/>
                    <a:gd name="T77" fmla="*/ 294 h 889"/>
                    <a:gd name="T78" fmla="*/ 284 w 341"/>
                    <a:gd name="T79" fmla="*/ 305 h 8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341" h="889">
                      <a:moveTo>
                        <a:pt x="296" y="336"/>
                      </a:moveTo>
                      <a:cubicBezTo>
                        <a:pt x="296" y="285"/>
                        <a:pt x="296" y="285"/>
                        <a:pt x="296" y="285"/>
                      </a:cubicBezTo>
                      <a:cubicBezTo>
                        <a:pt x="181" y="178"/>
                        <a:pt x="181" y="178"/>
                        <a:pt x="181" y="178"/>
                      </a:cubicBezTo>
                      <a:cubicBezTo>
                        <a:pt x="140" y="182"/>
                        <a:pt x="140" y="182"/>
                        <a:pt x="140" y="182"/>
                      </a:cubicBezTo>
                      <a:cubicBezTo>
                        <a:pt x="157" y="56"/>
                        <a:pt x="24" y="0"/>
                        <a:pt x="24" y="0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889"/>
                        <a:pt x="0" y="889"/>
                        <a:pt x="0" y="889"/>
                      </a:cubicBezTo>
                      <a:cubicBezTo>
                        <a:pt x="51" y="872"/>
                        <a:pt x="51" y="872"/>
                        <a:pt x="51" y="872"/>
                      </a:cubicBezTo>
                      <a:cubicBezTo>
                        <a:pt x="51" y="206"/>
                        <a:pt x="51" y="206"/>
                        <a:pt x="51" y="206"/>
                      </a:cubicBezTo>
                      <a:cubicBezTo>
                        <a:pt x="135" y="186"/>
                        <a:pt x="135" y="186"/>
                        <a:pt x="135" y="186"/>
                      </a:cubicBezTo>
                      <a:cubicBezTo>
                        <a:pt x="135" y="194"/>
                        <a:pt x="135" y="194"/>
                        <a:pt x="135" y="194"/>
                      </a:cubicBezTo>
                      <a:cubicBezTo>
                        <a:pt x="59" y="212"/>
                        <a:pt x="59" y="212"/>
                        <a:pt x="59" y="212"/>
                      </a:cubicBezTo>
                      <a:cubicBezTo>
                        <a:pt x="59" y="872"/>
                        <a:pt x="59" y="872"/>
                        <a:pt x="59" y="872"/>
                      </a:cubicBezTo>
                      <a:cubicBezTo>
                        <a:pt x="80" y="874"/>
                        <a:pt x="80" y="874"/>
                        <a:pt x="80" y="874"/>
                      </a:cubicBezTo>
                      <a:cubicBezTo>
                        <a:pt x="80" y="232"/>
                        <a:pt x="80" y="232"/>
                        <a:pt x="80" y="232"/>
                      </a:cubicBezTo>
                      <a:cubicBezTo>
                        <a:pt x="84" y="232"/>
                        <a:pt x="84" y="232"/>
                        <a:pt x="84" y="232"/>
                      </a:cubicBezTo>
                      <a:cubicBezTo>
                        <a:pt x="84" y="874"/>
                        <a:pt x="84" y="874"/>
                        <a:pt x="84" y="874"/>
                      </a:cubicBezTo>
                      <a:cubicBezTo>
                        <a:pt x="108" y="876"/>
                        <a:pt x="108" y="876"/>
                        <a:pt x="108" y="876"/>
                      </a:cubicBezTo>
                      <a:cubicBezTo>
                        <a:pt x="108" y="228"/>
                        <a:pt x="108" y="228"/>
                        <a:pt x="108" y="228"/>
                      </a:cubicBezTo>
                      <a:cubicBezTo>
                        <a:pt x="112" y="228"/>
                        <a:pt x="112" y="228"/>
                        <a:pt x="112" y="228"/>
                      </a:cubicBezTo>
                      <a:cubicBezTo>
                        <a:pt x="112" y="877"/>
                        <a:pt x="112" y="877"/>
                        <a:pt x="112" y="877"/>
                      </a:cubicBezTo>
                      <a:cubicBezTo>
                        <a:pt x="135" y="878"/>
                        <a:pt x="135" y="878"/>
                        <a:pt x="135" y="878"/>
                      </a:cubicBezTo>
                      <a:cubicBezTo>
                        <a:pt x="135" y="224"/>
                        <a:pt x="135" y="224"/>
                        <a:pt x="135" y="224"/>
                      </a:cubicBezTo>
                      <a:cubicBezTo>
                        <a:pt x="139" y="224"/>
                        <a:pt x="139" y="224"/>
                        <a:pt x="139" y="224"/>
                      </a:cubicBezTo>
                      <a:cubicBezTo>
                        <a:pt x="139" y="879"/>
                        <a:pt x="139" y="879"/>
                        <a:pt x="139" y="879"/>
                      </a:cubicBezTo>
                      <a:cubicBezTo>
                        <a:pt x="161" y="881"/>
                        <a:pt x="161" y="881"/>
                        <a:pt x="161" y="881"/>
                      </a:cubicBezTo>
                      <a:cubicBezTo>
                        <a:pt x="161" y="220"/>
                        <a:pt x="161" y="220"/>
                        <a:pt x="161" y="220"/>
                      </a:cubicBezTo>
                      <a:cubicBezTo>
                        <a:pt x="165" y="220"/>
                        <a:pt x="165" y="220"/>
                        <a:pt x="165" y="220"/>
                      </a:cubicBezTo>
                      <a:cubicBezTo>
                        <a:pt x="165" y="881"/>
                        <a:pt x="165" y="881"/>
                        <a:pt x="165" y="881"/>
                      </a:cubicBezTo>
                      <a:cubicBezTo>
                        <a:pt x="181" y="882"/>
                        <a:pt x="181" y="882"/>
                        <a:pt x="181" y="882"/>
                      </a:cubicBezTo>
                      <a:cubicBezTo>
                        <a:pt x="341" y="869"/>
                        <a:pt x="341" y="869"/>
                        <a:pt x="341" y="869"/>
                      </a:cubicBezTo>
                      <a:cubicBezTo>
                        <a:pt x="341" y="378"/>
                        <a:pt x="341" y="378"/>
                        <a:pt x="341" y="378"/>
                      </a:cubicBezTo>
                      <a:lnTo>
                        <a:pt x="296" y="336"/>
                      </a:lnTo>
                      <a:close/>
                      <a:moveTo>
                        <a:pt x="284" y="305"/>
                      </a:moveTo>
                      <a:cubicBezTo>
                        <a:pt x="200" y="227"/>
                        <a:pt x="200" y="227"/>
                        <a:pt x="200" y="227"/>
                      </a:cubicBezTo>
                      <a:cubicBezTo>
                        <a:pt x="200" y="864"/>
                        <a:pt x="200" y="864"/>
                        <a:pt x="200" y="864"/>
                      </a:cubicBezTo>
                      <a:cubicBezTo>
                        <a:pt x="192" y="864"/>
                        <a:pt x="192" y="864"/>
                        <a:pt x="192" y="864"/>
                      </a:cubicBezTo>
                      <a:cubicBezTo>
                        <a:pt x="192" y="209"/>
                        <a:pt x="192" y="209"/>
                        <a:pt x="192" y="209"/>
                      </a:cubicBezTo>
                      <a:cubicBezTo>
                        <a:pt x="283" y="294"/>
                        <a:pt x="283" y="294"/>
                        <a:pt x="283" y="294"/>
                      </a:cubicBezTo>
                      <a:lnTo>
                        <a:pt x="284" y="30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685165">
                    <a:defRPr/>
                  </a:pPr>
                  <a:endParaRPr lang="en-US" sz="1400" kern="0" smtClean="0">
                    <a:solidFill>
                      <a:srgbClr val="FFFFFF"/>
                    </a:solidFill>
                    <a:latin typeface="Segoe UI" panose="020B0502040204020203"/>
                  </a:endParaRPr>
                </a:p>
              </p:txBody>
            </p:sp>
          </p:grpSp>
        </p:grpSp>
        <p:grpSp>
          <p:nvGrpSpPr>
            <p:cNvPr id="18" name="组合 17"/>
            <p:cNvGrpSpPr/>
            <p:nvPr/>
          </p:nvGrpSpPr>
          <p:grpSpPr>
            <a:xfrm>
              <a:off x="2482670" y="984161"/>
              <a:ext cx="2016777" cy="1303020"/>
              <a:chOff x="2482670" y="984161"/>
              <a:chExt cx="2016777" cy="1303020"/>
            </a:xfrm>
          </p:grpSpPr>
          <p:sp>
            <p:nvSpPr>
              <p:cNvPr id="30" name="Rectangle 6"/>
              <p:cNvSpPr>
                <a:spLocks noChangeAspect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2482670" y="984161"/>
                <a:ext cx="2016777" cy="1303020"/>
              </a:xfrm>
              <a:prstGeom prst="rect">
                <a:avLst/>
              </a:prstGeom>
              <a:solidFill>
                <a:srgbClr val="FFCF00"/>
              </a:solidFill>
              <a:ln w="9525">
                <a:solidFill>
                  <a:srgbClr val="FFFFFF">
                    <a:alpha val="50000"/>
                  </a:srgbClr>
                </a:solidFill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rgbClr val="8E499C">
                    <a:satMod val="300000"/>
                  </a:srgbClr>
                </a:contourClr>
              </a:sp3d>
            </p:spPr>
            <p:txBody>
              <a:bodyPr vert="horz" wrap="square" lIns="121893" tIns="60947" rIns="121893" bIns="60947" numCol="1" rtlCol="0" anchor="b" anchorCtr="0" compatLnSpc="1">
                <a:noAutofit/>
              </a:bodyPr>
              <a:lstStyle/>
              <a:p>
                <a:pPr defTabSz="913765" fontAlgn="base">
                  <a:lnSpc>
                    <a:spcPct val="90000"/>
                  </a:lnSpc>
                  <a:spcBef>
                    <a:spcPts val="630"/>
                  </a:spcBef>
                  <a:spcAft>
                    <a:spcPct val="0"/>
                  </a:spcAft>
                  <a:buClr>
                    <a:srgbClr val="FFFF99"/>
                  </a:buClr>
                  <a:buSzPct val="120000"/>
                  <a:defRPr/>
                </a:pPr>
                <a:r>
                  <a:rPr lang="zh-CN" altLang="en-US" sz="1600" b="1" kern="0" dirty="0">
                    <a:solidFill>
                      <a:srgbClr val="FFFFFF">
                        <a:alpha val="99000"/>
                      </a:srgb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点击添加标题</a:t>
                </a:r>
                <a:endParaRPr lang="en-US" altLang="zh-CN" sz="1600" b="1" kern="0" dirty="0">
                  <a:solidFill>
                    <a:srgbClr val="FFFFFF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31" name="Group 30"/>
              <p:cNvGrpSpPr/>
              <p:nvPr/>
            </p:nvGrpSpPr>
            <p:grpSpPr bwMode="black">
              <a:xfrm>
                <a:off x="2705746" y="1102221"/>
                <a:ext cx="295613" cy="626731"/>
                <a:chOff x="8920162" y="3943878"/>
                <a:chExt cx="419101" cy="889001"/>
              </a:xfrm>
              <a:solidFill>
                <a:srgbClr val="FFFFFF"/>
              </a:solidFill>
            </p:grpSpPr>
            <p:sp>
              <p:nvSpPr>
                <p:cNvPr id="32" name="Oval 16"/>
                <p:cNvSpPr>
                  <a:spLocks noChangeArrowheads="1"/>
                </p:cNvSpPr>
                <p:nvPr/>
              </p:nvSpPr>
              <p:spPr bwMode="black">
                <a:xfrm>
                  <a:off x="9148762" y="3943878"/>
                  <a:ext cx="149225" cy="14605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913765">
                    <a:defRPr/>
                  </a:pPr>
                  <a:endParaRPr lang="en-US" kern="0" smtClean="0">
                    <a:solidFill>
                      <a:srgbClr val="292929"/>
                    </a:solidFill>
                    <a:latin typeface="Segoe UI" panose="020B0502040204020203"/>
                  </a:endParaRPr>
                </a:p>
              </p:txBody>
            </p:sp>
            <p:sp>
              <p:nvSpPr>
                <p:cNvPr id="33" name="Freeform 17"/>
                <p:cNvSpPr/>
                <p:nvPr/>
              </p:nvSpPr>
              <p:spPr bwMode="black">
                <a:xfrm>
                  <a:off x="9017000" y="4123266"/>
                  <a:ext cx="322263" cy="709613"/>
                </a:xfrm>
                <a:custGeom>
                  <a:avLst/>
                  <a:gdLst>
                    <a:gd name="T0" fmla="*/ 76 w 86"/>
                    <a:gd name="T1" fmla="*/ 0 h 189"/>
                    <a:gd name="T2" fmla="*/ 80 w 86"/>
                    <a:gd name="T3" fmla="*/ 3 h 189"/>
                    <a:gd name="T4" fmla="*/ 83 w 86"/>
                    <a:gd name="T5" fmla="*/ 11 h 189"/>
                    <a:gd name="T6" fmla="*/ 78 w 86"/>
                    <a:gd name="T7" fmla="*/ 21 h 189"/>
                    <a:gd name="T8" fmla="*/ 44 w 86"/>
                    <a:gd name="T9" fmla="*/ 47 h 189"/>
                    <a:gd name="T10" fmla="*/ 39 w 86"/>
                    <a:gd name="T11" fmla="*/ 50 h 189"/>
                    <a:gd name="T12" fmla="*/ 39 w 86"/>
                    <a:gd name="T13" fmla="*/ 81 h 189"/>
                    <a:gd name="T14" fmla="*/ 2 w 86"/>
                    <a:gd name="T15" fmla="*/ 173 h 189"/>
                    <a:gd name="T16" fmla="*/ 9 w 86"/>
                    <a:gd name="T17" fmla="*/ 188 h 189"/>
                    <a:gd name="T18" fmla="*/ 13 w 86"/>
                    <a:gd name="T19" fmla="*/ 189 h 189"/>
                    <a:gd name="T20" fmla="*/ 24 w 86"/>
                    <a:gd name="T21" fmla="*/ 181 h 189"/>
                    <a:gd name="T22" fmla="*/ 63 w 86"/>
                    <a:gd name="T23" fmla="*/ 83 h 189"/>
                    <a:gd name="T24" fmla="*/ 63 w 86"/>
                    <a:gd name="T25" fmla="*/ 177 h 189"/>
                    <a:gd name="T26" fmla="*/ 74 w 86"/>
                    <a:gd name="T27" fmla="*/ 189 h 189"/>
                    <a:gd name="T28" fmla="*/ 86 w 86"/>
                    <a:gd name="T29" fmla="*/ 177 h 189"/>
                    <a:gd name="T30" fmla="*/ 86 w 86"/>
                    <a:gd name="T31" fmla="*/ 72 h 189"/>
                    <a:gd name="T32" fmla="*/ 86 w 86"/>
                    <a:gd name="T33" fmla="*/ 17 h 189"/>
                    <a:gd name="T34" fmla="*/ 76 w 86"/>
                    <a:gd name="T35" fmla="*/ 0 h 1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86" h="189">
                      <a:moveTo>
                        <a:pt x="76" y="0"/>
                      </a:moveTo>
                      <a:cubicBezTo>
                        <a:pt x="78" y="1"/>
                        <a:pt x="79" y="2"/>
                        <a:pt x="80" y="3"/>
                      </a:cubicBezTo>
                      <a:cubicBezTo>
                        <a:pt x="82" y="6"/>
                        <a:pt x="83" y="8"/>
                        <a:pt x="83" y="11"/>
                      </a:cubicBezTo>
                      <a:cubicBezTo>
                        <a:pt x="83" y="15"/>
                        <a:pt x="81" y="18"/>
                        <a:pt x="78" y="21"/>
                      </a:cubicBezTo>
                      <a:cubicBezTo>
                        <a:pt x="44" y="47"/>
                        <a:pt x="44" y="47"/>
                        <a:pt x="44" y="47"/>
                      </a:cubicBezTo>
                      <a:cubicBezTo>
                        <a:pt x="42" y="49"/>
                        <a:pt x="40" y="49"/>
                        <a:pt x="39" y="50"/>
                      </a:cubicBezTo>
                      <a:cubicBezTo>
                        <a:pt x="39" y="81"/>
                        <a:pt x="39" y="81"/>
                        <a:pt x="39" y="81"/>
                      </a:cubicBezTo>
                      <a:cubicBezTo>
                        <a:pt x="2" y="173"/>
                        <a:pt x="2" y="173"/>
                        <a:pt x="2" y="173"/>
                      </a:cubicBezTo>
                      <a:cubicBezTo>
                        <a:pt x="0" y="179"/>
                        <a:pt x="3" y="186"/>
                        <a:pt x="9" y="188"/>
                      </a:cubicBezTo>
                      <a:cubicBezTo>
                        <a:pt x="10" y="189"/>
                        <a:pt x="12" y="189"/>
                        <a:pt x="13" y="189"/>
                      </a:cubicBezTo>
                      <a:cubicBezTo>
                        <a:pt x="18" y="189"/>
                        <a:pt x="22" y="186"/>
                        <a:pt x="24" y="181"/>
                      </a:cubicBezTo>
                      <a:cubicBezTo>
                        <a:pt x="63" y="83"/>
                        <a:pt x="63" y="83"/>
                        <a:pt x="63" y="83"/>
                      </a:cubicBezTo>
                      <a:cubicBezTo>
                        <a:pt x="63" y="177"/>
                        <a:pt x="63" y="177"/>
                        <a:pt x="63" y="177"/>
                      </a:cubicBezTo>
                      <a:cubicBezTo>
                        <a:pt x="63" y="184"/>
                        <a:pt x="68" y="189"/>
                        <a:pt x="74" y="189"/>
                      </a:cubicBezTo>
                      <a:cubicBezTo>
                        <a:pt x="81" y="189"/>
                        <a:pt x="86" y="184"/>
                        <a:pt x="86" y="177"/>
                      </a:cubicBezTo>
                      <a:cubicBezTo>
                        <a:pt x="86" y="72"/>
                        <a:pt x="86" y="72"/>
                        <a:pt x="86" y="72"/>
                      </a:cubicBezTo>
                      <a:cubicBezTo>
                        <a:pt x="86" y="17"/>
                        <a:pt x="86" y="17"/>
                        <a:pt x="86" y="17"/>
                      </a:cubicBezTo>
                      <a:cubicBezTo>
                        <a:pt x="86" y="8"/>
                        <a:pt x="83" y="2"/>
                        <a:pt x="7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913765">
                    <a:defRPr/>
                  </a:pPr>
                  <a:endParaRPr lang="en-US" kern="0" smtClean="0">
                    <a:solidFill>
                      <a:srgbClr val="292929"/>
                    </a:solidFill>
                    <a:latin typeface="Segoe UI" panose="020B0502040204020203"/>
                  </a:endParaRPr>
                </a:p>
              </p:txBody>
            </p:sp>
            <p:sp>
              <p:nvSpPr>
                <p:cNvPr id="34" name="Freeform 18"/>
                <p:cNvSpPr/>
                <p:nvPr/>
              </p:nvSpPr>
              <p:spPr bwMode="black">
                <a:xfrm>
                  <a:off x="9051925" y="4089928"/>
                  <a:ext cx="265113" cy="206375"/>
                </a:xfrm>
                <a:custGeom>
                  <a:avLst/>
                  <a:gdLst>
                    <a:gd name="T0" fmla="*/ 30 w 71"/>
                    <a:gd name="T1" fmla="*/ 33 h 55"/>
                    <a:gd name="T2" fmla="*/ 18 w 71"/>
                    <a:gd name="T3" fmla="*/ 6 h 55"/>
                    <a:gd name="T4" fmla="*/ 6 w 71"/>
                    <a:gd name="T5" fmla="*/ 2 h 55"/>
                    <a:gd name="T6" fmla="*/ 2 w 71"/>
                    <a:gd name="T7" fmla="*/ 14 h 55"/>
                    <a:gd name="T8" fmla="*/ 20 w 71"/>
                    <a:gd name="T9" fmla="*/ 50 h 55"/>
                    <a:gd name="T10" fmla="*/ 25 w 71"/>
                    <a:gd name="T11" fmla="*/ 55 h 55"/>
                    <a:gd name="T12" fmla="*/ 27 w 71"/>
                    <a:gd name="T13" fmla="*/ 55 h 55"/>
                    <a:gd name="T14" fmla="*/ 33 w 71"/>
                    <a:gd name="T15" fmla="*/ 53 h 55"/>
                    <a:gd name="T16" fmla="*/ 67 w 71"/>
                    <a:gd name="T17" fmla="*/ 27 h 55"/>
                    <a:gd name="T18" fmla="*/ 69 w 71"/>
                    <a:gd name="T19" fmla="*/ 15 h 55"/>
                    <a:gd name="T20" fmla="*/ 56 w 71"/>
                    <a:gd name="T21" fmla="*/ 13 h 55"/>
                    <a:gd name="T22" fmla="*/ 30 w 71"/>
                    <a:gd name="T23" fmla="*/ 33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1" h="55">
                      <a:moveTo>
                        <a:pt x="30" y="33"/>
                      </a:moveTo>
                      <a:cubicBezTo>
                        <a:pt x="18" y="6"/>
                        <a:pt x="18" y="6"/>
                        <a:pt x="18" y="6"/>
                      </a:cubicBezTo>
                      <a:cubicBezTo>
                        <a:pt x="16" y="2"/>
                        <a:pt x="10" y="0"/>
                        <a:pt x="6" y="2"/>
                      </a:cubicBezTo>
                      <a:cubicBezTo>
                        <a:pt x="2" y="4"/>
                        <a:pt x="0" y="10"/>
                        <a:pt x="2" y="14"/>
                      </a:cubicBezTo>
                      <a:cubicBezTo>
                        <a:pt x="20" y="50"/>
                        <a:pt x="20" y="50"/>
                        <a:pt x="20" y="50"/>
                      </a:cubicBezTo>
                      <a:cubicBezTo>
                        <a:pt x="21" y="53"/>
                        <a:pt x="23" y="54"/>
                        <a:pt x="25" y="55"/>
                      </a:cubicBezTo>
                      <a:cubicBezTo>
                        <a:pt x="26" y="55"/>
                        <a:pt x="27" y="55"/>
                        <a:pt x="27" y="55"/>
                      </a:cubicBezTo>
                      <a:cubicBezTo>
                        <a:pt x="29" y="55"/>
                        <a:pt x="31" y="55"/>
                        <a:pt x="33" y="53"/>
                      </a:cubicBezTo>
                      <a:cubicBezTo>
                        <a:pt x="67" y="27"/>
                        <a:pt x="67" y="27"/>
                        <a:pt x="67" y="27"/>
                      </a:cubicBezTo>
                      <a:cubicBezTo>
                        <a:pt x="71" y="24"/>
                        <a:pt x="71" y="18"/>
                        <a:pt x="69" y="15"/>
                      </a:cubicBezTo>
                      <a:cubicBezTo>
                        <a:pt x="66" y="11"/>
                        <a:pt x="60" y="10"/>
                        <a:pt x="56" y="13"/>
                      </a:cubicBezTo>
                      <a:lnTo>
                        <a:pt x="30" y="3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913765">
                    <a:defRPr/>
                  </a:pPr>
                  <a:endParaRPr lang="en-US" kern="0" smtClean="0">
                    <a:solidFill>
                      <a:srgbClr val="292929"/>
                    </a:solidFill>
                    <a:latin typeface="Segoe UI" panose="020B0502040204020203"/>
                  </a:endParaRPr>
                </a:p>
              </p:txBody>
            </p:sp>
            <p:sp>
              <p:nvSpPr>
                <p:cNvPr id="35" name="Freeform 19"/>
                <p:cNvSpPr/>
                <p:nvPr/>
              </p:nvSpPr>
              <p:spPr bwMode="black">
                <a:xfrm>
                  <a:off x="8953500" y="3958166"/>
                  <a:ext cx="90488" cy="165100"/>
                </a:xfrm>
                <a:custGeom>
                  <a:avLst/>
                  <a:gdLst>
                    <a:gd name="T0" fmla="*/ 24 w 24"/>
                    <a:gd name="T1" fmla="*/ 27 h 44"/>
                    <a:gd name="T2" fmla="*/ 24 w 24"/>
                    <a:gd name="T3" fmla="*/ 17 h 44"/>
                    <a:gd name="T4" fmla="*/ 24 w 24"/>
                    <a:gd name="T5" fmla="*/ 16 h 44"/>
                    <a:gd name="T6" fmla="*/ 0 w 24"/>
                    <a:gd name="T7" fmla="*/ 0 h 44"/>
                    <a:gd name="T8" fmla="*/ 0 w 24"/>
                    <a:gd name="T9" fmla="*/ 44 h 44"/>
                    <a:gd name="T10" fmla="*/ 24 w 24"/>
                    <a:gd name="T11" fmla="*/ 28 h 44"/>
                    <a:gd name="T12" fmla="*/ 24 w 24"/>
                    <a:gd name="T13" fmla="*/ 27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4" h="44">
                      <a:moveTo>
                        <a:pt x="24" y="27"/>
                      </a:move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24" y="16"/>
                        <a:pt x="24" y="16"/>
                        <a:pt x="24" y="16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44"/>
                        <a:pt x="0" y="44"/>
                        <a:pt x="0" y="44"/>
                      </a:cubicBezTo>
                      <a:cubicBezTo>
                        <a:pt x="24" y="28"/>
                        <a:pt x="24" y="28"/>
                        <a:pt x="24" y="28"/>
                      </a:cubicBezTo>
                      <a:cubicBezTo>
                        <a:pt x="24" y="27"/>
                        <a:pt x="24" y="27"/>
                        <a:pt x="24" y="2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913765">
                    <a:defRPr/>
                  </a:pPr>
                  <a:endParaRPr lang="en-US" kern="0" smtClean="0">
                    <a:solidFill>
                      <a:srgbClr val="292929"/>
                    </a:solidFill>
                    <a:latin typeface="Segoe UI" panose="020B0502040204020203"/>
                  </a:endParaRPr>
                </a:p>
              </p:txBody>
            </p:sp>
            <p:sp>
              <p:nvSpPr>
                <p:cNvPr id="36" name="Freeform 20"/>
                <p:cNvSpPr/>
                <p:nvPr/>
              </p:nvSpPr>
              <p:spPr bwMode="black">
                <a:xfrm>
                  <a:off x="9055100" y="4010553"/>
                  <a:ext cx="68263" cy="60325"/>
                </a:xfrm>
                <a:custGeom>
                  <a:avLst/>
                  <a:gdLst>
                    <a:gd name="T0" fmla="*/ 3 w 18"/>
                    <a:gd name="T1" fmla="*/ 16 h 16"/>
                    <a:gd name="T2" fmla="*/ 15 w 18"/>
                    <a:gd name="T3" fmla="*/ 16 h 16"/>
                    <a:gd name="T4" fmla="*/ 18 w 18"/>
                    <a:gd name="T5" fmla="*/ 13 h 16"/>
                    <a:gd name="T6" fmla="*/ 18 w 18"/>
                    <a:gd name="T7" fmla="*/ 3 h 16"/>
                    <a:gd name="T8" fmla="*/ 15 w 18"/>
                    <a:gd name="T9" fmla="*/ 0 h 16"/>
                    <a:gd name="T10" fmla="*/ 3 w 18"/>
                    <a:gd name="T11" fmla="*/ 0 h 16"/>
                    <a:gd name="T12" fmla="*/ 0 w 18"/>
                    <a:gd name="T13" fmla="*/ 3 h 16"/>
                    <a:gd name="T14" fmla="*/ 0 w 18"/>
                    <a:gd name="T15" fmla="*/ 13 h 16"/>
                    <a:gd name="T16" fmla="*/ 3 w 18"/>
                    <a:gd name="T17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8" h="16">
                      <a:moveTo>
                        <a:pt x="3" y="16"/>
                      </a:moveTo>
                      <a:cubicBezTo>
                        <a:pt x="15" y="16"/>
                        <a:pt x="15" y="16"/>
                        <a:pt x="15" y="16"/>
                      </a:cubicBezTo>
                      <a:cubicBezTo>
                        <a:pt x="17" y="16"/>
                        <a:pt x="18" y="15"/>
                        <a:pt x="18" y="13"/>
                      </a:cubicBezTo>
                      <a:cubicBezTo>
                        <a:pt x="18" y="3"/>
                        <a:pt x="18" y="3"/>
                        <a:pt x="18" y="3"/>
                      </a:cubicBezTo>
                      <a:cubicBezTo>
                        <a:pt x="18" y="1"/>
                        <a:pt x="17" y="0"/>
                        <a:pt x="15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1" y="0"/>
                        <a:pt x="0" y="1"/>
                        <a:pt x="0" y="3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0" y="15"/>
                        <a:pt x="1" y="16"/>
                        <a:pt x="3" y="1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913765">
                    <a:defRPr/>
                  </a:pPr>
                  <a:endParaRPr lang="en-US" kern="0" smtClean="0">
                    <a:solidFill>
                      <a:srgbClr val="292929"/>
                    </a:solidFill>
                    <a:latin typeface="Segoe UI" panose="020B0502040204020203"/>
                  </a:endParaRPr>
                </a:p>
              </p:txBody>
            </p:sp>
            <p:sp>
              <p:nvSpPr>
                <p:cNvPr id="37" name="Freeform 21"/>
                <p:cNvSpPr/>
                <p:nvPr/>
              </p:nvSpPr>
              <p:spPr bwMode="black">
                <a:xfrm>
                  <a:off x="8920162" y="3943878"/>
                  <a:ext cx="19050" cy="195263"/>
                </a:xfrm>
                <a:custGeom>
                  <a:avLst/>
                  <a:gdLst>
                    <a:gd name="T0" fmla="*/ 3 w 5"/>
                    <a:gd name="T1" fmla="*/ 0 h 52"/>
                    <a:gd name="T2" fmla="*/ 2 w 5"/>
                    <a:gd name="T3" fmla="*/ 0 h 52"/>
                    <a:gd name="T4" fmla="*/ 0 w 5"/>
                    <a:gd name="T5" fmla="*/ 2 h 52"/>
                    <a:gd name="T6" fmla="*/ 0 w 5"/>
                    <a:gd name="T7" fmla="*/ 50 h 52"/>
                    <a:gd name="T8" fmla="*/ 2 w 5"/>
                    <a:gd name="T9" fmla="*/ 52 h 52"/>
                    <a:gd name="T10" fmla="*/ 3 w 5"/>
                    <a:gd name="T11" fmla="*/ 52 h 52"/>
                    <a:gd name="T12" fmla="*/ 5 w 5"/>
                    <a:gd name="T13" fmla="*/ 50 h 52"/>
                    <a:gd name="T14" fmla="*/ 5 w 5"/>
                    <a:gd name="T15" fmla="*/ 2 h 52"/>
                    <a:gd name="T16" fmla="*/ 3 w 5"/>
                    <a:gd name="T17" fmla="*/ 0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52">
                      <a:moveTo>
                        <a:pt x="3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0" y="1"/>
                        <a:pt x="0" y="2"/>
                      </a:cubicBezTo>
                      <a:cubicBezTo>
                        <a:pt x="0" y="50"/>
                        <a:pt x="0" y="50"/>
                        <a:pt x="0" y="50"/>
                      </a:cubicBezTo>
                      <a:cubicBezTo>
                        <a:pt x="0" y="51"/>
                        <a:pt x="1" y="52"/>
                        <a:pt x="2" y="52"/>
                      </a:cubicBezTo>
                      <a:cubicBezTo>
                        <a:pt x="3" y="52"/>
                        <a:pt x="3" y="52"/>
                        <a:pt x="3" y="52"/>
                      </a:cubicBezTo>
                      <a:cubicBezTo>
                        <a:pt x="4" y="52"/>
                        <a:pt x="5" y="51"/>
                        <a:pt x="5" y="50"/>
                      </a:cubicBezTo>
                      <a:cubicBezTo>
                        <a:pt x="5" y="2"/>
                        <a:pt x="5" y="2"/>
                        <a:pt x="5" y="2"/>
                      </a:cubicBezTo>
                      <a:cubicBezTo>
                        <a:pt x="5" y="1"/>
                        <a:pt x="4" y="0"/>
                        <a:pt x="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defTabSz="913765">
                    <a:defRPr/>
                  </a:pPr>
                  <a:endParaRPr lang="en-US" kern="0" smtClean="0">
                    <a:solidFill>
                      <a:srgbClr val="292929"/>
                    </a:solidFill>
                    <a:latin typeface="Segoe UI" panose="020B0502040204020203"/>
                  </a:endParaRPr>
                </a:p>
              </p:txBody>
            </p:sp>
          </p:grpSp>
        </p:grpSp>
        <p:grpSp>
          <p:nvGrpSpPr>
            <p:cNvPr id="19" name="组合 18"/>
            <p:cNvGrpSpPr/>
            <p:nvPr/>
          </p:nvGrpSpPr>
          <p:grpSpPr>
            <a:xfrm>
              <a:off x="6800668" y="914619"/>
              <a:ext cx="2016777" cy="1372561"/>
              <a:chOff x="6800668" y="914619"/>
              <a:chExt cx="2016777" cy="1372561"/>
            </a:xfrm>
          </p:grpSpPr>
          <p:grpSp>
            <p:nvGrpSpPr>
              <p:cNvPr id="23" name="Group 4"/>
              <p:cNvGrpSpPr/>
              <p:nvPr/>
            </p:nvGrpSpPr>
            <p:grpSpPr>
              <a:xfrm>
                <a:off x="6800668" y="984161"/>
                <a:ext cx="2016777" cy="1303019"/>
                <a:chOff x="6264422" y="1315329"/>
                <a:chExt cx="2678656" cy="1725473"/>
              </a:xfrm>
            </p:grpSpPr>
            <p:sp>
              <p:nvSpPr>
                <p:cNvPr id="25" name="Rectangle 7"/>
                <p:cNvSpPr>
                  <a:spLocks noChangeAspect="1"/>
                </p:cNvSpPr>
                <p:nvPr>
                  <p:custDataLst>
                    <p:tags r:id="rId5"/>
                  </p:custDataLst>
                </p:nvPr>
              </p:nvSpPr>
              <p:spPr bwMode="auto">
                <a:xfrm>
                  <a:off x="6264422" y="1315329"/>
                  <a:ext cx="2678656" cy="1725473"/>
                </a:xfrm>
                <a:prstGeom prst="rect">
                  <a:avLst/>
                </a:prstGeom>
                <a:solidFill>
                  <a:srgbClr val="D65A28"/>
                </a:solidFill>
                <a:ln w="9525">
                  <a:solidFill>
                    <a:srgbClr val="FFFFFF">
                      <a:alpha val="50000"/>
                    </a:srgbClr>
                  </a:solidFill>
                  <a:headEnd type="none" w="med" len="med"/>
                  <a:tailEnd type="none" w="med" len="med"/>
                </a:ln>
                <a:effectLst/>
                <a:scene3d>
                  <a:camera prst="orthographicFront" fov="0">
                    <a:rot lat="0" lon="0" rev="0"/>
                  </a:camera>
                  <a:lightRig rig="glow" dir="t">
                    <a:rot lat="0" lon="0" rev="6360000"/>
                  </a:lightRig>
                </a:scene3d>
                <a:sp3d prstMaterial="flat">
                  <a:contourClr>
                    <a:srgbClr val="8E499C">
                      <a:satMod val="300000"/>
                    </a:srgbClr>
                  </a:contourClr>
                </a:sp3d>
              </p:spPr>
              <p:txBody>
                <a:bodyPr vert="horz" wrap="square" lIns="121893" tIns="60947" rIns="121893" bIns="60947" numCol="1" rtlCol="0" anchor="b" anchorCtr="0" compatLnSpc="1">
                  <a:noAutofit/>
                </a:bodyPr>
                <a:lstStyle/>
                <a:p>
                  <a:pPr defTabSz="913765" fontAlgn="base">
                    <a:lnSpc>
                      <a:spcPct val="90000"/>
                    </a:lnSpc>
                    <a:spcBef>
                      <a:spcPts val="630"/>
                    </a:spcBef>
                    <a:spcAft>
                      <a:spcPct val="0"/>
                    </a:spcAft>
                    <a:buClr>
                      <a:srgbClr val="FFFF99"/>
                    </a:buClr>
                    <a:buSzPct val="120000"/>
                    <a:defRPr/>
                  </a:pPr>
                  <a:r>
                    <a:rPr lang="zh-CN" altLang="en-US" sz="1600" b="1" kern="0" dirty="0">
                      <a:solidFill>
                        <a:srgbClr val="FFFFFF">
                          <a:alpha val="99000"/>
                        </a:srgb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点击添加标题</a:t>
                  </a:r>
                  <a:endParaRPr lang="en-US" altLang="zh-CN" sz="1600" b="1" kern="0" dirty="0">
                    <a:solidFill>
                      <a:srgbClr val="FFFFFF">
                        <a:alpha val="99000"/>
                      </a:srgb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grpSp>
              <p:nvGrpSpPr>
                <p:cNvPr id="26" name="Group 100"/>
                <p:cNvGrpSpPr>
                  <a:grpSpLocks noChangeAspect="1"/>
                </p:cNvGrpSpPr>
                <p:nvPr/>
              </p:nvGrpSpPr>
              <p:grpSpPr>
                <a:xfrm>
                  <a:off x="7225894" y="1638148"/>
                  <a:ext cx="59636" cy="184077"/>
                  <a:chOff x="-1616075" y="2730500"/>
                  <a:chExt cx="258763" cy="798512"/>
                </a:xfrm>
                <a:solidFill>
                  <a:srgbClr val="363535"/>
                </a:solidFill>
              </p:grpSpPr>
              <p:sp>
                <p:nvSpPr>
                  <p:cNvPr id="27" name="Freeform 73"/>
                  <p:cNvSpPr/>
                  <p:nvPr/>
                </p:nvSpPr>
                <p:spPr bwMode="auto">
                  <a:xfrm>
                    <a:off x="-1495425" y="2730500"/>
                    <a:ext cx="138113" cy="52387"/>
                  </a:xfrm>
                  <a:custGeom>
                    <a:avLst/>
                    <a:gdLst>
                      <a:gd name="T0" fmla="*/ 35 w 37"/>
                      <a:gd name="T1" fmla="*/ 14 h 14"/>
                      <a:gd name="T2" fmla="*/ 37 w 37"/>
                      <a:gd name="T3" fmla="*/ 12 h 14"/>
                      <a:gd name="T4" fmla="*/ 36 w 37"/>
                      <a:gd name="T5" fmla="*/ 9 h 14"/>
                      <a:gd name="T6" fmla="*/ 29 w 37"/>
                      <a:gd name="T7" fmla="*/ 1 h 14"/>
                      <a:gd name="T8" fmla="*/ 27 w 37"/>
                      <a:gd name="T9" fmla="*/ 0 h 14"/>
                      <a:gd name="T10" fmla="*/ 27 w 37"/>
                      <a:gd name="T11" fmla="*/ 0 h 14"/>
                      <a:gd name="T12" fmla="*/ 27 w 37"/>
                      <a:gd name="T13" fmla="*/ 0 h 14"/>
                      <a:gd name="T14" fmla="*/ 26 w 37"/>
                      <a:gd name="T15" fmla="*/ 0 h 14"/>
                      <a:gd name="T16" fmla="*/ 26 w 37"/>
                      <a:gd name="T17" fmla="*/ 0 h 14"/>
                      <a:gd name="T18" fmla="*/ 25 w 37"/>
                      <a:gd name="T19" fmla="*/ 0 h 14"/>
                      <a:gd name="T20" fmla="*/ 25 w 37"/>
                      <a:gd name="T21" fmla="*/ 0 h 14"/>
                      <a:gd name="T22" fmla="*/ 25 w 37"/>
                      <a:gd name="T23" fmla="*/ 0 h 14"/>
                      <a:gd name="T24" fmla="*/ 25 w 37"/>
                      <a:gd name="T25" fmla="*/ 0 h 14"/>
                      <a:gd name="T26" fmla="*/ 24 w 37"/>
                      <a:gd name="T27" fmla="*/ 0 h 14"/>
                      <a:gd name="T28" fmla="*/ 24 w 37"/>
                      <a:gd name="T29" fmla="*/ 0 h 14"/>
                      <a:gd name="T30" fmla="*/ 23 w 37"/>
                      <a:gd name="T31" fmla="*/ 0 h 14"/>
                      <a:gd name="T32" fmla="*/ 23 w 37"/>
                      <a:gd name="T33" fmla="*/ 0 h 14"/>
                      <a:gd name="T34" fmla="*/ 0 w 37"/>
                      <a:gd name="T35" fmla="*/ 9 h 14"/>
                      <a:gd name="T36" fmla="*/ 35 w 37"/>
                      <a:gd name="T37" fmla="*/ 14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37" h="14">
                        <a:moveTo>
                          <a:pt x="35" y="14"/>
                        </a:moveTo>
                        <a:cubicBezTo>
                          <a:pt x="37" y="14"/>
                          <a:pt x="37" y="13"/>
                          <a:pt x="37" y="12"/>
                        </a:cubicBezTo>
                        <a:cubicBezTo>
                          <a:pt x="37" y="11"/>
                          <a:pt x="36" y="10"/>
                          <a:pt x="36" y="9"/>
                        </a:cubicBezTo>
                        <a:cubicBezTo>
                          <a:pt x="33" y="6"/>
                          <a:pt x="31" y="4"/>
                          <a:pt x="29" y="1"/>
                        </a:cubicBezTo>
                        <a:cubicBezTo>
                          <a:pt x="27" y="0"/>
                          <a:pt x="27" y="0"/>
                          <a:pt x="27" y="0"/>
                        </a:cubicBezTo>
                        <a:cubicBezTo>
                          <a:pt x="27" y="0"/>
                          <a:pt x="27" y="0"/>
                          <a:pt x="27" y="0"/>
                        </a:cubicBezTo>
                        <a:cubicBezTo>
                          <a:pt x="27" y="0"/>
                          <a:pt x="27" y="0"/>
                          <a:pt x="27" y="0"/>
                        </a:cubicBezTo>
                        <a:cubicBezTo>
                          <a:pt x="27" y="0"/>
                          <a:pt x="26" y="0"/>
                          <a:pt x="26" y="0"/>
                        </a:cubicBezTo>
                        <a:cubicBezTo>
                          <a:pt x="26" y="0"/>
                          <a:pt x="26" y="0"/>
                          <a:pt x="26" y="0"/>
                        </a:cubicBezTo>
                        <a:cubicBezTo>
                          <a:pt x="26" y="0"/>
                          <a:pt x="26" y="0"/>
                          <a:pt x="25" y="0"/>
                        </a:cubicBezTo>
                        <a:cubicBezTo>
                          <a:pt x="25" y="0"/>
                          <a:pt x="25" y="0"/>
                          <a:pt x="25" y="0"/>
                        </a:cubicBezTo>
                        <a:cubicBezTo>
                          <a:pt x="25" y="0"/>
                          <a:pt x="25" y="0"/>
                          <a:pt x="25" y="0"/>
                        </a:cubicBezTo>
                        <a:cubicBezTo>
                          <a:pt x="25" y="0"/>
                          <a:pt x="25" y="0"/>
                          <a:pt x="25" y="0"/>
                        </a:cubicBezTo>
                        <a:cubicBezTo>
                          <a:pt x="25" y="0"/>
                          <a:pt x="25" y="0"/>
                          <a:pt x="24" y="0"/>
                        </a:cubicBezTo>
                        <a:cubicBezTo>
                          <a:pt x="24" y="0"/>
                          <a:pt x="24" y="0"/>
                          <a:pt x="24" y="0"/>
                        </a:cubicBezTo>
                        <a:cubicBezTo>
                          <a:pt x="23" y="0"/>
                          <a:pt x="23" y="0"/>
                          <a:pt x="23" y="0"/>
                        </a:cubicBezTo>
                        <a:cubicBezTo>
                          <a:pt x="23" y="0"/>
                          <a:pt x="23" y="0"/>
                          <a:pt x="23" y="0"/>
                        </a:cubicBezTo>
                        <a:cubicBezTo>
                          <a:pt x="0" y="9"/>
                          <a:pt x="0" y="9"/>
                          <a:pt x="0" y="9"/>
                        </a:cubicBezTo>
                        <a:lnTo>
                          <a:pt x="35" y="1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685165">
                      <a:defRPr/>
                    </a:pPr>
                    <a:endParaRPr lang="en-US" sz="1400" kern="0" smtClean="0">
                      <a:solidFill>
                        <a:srgbClr val="FFFFFF"/>
                      </a:solidFill>
                      <a:latin typeface="Segoe UI" panose="020B0502040204020203"/>
                    </a:endParaRPr>
                  </a:p>
                </p:txBody>
              </p:sp>
              <p:sp>
                <p:nvSpPr>
                  <p:cNvPr id="28" name="Freeform 74"/>
                  <p:cNvSpPr/>
                  <p:nvPr/>
                </p:nvSpPr>
                <p:spPr bwMode="auto">
                  <a:xfrm>
                    <a:off x="-1616075" y="3479800"/>
                    <a:ext cx="104775" cy="49212"/>
                  </a:xfrm>
                  <a:custGeom>
                    <a:avLst/>
                    <a:gdLst>
                      <a:gd name="T0" fmla="*/ 0 w 28"/>
                      <a:gd name="T1" fmla="*/ 10 h 13"/>
                      <a:gd name="T2" fmla="*/ 0 w 28"/>
                      <a:gd name="T3" fmla="*/ 13 h 13"/>
                      <a:gd name="T4" fmla="*/ 28 w 28"/>
                      <a:gd name="T5" fmla="*/ 4 h 13"/>
                      <a:gd name="T6" fmla="*/ 28 w 28"/>
                      <a:gd name="T7" fmla="*/ 0 h 13"/>
                      <a:gd name="T8" fmla="*/ 0 w 28"/>
                      <a:gd name="T9" fmla="*/ 9 h 13"/>
                      <a:gd name="T10" fmla="*/ 0 w 28"/>
                      <a:gd name="T11" fmla="*/ 10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28" h="13">
                        <a:moveTo>
                          <a:pt x="0" y="10"/>
                        </a:move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28" y="4"/>
                          <a:pt x="28" y="4"/>
                          <a:pt x="28" y="4"/>
                        </a:cubicBezTo>
                        <a:cubicBezTo>
                          <a:pt x="28" y="0"/>
                          <a:pt x="28" y="0"/>
                          <a:pt x="28" y="0"/>
                        </a:cubicBezTo>
                        <a:cubicBezTo>
                          <a:pt x="0" y="9"/>
                          <a:pt x="0" y="9"/>
                          <a:pt x="0" y="9"/>
                        </a:cubicBezTo>
                        <a:cubicBezTo>
                          <a:pt x="0" y="9"/>
                          <a:pt x="0" y="9"/>
                          <a:pt x="0" y="1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685165">
                      <a:defRPr/>
                    </a:pPr>
                    <a:endParaRPr lang="en-US" sz="1400" kern="0" smtClean="0">
                      <a:solidFill>
                        <a:srgbClr val="FFFFFF"/>
                      </a:solidFill>
                      <a:latin typeface="Segoe UI" panose="020B0502040204020203"/>
                    </a:endParaRPr>
                  </a:p>
                </p:txBody>
              </p:sp>
              <p:sp>
                <p:nvSpPr>
                  <p:cNvPr id="29" name="Freeform 77"/>
                  <p:cNvSpPr/>
                  <p:nvPr/>
                </p:nvSpPr>
                <p:spPr bwMode="auto">
                  <a:xfrm>
                    <a:off x="-1470025" y="3443288"/>
                    <a:ext cx="11113" cy="36512"/>
                  </a:xfrm>
                  <a:custGeom>
                    <a:avLst/>
                    <a:gdLst>
                      <a:gd name="T0" fmla="*/ 2 w 3"/>
                      <a:gd name="T1" fmla="*/ 10 h 10"/>
                      <a:gd name="T2" fmla="*/ 3 w 3"/>
                      <a:gd name="T3" fmla="*/ 10 h 10"/>
                      <a:gd name="T4" fmla="*/ 3 w 3"/>
                      <a:gd name="T5" fmla="*/ 0 h 10"/>
                      <a:gd name="T6" fmla="*/ 2 w 3"/>
                      <a:gd name="T7" fmla="*/ 0 h 10"/>
                      <a:gd name="T8" fmla="*/ 2 w 3"/>
                      <a:gd name="T9" fmla="*/ 0 h 10"/>
                      <a:gd name="T10" fmla="*/ 1 w 3"/>
                      <a:gd name="T11" fmla="*/ 0 h 10"/>
                      <a:gd name="T12" fmla="*/ 0 w 3"/>
                      <a:gd name="T13" fmla="*/ 0 h 10"/>
                      <a:gd name="T14" fmla="*/ 2 w 3"/>
                      <a:gd name="T15" fmla="*/ 7 h 10"/>
                      <a:gd name="T16" fmla="*/ 2 w 3"/>
                      <a:gd name="T17" fmla="*/ 10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3" h="10">
                        <a:moveTo>
                          <a:pt x="2" y="10"/>
                        </a:moveTo>
                        <a:cubicBezTo>
                          <a:pt x="3" y="10"/>
                          <a:pt x="3" y="10"/>
                          <a:pt x="3" y="10"/>
                        </a:cubicBezTo>
                        <a:cubicBezTo>
                          <a:pt x="3" y="0"/>
                          <a:pt x="3" y="0"/>
                          <a:pt x="3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2" y="0"/>
                          <a:pt x="1" y="0"/>
                          <a:pt x="1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" y="2"/>
                          <a:pt x="2" y="4"/>
                          <a:pt x="2" y="7"/>
                        </a:cubicBezTo>
                        <a:lnTo>
                          <a:pt x="2" y="1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pPr defTabSz="685165">
                      <a:defRPr/>
                    </a:pPr>
                    <a:endParaRPr lang="en-US" sz="1400" kern="0" smtClean="0">
                      <a:solidFill>
                        <a:srgbClr val="FFFFFF"/>
                      </a:solidFill>
                      <a:latin typeface="Segoe UI" panose="020B0502040204020203"/>
                    </a:endParaRPr>
                  </a:p>
                </p:txBody>
              </p:sp>
            </p:grpSp>
          </p:grpSp>
          <p:pic>
            <p:nvPicPr>
              <p:cNvPr id="24" name="Picture 30" descr="Reduced-Cost.png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aturation sat="0"/>
                        </a14:imgEffect>
                      </a14:imgLayer>
                    </a14:imgProps>
                  </a:ext>
                </a:extLst>
              </a:blip>
              <a:srcRect l="10599" r="12095"/>
              <a:stretch>
                <a:fillRect/>
              </a:stretch>
            </p:blipFill>
            <p:spPr bwMode="auto">
              <a:xfrm>
                <a:off x="6800668" y="914619"/>
                <a:ext cx="706511" cy="9348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20" name="组合 19"/>
            <p:cNvGrpSpPr/>
            <p:nvPr/>
          </p:nvGrpSpPr>
          <p:grpSpPr>
            <a:xfrm>
              <a:off x="2482670" y="2407920"/>
              <a:ext cx="2031202" cy="1028700"/>
              <a:chOff x="2482670" y="2407920"/>
              <a:chExt cx="2031202" cy="1028700"/>
            </a:xfrm>
          </p:grpSpPr>
          <p:sp>
            <p:nvSpPr>
              <p:cNvPr id="21" name="Rectangle 75"/>
              <p:cNvSpPr/>
              <p:nvPr/>
            </p:nvSpPr>
            <p:spPr>
              <a:xfrm>
                <a:off x="2482670" y="2407920"/>
                <a:ext cx="2031202" cy="1028700"/>
              </a:xfrm>
              <a:prstGeom prst="rect">
                <a:avLst/>
              </a:prstGeom>
              <a:solidFill>
                <a:srgbClr val="FFFFFF">
                  <a:lumMod val="75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91428" tIns="45714" rIns="91428" bIns="45714" spcCol="0" rtlCol="0" anchor="ctr" anchorCtr="1"/>
              <a:lstStyle/>
              <a:p>
                <a:pPr algn="ctr" defTabSz="913765" fontAlgn="base">
                  <a:lnSpc>
                    <a:spcPct val="90000"/>
                  </a:lnSpc>
                  <a:spcBef>
                    <a:spcPts val="630"/>
                  </a:spcBef>
                  <a:spcAft>
                    <a:spcPct val="0"/>
                  </a:spcAft>
                  <a:buClr>
                    <a:srgbClr val="FFFF99"/>
                  </a:buClr>
                  <a:buSzPct val="120000"/>
                  <a:defRPr/>
                </a:pPr>
                <a:endParaRPr lang="en-US" altLang="zh-CN" sz="1600" b="1" kern="0" dirty="0">
                  <a:solidFill>
                    <a:srgbClr val="373737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 defTabSz="913765" fontAlgn="base">
                  <a:lnSpc>
                    <a:spcPct val="90000"/>
                  </a:lnSpc>
                  <a:spcBef>
                    <a:spcPts val="630"/>
                  </a:spcBef>
                  <a:spcAft>
                    <a:spcPct val="0"/>
                  </a:spcAft>
                  <a:buClr>
                    <a:srgbClr val="FFFF99"/>
                  </a:buClr>
                  <a:buSzPct val="120000"/>
                  <a:defRPr/>
                </a:pPr>
                <a:endParaRPr lang="en-US" altLang="zh-CN" sz="1600" b="1" kern="0" dirty="0">
                  <a:solidFill>
                    <a:srgbClr val="373737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" name="矩形 21"/>
              <p:cNvSpPr/>
              <p:nvPr/>
            </p:nvSpPr>
            <p:spPr>
              <a:xfrm>
                <a:off x="2882200" y="2482967"/>
                <a:ext cx="1224486" cy="69015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defTabSz="913765" fontAlgn="base">
                  <a:lnSpc>
                    <a:spcPct val="90000"/>
                  </a:lnSpc>
                  <a:spcBef>
                    <a:spcPts val="630"/>
                  </a:spcBef>
                  <a:spcAft>
                    <a:spcPct val="0"/>
                  </a:spcAft>
                  <a:buClr>
                    <a:srgbClr val="FFFF99"/>
                  </a:buClr>
                  <a:buSzPct val="120000"/>
                  <a:defRPr/>
                </a:pPr>
                <a:r>
                  <a:rPr lang="zh-CN" altLang="en-US" sz="1600" b="1" kern="0" dirty="0">
                    <a:solidFill>
                      <a:srgbClr val="373737">
                        <a:alpha val="99000"/>
                      </a:srgb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点击添加</a:t>
                </a:r>
                <a:r>
                  <a:rPr lang="zh-CN" altLang="en-US" sz="1600" b="1" kern="0" dirty="0" smtClean="0">
                    <a:solidFill>
                      <a:srgbClr val="373737">
                        <a:alpha val="99000"/>
                      </a:srgb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文本</a:t>
                </a:r>
                <a:endParaRPr lang="en-US" altLang="zh-CN" sz="1600" b="1" kern="0" dirty="0" smtClean="0">
                  <a:solidFill>
                    <a:srgbClr val="373737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 defTabSz="913765" fontAlgn="base">
                  <a:lnSpc>
                    <a:spcPct val="90000"/>
                  </a:lnSpc>
                  <a:spcBef>
                    <a:spcPts val="630"/>
                  </a:spcBef>
                  <a:spcAft>
                    <a:spcPct val="0"/>
                  </a:spcAft>
                  <a:buClr>
                    <a:srgbClr val="FFFF99"/>
                  </a:buClr>
                  <a:buSzPct val="120000"/>
                  <a:defRPr/>
                </a:pPr>
                <a:r>
                  <a:rPr lang="zh-CN" altLang="en-US" sz="1600" b="1" kern="0" dirty="0">
                    <a:solidFill>
                      <a:srgbClr val="373737">
                        <a:alpha val="99000"/>
                      </a:srgb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点击添加文本</a:t>
                </a:r>
                <a:endParaRPr lang="en-US" altLang="zh-CN" sz="1600" b="1" kern="0" dirty="0">
                  <a:solidFill>
                    <a:srgbClr val="373737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 defTabSz="913765" fontAlgn="base">
                  <a:lnSpc>
                    <a:spcPct val="90000"/>
                  </a:lnSpc>
                  <a:spcBef>
                    <a:spcPts val="630"/>
                  </a:spcBef>
                  <a:spcAft>
                    <a:spcPct val="0"/>
                  </a:spcAft>
                  <a:buClr>
                    <a:srgbClr val="FFFF99"/>
                  </a:buClr>
                  <a:buSzPct val="120000"/>
                  <a:defRPr/>
                </a:pPr>
                <a:r>
                  <a:rPr lang="zh-CN" altLang="en-US" sz="1600" b="1" kern="0" dirty="0">
                    <a:solidFill>
                      <a:srgbClr val="373737">
                        <a:alpha val="99000"/>
                      </a:srgb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点击添加</a:t>
                </a:r>
                <a:r>
                  <a:rPr lang="zh-CN" altLang="en-US" sz="1600" b="1" kern="0" dirty="0" smtClean="0">
                    <a:solidFill>
                      <a:srgbClr val="373737">
                        <a:alpha val="99000"/>
                      </a:srgb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文本</a:t>
                </a:r>
                <a:endParaRPr lang="en-US" altLang="zh-CN" sz="1600" b="1" kern="0" dirty="0">
                  <a:solidFill>
                    <a:srgbClr val="373737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3379" y="1268760"/>
            <a:ext cx="12192000" cy="5040560"/>
            <a:chOff x="8898" y="1196752"/>
            <a:chExt cx="12192000" cy="5040560"/>
          </a:xfrm>
        </p:grpSpPr>
        <p:sp>
          <p:nvSpPr>
            <p:cNvPr id="7" name="矩形 6"/>
            <p:cNvSpPr/>
            <p:nvPr/>
          </p:nvSpPr>
          <p:spPr>
            <a:xfrm>
              <a:off x="8898" y="1196752"/>
              <a:ext cx="12192000" cy="2016224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pic>
          <p:nvPicPr>
            <p:cNvPr id="8" name="图片 7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812"/>
            <a:stretch>
              <a:fillRect/>
            </a:stretch>
          </p:blipFill>
          <p:spPr>
            <a:xfrm>
              <a:off x="666007" y="2335159"/>
              <a:ext cx="2108748" cy="1790984"/>
            </a:xfrm>
            <a:prstGeom prst="rect">
              <a:avLst/>
            </a:prstGeom>
          </p:spPr>
        </p:pic>
        <p:pic>
          <p:nvPicPr>
            <p:cNvPr id="9" name="图片 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812"/>
            <a:stretch>
              <a:fillRect/>
            </a:stretch>
          </p:blipFill>
          <p:spPr>
            <a:xfrm>
              <a:off x="3503712" y="2328753"/>
              <a:ext cx="2108748" cy="1797390"/>
            </a:xfrm>
            <a:prstGeom prst="rect">
              <a:avLst/>
            </a:prstGeom>
          </p:spPr>
        </p:pic>
        <p:pic>
          <p:nvPicPr>
            <p:cNvPr id="10" name="图片 9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30700" y="2335159"/>
              <a:ext cx="2108748" cy="1790984"/>
            </a:xfrm>
            <a:prstGeom prst="rect">
              <a:avLst/>
            </a:prstGeom>
          </p:spPr>
        </p:pic>
        <p:pic>
          <p:nvPicPr>
            <p:cNvPr id="11" name="图片 1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68405" y="2317484"/>
              <a:ext cx="2108748" cy="1790984"/>
            </a:xfrm>
            <a:prstGeom prst="rect">
              <a:avLst/>
            </a:prstGeom>
          </p:spPr>
        </p:pic>
        <p:sp>
          <p:nvSpPr>
            <p:cNvPr id="12" name="矩形 11"/>
            <p:cNvSpPr/>
            <p:nvPr/>
          </p:nvSpPr>
          <p:spPr>
            <a:xfrm>
              <a:off x="837075" y="1611014"/>
              <a:ext cx="1766611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</a:t>
              </a:r>
              <a:r>
                <a:rPr lang="zh-CN" altLang="en-US" sz="11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发布，</a:t>
              </a:r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课件及汇报</a:t>
              </a:r>
              <a:r>
                <a:rPr lang="en-US" altLang="zh-CN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</a:t>
              </a:r>
              <a:endParaRPr lang="zh-CN" altLang="en-US" sz="1100" dirty="0">
                <a:solidFill>
                  <a:prstClr val="white"/>
                </a:solidFill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3674780" y="1611014"/>
              <a:ext cx="1766611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</a:t>
              </a:r>
              <a:r>
                <a:rPr lang="zh-CN" altLang="en-US" sz="11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发布，</a:t>
              </a:r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课件及汇报</a:t>
              </a:r>
              <a:r>
                <a:rPr lang="en-US" altLang="zh-CN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</a:t>
              </a:r>
              <a:endParaRPr lang="zh-CN" altLang="en-US" sz="1100" dirty="0">
                <a:solidFill>
                  <a:prstClr val="white"/>
                </a:solidFill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6601768" y="1624130"/>
              <a:ext cx="1766611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</a:t>
              </a:r>
              <a:r>
                <a:rPr lang="zh-CN" altLang="en-US" sz="11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发布，</a:t>
              </a:r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课件及汇报</a:t>
              </a:r>
              <a:r>
                <a:rPr lang="en-US" altLang="zh-CN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</a:t>
              </a:r>
              <a:endParaRPr lang="zh-CN" altLang="en-US" sz="1100" dirty="0">
                <a:solidFill>
                  <a:prstClr val="white"/>
                </a:solidFill>
              </a:endParaRPr>
            </a:p>
          </p:txBody>
        </p:sp>
        <p:sp>
          <p:nvSpPr>
            <p:cNvPr id="15" name="矩形 14"/>
            <p:cNvSpPr/>
            <p:nvPr/>
          </p:nvSpPr>
          <p:spPr>
            <a:xfrm>
              <a:off x="9439473" y="1624707"/>
              <a:ext cx="1766611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</a:t>
              </a:r>
              <a:r>
                <a:rPr lang="zh-CN" altLang="en-US" sz="11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发布，</a:t>
              </a:r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课件及汇报</a:t>
              </a:r>
              <a:r>
                <a:rPr lang="en-US" altLang="zh-CN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</a:t>
              </a:r>
              <a:endParaRPr lang="zh-CN" altLang="en-US" sz="1100" dirty="0">
                <a:solidFill>
                  <a:prstClr val="white"/>
                </a:solidFill>
              </a:endParaRPr>
            </a:p>
          </p:txBody>
        </p:sp>
        <p:sp>
          <p:nvSpPr>
            <p:cNvPr id="16" name="文本框 15"/>
            <p:cNvSpPr txBox="1"/>
            <p:nvPr/>
          </p:nvSpPr>
          <p:spPr>
            <a:xfrm>
              <a:off x="1127448" y="4314582"/>
              <a:ext cx="136815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同事姓名</a:t>
              </a:r>
              <a:endPara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矩形 16"/>
            <p:cNvSpPr/>
            <p:nvPr/>
          </p:nvSpPr>
          <p:spPr>
            <a:xfrm>
              <a:off x="692403" y="4852317"/>
              <a:ext cx="2238241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矩形 17"/>
            <p:cNvSpPr/>
            <p:nvPr/>
          </p:nvSpPr>
          <p:spPr>
            <a:xfrm>
              <a:off x="3420261" y="4852316"/>
              <a:ext cx="2238241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矩形 18"/>
            <p:cNvSpPr/>
            <p:nvPr/>
          </p:nvSpPr>
          <p:spPr>
            <a:xfrm>
              <a:off x="6365952" y="4852316"/>
              <a:ext cx="2238241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矩形 19"/>
            <p:cNvSpPr/>
            <p:nvPr/>
          </p:nvSpPr>
          <p:spPr>
            <a:xfrm>
              <a:off x="9203808" y="4852316"/>
              <a:ext cx="2238241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文本框 20"/>
            <p:cNvSpPr txBox="1"/>
            <p:nvPr/>
          </p:nvSpPr>
          <p:spPr>
            <a:xfrm>
              <a:off x="4073239" y="4314582"/>
              <a:ext cx="136815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同事姓名</a:t>
              </a:r>
              <a:endPara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文本框 21"/>
            <p:cNvSpPr txBox="1"/>
            <p:nvPr/>
          </p:nvSpPr>
          <p:spPr>
            <a:xfrm>
              <a:off x="6976209" y="4314582"/>
              <a:ext cx="136815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同事姓名</a:t>
              </a:r>
              <a:endPara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" name="文本框 22"/>
            <p:cNvSpPr txBox="1"/>
            <p:nvPr/>
          </p:nvSpPr>
          <p:spPr>
            <a:xfrm>
              <a:off x="9807941" y="4314582"/>
              <a:ext cx="136815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同事姓名</a:t>
              </a:r>
              <a:endPara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9055164" y="1898170"/>
            <a:ext cx="2304256" cy="3892759"/>
            <a:chOff x="9163176" y="1477422"/>
            <a:chExt cx="2304256" cy="3892759"/>
          </a:xfrm>
        </p:grpSpPr>
        <p:grpSp>
          <p:nvGrpSpPr>
            <p:cNvPr id="7" name="组合 6"/>
            <p:cNvGrpSpPr/>
            <p:nvPr/>
          </p:nvGrpSpPr>
          <p:grpSpPr>
            <a:xfrm>
              <a:off x="9271188" y="1477422"/>
              <a:ext cx="2088232" cy="1621963"/>
              <a:chOff x="9271188" y="1477422"/>
              <a:chExt cx="2088232" cy="1621963"/>
            </a:xfrm>
          </p:grpSpPr>
          <p:sp>
            <p:nvSpPr>
              <p:cNvPr id="12" name="矩形 11"/>
              <p:cNvSpPr/>
              <p:nvPr/>
            </p:nvSpPr>
            <p:spPr>
              <a:xfrm>
                <a:off x="9271188" y="1477422"/>
                <a:ext cx="2088232" cy="1621963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pic>
            <p:nvPicPr>
              <p:cNvPr id="13" name="图片 12"/>
              <p:cNvPicPr>
                <a:picLocks noChangeAspect="1"/>
              </p:cNvPicPr>
              <p:nvPr/>
            </p:nvPicPr>
            <p:blipFill>
              <a:blip r:embed="rId2" cstate="email"/>
              <a:stretch>
                <a:fillRect/>
              </a:stretch>
            </p:blipFill>
            <p:spPr>
              <a:xfrm>
                <a:off x="9345691" y="1556792"/>
                <a:ext cx="1944216" cy="1464643"/>
              </a:xfrm>
              <a:prstGeom prst="rect">
                <a:avLst/>
              </a:prstGeom>
            </p:spPr>
          </p:pic>
        </p:grpSp>
        <p:grpSp>
          <p:nvGrpSpPr>
            <p:cNvPr id="8" name="组合 7"/>
            <p:cNvGrpSpPr/>
            <p:nvPr/>
          </p:nvGrpSpPr>
          <p:grpSpPr>
            <a:xfrm>
              <a:off x="9271188" y="3280475"/>
              <a:ext cx="1767614" cy="504056"/>
              <a:chOff x="1160034" y="3284984"/>
              <a:chExt cx="1767614" cy="504056"/>
            </a:xfrm>
          </p:grpSpPr>
          <p:sp>
            <p:nvSpPr>
              <p:cNvPr id="10" name="矩形 9"/>
              <p:cNvSpPr/>
              <p:nvPr/>
            </p:nvSpPr>
            <p:spPr>
              <a:xfrm>
                <a:off x="1160034" y="3284984"/>
                <a:ext cx="1767614" cy="504056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" name="文本框 10"/>
              <p:cNvSpPr txBox="1"/>
              <p:nvPr/>
            </p:nvSpPr>
            <p:spPr>
              <a:xfrm>
                <a:off x="1248539" y="3336957"/>
                <a:ext cx="1472746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2000" b="1" dirty="0" smtClean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单击标题</a:t>
                </a:r>
                <a:endPara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9" name="矩形 8"/>
            <p:cNvSpPr/>
            <p:nvPr/>
          </p:nvSpPr>
          <p:spPr>
            <a:xfrm>
              <a:off x="9163176" y="3985186"/>
              <a:ext cx="2304256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3647728" y="1916832"/>
            <a:ext cx="2304256" cy="3874097"/>
            <a:chOff x="3755740" y="1496084"/>
            <a:chExt cx="2304256" cy="3874097"/>
          </a:xfrm>
        </p:grpSpPr>
        <p:grpSp>
          <p:nvGrpSpPr>
            <p:cNvPr id="15" name="组合 14"/>
            <p:cNvGrpSpPr/>
            <p:nvPr/>
          </p:nvGrpSpPr>
          <p:grpSpPr>
            <a:xfrm>
              <a:off x="3863752" y="1496084"/>
              <a:ext cx="2088232" cy="1621963"/>
              <a:chOff x="3810776" y="1485131"/>
              <a:chExt cx="2088232" cy="1621963"/>
            </a:xfrm>
          </p:grpSpPr>
          <p:sp>
            <p:nvSpPr>
              <p:cNvPr id="20" name="矩形 19"/>
              <p:cNvSpPr/>
              <p:nvPr/>
            </p:nvSpPr>
            <p:spPr>
              <a:xfrm>
                <a:off x="3810776" y="1485131"/>
                <a:ext cx="2088232" cy="1621963"/>
              </a:xfrm>
              <a:prstGeom prst="rect">
                <a:avLst/>
              </a:prstGeom>
              <a:solidFill>
                <a:srgbClr val="FF780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pic>
            <p:nvPicPr>
              <p:cNvPr id="21" name="图片 20"/>
              <p:cNvPicPr>
                <a:picLocks noChangeAspect="1"/>
              </p:cNvPicPr>
              <p:nvPr/>
            </p:nvPicPr>
            <p:blipFill>
              <a:blip r:embed="rId3" cstate="email"/>
              <a:stretch>
                <a:fillRect/>
              </a:stretch>
            </p:blipFill>
            <p:spPr>
              <a:xfrm>
                <a:off x="3890240" y="1566123"/>
                <a:ext cx="1944216" cy="1464643"/>
              </a:xfrm>
              <a:prstGeom prst="rect">
                <a:avLst/>
              </a:prstGeom>
            </p:spPr>
          </p:pic>
        </p:grpSp>
        <p:grpSp>
          <p:nvGrpSpPr>
            <p:cNvPr id="16" name="组合 15"/>
            <p:cNvGrpSpPr/>
            <p:nvPr/>
          </p:nvGrpSpPr>
          <p:grpSpPr>
            <a:xfrm>
              <a:off x="3841837" y="3284984"/>
              <a:ext cx="1767614" cy="504056"/>
              <a:chOff x="1160034" y="3284984"/>
              <a:chExt cx="1767614" cy="504056"/>
            </a:xfrm>
          </p:grpSpPr>
          <p:sp>
            <p:nvSpPr>
              <p:cNvPr id="18" name="矩形 17"/>
              <p:cNvSpPr/>
              <p:nvPr/>
            </p:nvSpPr>
            <p:spPr>
              <a:xfrm>
                <a:off x="1160034" y="3284984"/>
                <a:ext cx="1767614" cy="504056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" name="文本框 18"/>
              <p:cNvSpPr txBox="1"/>
              <p:nvPr/>
            </p:nvSpPr>
            <p:spPr>
              <a:xfrm>
                <a:off x="1248539" y="3336957"/>
                <a:ext cx="1472746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2000" b="1" dirty="0" smtClean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单击标题</a:t>
                </a:r>
                <a:endPara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7" name="矩形 16"/>
            <p:cNvSpPr/>
            <p:nvPr/>
          </p:nvSpPr>
          <p:spPr>
            <a:xfrm>
              <a:off x="3755740" y="3985186"/>
              <a:ext cx="2304256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6351446" y="1905879"/>
            <a:ext cx="2304256" cy="3866794"/>
            <a:chOff x="6459458" y="1485131"/>
            <a:chExt cx="2304256" cy="3866794"/>
          </a:xfrm>
        </p:grpSpPr>
        <p:grpSp>
          <p:nvGrpSpPr>
            <p:cNvPr id="23" name="组合 22"/>
            <p:cNvGrpSpPr/>
            <p:nvPr/>
          </p:nvGrpSpPr>
          <p:grpSpPr>
            <a:xfrm>
              <a:off x="6567470" y="1485131"/>
              <a:ext cx="2088232" cy="1621963"/>
              <a:chOff x="6528048" y="1485131"/>
              <a:chExt cx="2088232" cy="1621963"/>
            </a:xfrm>
          </p:grpSpPr>
          <p:sp>
            <p:nvSpPr>
              <p:cNvPr id="28" name="矩形 27"/>
              <p:cNvSpPr/>
              <p:nvPr/>
            </p:nvSpPr>
            <p:spPr>
              <a:xfrm>
                <a:off x="6528048" y="1485131"/>
                <a:ext cx="2088232" cy="1621963"/>
              </a:xfrm>
              <a:prstGeom prst="rect">
                <a:avLst/>
              </a:prstGeom>
              <a:solidFill>
                <a:srgbClr val="01B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pic>
            <p:nvPicPr>
              <p:cNvPr id="29" name="图片 28"/>
              <p:cNvPicPr>
                <a:picLocks noChangeAspect="1"/>
              </p:cNvPicPr>
              <p:nvPr/>
            </p:nvPicPr>
            <p:blipFill>
              <a:blip r:embed="rId4" cstate="email"/>
              <a:stretch>
                <a:fillRect/>
              </a:stretch>
            </p:blipFill>
            <p:spPr>
              <a:xfrm>
                <a:off x="6600056" y="1556792"/>
                <a:ext cx="1944216" cy="1464643"/>
              </a:xfrm>
              <a:prstGeom prst="rect">
                <a:avLst/>
              </a:prstGeom>
            </p:spPr>
          </p:pic>
        </p:grpSp>
        <p:grpSp>
          <p:nvGrpSpPr>
            <p:cNvPr id="24" name="组合 23"/>
            <p:cNvGrpSpPr/>
            <p:nvPr/>
          </p:nvGrpSpPr>
          <p:grpSpPr>
            <a:xfrm>
              <a:off x="6567470" y="3284984"/>
              <a:ext cx="1767614" cy="504056"/>
              <a:chOff x="1160034" y="3284984"/>
              <a:chExt cx="1767614" cy="504056"/>
            </a:xfrm>
          </p:grpSpPr>
          <p:sp>
            <p:nvSpPr>
              <p:cNvPr id="26" name="矩形 25"/>
              <p:cNvSpPr/>
              <p:nvPr/>
            </p:nvSpPr>
            <p:spPr>
              <a:xfrm>
                <a:off x="1160034" y="3284984"/>
                <a:ext cx="1767614" cy="504056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7" name="文本框 26"/>
              <p:cNvSpPr txBox="1"/>
              <p:nvPr/>
            </p:nvSpPr>
            <p:spPr>
              <a:xfrm>
                <a:off x="1248539" y="3336957"/>
                <a:ext cx="1472746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2000" b="1" dirty="0" smtClean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单击标题</a:t>
                </a:r>
                <a:endPara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25" name="矩形 24"/>
            <p:cNvSpPr/>
            <p:nvPr/>
          </p:nvSpPr>
          <p:spPr>
            <a:xfrm>
              <a:off x="6459458" y="3966930"/>
              <a:ext cx="2304256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0" name="组合 29"/>
          <p:cNvGrpSpPr/>
          <p:nvPr/>
        </p:nvGrpSpPr>
        <p:grpSpPr>
          <a:xfrm>
            <a:off x="990810" y="1905879"/>
            <a:ext cx="2149444" cy="3885050"/>
            <a:chOff x="1098822" y="1485131"/>
            <a:chExt cx="2149444" cy="3885050"/>
          </a:xfrm>
        </p:grpSpPr>
        <p:grpSp>
          <p:nvGrpSpPr>
            <p:cNvPr id="31" name="组合 30"/>
            <p:cNvGrpSpPr/>
            <p:nvPr/>
          </p:nvGrpSpPr>
          <p:grpSpPr>
            <a:xfrm>
              <a:off x="1160034" y="1485131"/>
              <a:ext cx="2088232" cy="1621963"/>
              <a:chOff x="1055440" y="1485131"/>
              <a:chExt cx="2088232" cy="1621963"/>
            </a:xfrm>
          </p:grpSpPr>
          <p:sp>
            <p:nvSpPr>
              <p:cNvPr id="36" name="矩形 35"/>
              <p:cNvSpPr/>
              <p:nvPr/>
            </p:nvSpPr>
            <p:spPr>
              <a:xfrm>
                <a:off x="1055440" y="1485131"/>
                <a:ext cx="2088232" cy="1621963"/>
              </a:xfrm>
              <a:prstGeom prst="rect">
                <a:avLst/>
              </a:prstGeom>
              <a:solidFill>
                <a:srgbClr val="FF3B7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pic>
            <p:nvPicPr>
              <p:cNvPr id="37" name="图片 36"/>
              <p:cNvPicPr>
                <a:picLocks noChangeAspect="1"/>
              </p:cNvPicPr>
              <p:nvPr/>
            </p:nvPicPr>
            <p:blipFill>
              <a:blip r:embed="rId5" cstate="email"/>
              <a:stretch>
                <a:fillRect/>
              </a:stretch>
            </p:blipFill>
            <p:spPr>
              <a:xfrm>
                <a:off x="1127448" y="1556792"/>
                <a:ext cx="1944216" cy="1464643"/>
              </a:xfrm>
              <a:prstGeom prst="rect">
                <a:avLst/>
              </a:prstGeom>
            </p:spPr>
          </p:pic>
        </p:grpSp>
        <p:grpSp>
          <p:nvGrpSpPr>
            <p:cNvPr id="32" name="组合 31"/>
            <p:cNvGrpSpPr/>
            <p:nvPr/>
          </p:nvGrpSpPr>
          <p:grpSpPr>
            <a:xfrm>
              <a:off x="1160034" y="3284984"/>
              <a:ext cx="1767614" cy="504056"/>
              <a:chOff x="1160034" y="3284984"/>
              <a:chExt cx="1767614" cy="504056"/>
            </a:xfrm>
          </p:grpSpPr>
          <p:sp>
            <p:nvSpPr>
              <p:cNvPr id="34" name="矩形 33"/>
              <p:cNvSpPr/>
              <p:nvPr/>
            </p:nvSpPr>
            <p:spPr>
              <a:xfrm>
                <a:off x="1160034" y="3284984"/>
                <a:ext cx="1767614" cy="504056"/>
              </a:xfrm>
              <a:prstGeom prst="rect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5" name="文本框 34"/>
              <p:cNvSpPr txBox="1"/>
              <p:nvPr/>
            </p:nvSpPr>
            <p:spPr>
              <a:xfrm>
                <a:off x="1248539" y="3336957"/>
                <a:ext cx="1472746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2000" b="1" dirty="0" smtClean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单击标题</a:t>
                </a:r>
                <a:endPara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33" name="矩形 32"/>
            <p:cNvSpPr/>
            <p:nvPr/>
          </p:nvSpPr>
          <p:spPr>
            <a:xfrm>
              <a:off x="1098822" y="3985186"/>
              <a:ext cx="2149444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629593" y="1124744"/>
            <a:ext cx="10932813" cy="5557208"/>
            <a:chOff x="570663" y="1068548"/>
            <a:chExt cx="10932813" cy="5557208"/>
          </a:xfrm>
        </p:grpSpPr>
        <p:grpSp>
          <p:nvGrpSpPr>
            <p:cNvPr id="7" name="组合 6"/>
            <p:cNvGrpSpPr/>
            <p:nvPr/>
          </p:nvGrpSpPr>
          <p:grpSpPr>
            <a:xfrm>
              <a:off x="6528048" y="1340768"/>
              <a:ext cx="4975428" cy="4835916"/>
              <a:chOff x="2746369" y="783590"/>
              <a:chExt cx="3691291" cy="3587786"/>
            </a:xfrm>
          </p:grpSpPr>
          <p:cxnSp>
            <p:nvCxnSpPr>
              <p:cNvPr id="10" name="直接连接符 9"/>
              <p:cNvCxnSpPr/>
              <p:nvPr/>
            </p:nvCxnSpPr>
            <p:spPr>
              <a:xfrm flipV="1">
                <a:off x="3808612" y="2660651"/>
                <a:ext cx="426839" cy="123922"/>
              </a:xfrm>
              <a:prstGeom prst="line">
                <a:avLst/>
              </a:prstGeom>
              <a:ln w="76200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直接连接符 10"/>
              <p:cNvCxnSpPr/>
              <p:nvPr/>
            </p:nvCxnSpPr>
            <p:spPr>
              <a:xfrm flipH="1">
                <a:off x="4655542" y="1834565"/>
                <a:ext cx="125215" cy="413336"/>
              </a:xfrm>
              <a:prstGeom prst="line">
                <a:avLst/>
              </a:prstGeom>
              <a:ln w="76200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直接连接符 11"/>
              <p:cNvCxnSpPr/>
              <p:nvPr/>
            </p:nvCxnSpPr>
            <p:spPr>
              <a:xfrm>
                <a:off x="4780757" y="2660651"/>
                <a:ext cx="378619" cy="270291"/>
              </a:xfrm>
              <a:prstGeom prst="line">
                <a:avLst/>
              </a:prstGeom>
              <a:ln w="76200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直接连接符 12"/>
              <p:cNvCxnSpPr/>
              <p:nvPr/>
            </p:nvCxnSpPr>
            <p:spPr>
              <a:xfrm>
                <a:off x="3676651" y="2189032"/>
                <a:ext cx="808" cy="519663"/>
              </a:xfrm>
              <a:prstGeom prst="line">
                <a:avLst/>
              </a:prstGeom>
              <a:ln w="76200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直接连接符 13"/>
              <p:cNvCxnSpPr/>
              <p:nvPr/>
            </p:nvCxnSpPr>
            <p:spPr>
              <a:xfrm>
                <a:off x="5484813" y="1498303"/>
                <a:ext cx="41801" cy="407828"/>
              </a:xfrm>
              <a:prstGeom prst="line">
                <a:avLst/>
              </a:prstGeom>
              <a:ln w="76200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直接连接符 14"/>
              <p:cNvCxnSpPr>
                <a:stCxn id="52" idx="7"/>
              </p:cNvCxnSpPr>
              <p:nvPr/>
            </p:nvCxnSpPr>
            <p:spPr>
              <a:xfrm flipV="1">
                <a:off x="4611185" y="3031412"/>
                <a:ext cx="555277" cy="312513"/>
              </a:xfrm>
              <a:prstGeom prst="line">
                <a:avLst/>
              </a:prstGeom>
              <a:ln w="76200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直接连接符 15"/>
              <p:cNvCxnSpPr>
                <a:stCxn id="55" idx="4"/>
                <a:endCxn id="45" idx="0"/>
              </p:cNvCxnSpPr>
              <p:nvPr/>
            </p:nvCxnSpPr>
            <p:spPr>
              <a:xfrm>
                <a:off x="3076080" y="1724005"/>
                <a:ext cx="97683" cy="485092"/>
              </a:xfrm>
              <a:prstGeom prst="line">
                <a:avLst/>
              </a:prstGeom>
              <a:ln w="19050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直接连接符 16"/>
              <p:cNvCxnSpPr>
                <a:stCxn id="48" idx="0"/>
                <a:endCxn id="45" idx="3"/>
              </p:cNvCxnSpPr>
              <p:nvPr/>
            </p:nvCxnSpPr>
            <p:spPr>
              <a:xfrm flipV="1">
                <a:off x="2908369" y="2454920"/>
                <a:ext cx="163571" cy="210735"/>
              </a:xfrm>
              <a:prstGeom prst="line">
                <a:avLst/>
              </a:prstGeom>
              <a:ln w="19050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直接连接符 17"/>
              <p:cNvCxnSpPr>
                <a:stCxn id="45" idx="5"/>
                <a:endCxn id="37" idx="1"/>
              </p:cNvCxnSpPr>
              <p:nvPr/>
            </p:nvCxnSpPr>
            <p:spPr>
              <a:xfrm>
                <a:off x="3275586" y="2454920"/>
                <a:ext cx="244156" cy="202751"/>
              </a:xfrm>
              <a:prstGeom prst="line">
                <a:avLst/>
              </a:prstGeom>
              <a:ln w="28575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直接连接符 18"/>
              <p:cNvCxnSpPr>
                <a:stCxn id="37" idx="3"/>
                <a:endCxn id="44" idx="7"/>
              </p:cNvCxnSpPr>
              <p:nvPr/>
            </p:nvCxnSpPr>
            <p:spPr>
              <a:xfrm flipH="1">
                <a:off x="3222764" y="3009586"/>
                <a:ext cx="296978" cy="312018"/>
              </a:xfrm>
              <a:prstGeom prst="line">
                <a:avLst/>
              </a:prstGeom>
              <a:ln w="28575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直接连接符 19"/>
              <p:cNvCxnSpPr>
                <a:stCxn id="35" idx="2"/>
              </p:cNvCxnSpPr>
              <p:nvPr/>
            </p:nvCxnSpPr>
            <p:spPr>
              <a:xfrm flipH="1">
                <a:off x="4132068" y="1712517"/>
                <a:ext cx="438345" cy="161244"/>
              </a:xfrm>
              <a:prstGeom prst="line">
                <a:avLst/>
              </a:prstGeom>
              <a:ln w="38100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接连接符 20"/>
              <p:cNvCxnSpPr>
                <a:stCxn id="35" idx="5"/>
              </p:cNvCxnSpPr>
              <p:nvPr/>
            </p:nvCxnSpPr>
            <p:spPr>
              <a:xfrm>
                <a:off x="4995212" y="1888474"/>
                <a:ext cx="274752" cy="152759"/>
              </a:xfrm>
              <a:prstGeom prst="line">
                <a:avLst/>
              </a:prstGeom>
              <a:ln w="38100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直接连接符 21"/>
              <p:cNvCxnSpPr>
                <a:stCxn id="36" idx="5"/>
                <a:endCxn id="41" idx="1"/>
              </p:cNvCxnSpPr>
              <p:nvPr/>
            </p:nvCxnSpPr>
            <p:spPr>
              <a:xfrm>
                <a:off x="5445922" y="3150138"/>
                <a:ext cx="284062" cy="388174"/>
              </a:xfrm>
              <a:prstGeom prst="line">
                <a:avLst/>
              </a:prstGeom>
              <a:ln w="38100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直接连接符 22"/>
              <p:cNvCxnSpPr/>
              <p:nvPr/>
            </p:nvCxnSpPr>
            <p:spPr>
              <a:xfrm>
                <a:off x="4604268" y="1291266"/>
                <a:ext cx="142443" cy="205121"/>
              </a:xfrm>
              <a:prstGeom prst="line">
                <a:avLst/>
              </a:prstGeom>
              <a:ln w="28575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连接符 23"/>
              <p:cNvCxnSpPr/>
              <p:nvPr/>
            </p:nvCxnSpPr>
            <p:spPr>
              <a:xfrm flipV="1">
                <a:off x="5400613" y="2800420"/>
                <a:ext cx="349860" cy="87932"/>
              </a:xfrm>
              <a:prstGeom prst="line">
                <a:avLst/>
              </a:prstGeom>
              <a:ln w="19050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直接连接符 24"/>
              <p:cNvCxnSpPr/>
              <p:nvPr/>
            </p:nvCxnSpPr>
            <p:spPr>
              <a:xfrm>
                <a:off x="5862827" y="2822225"/>
                <a:ext cx="165550" cy="33859"/>
              </a:xfrm>
              <a:prstGeom prst="line">
                <a:avLst/>
              </a:prstGeom>
              <a:ln w="19050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直接连接符 25"/>
              <p:cNvCxnSpPr>
                <a:stCxn id="36" idx="6"/>
                <a:endCxn id="57" idx="1"/>
              </p:cNvCxnSpPr>
              <p:nvPr/>
            </p:nvCxnSpPr>
            <p:spPr>
              <a:xfrm>
                <a:off x="5518806" y="2974181"/>
                <a:ext cx="279460" cy="130862"/>
              </a:xfrm>
              <a:prstGeom prst="line">
                <a:avLst/>
              </a:prstGeom>
              <a:ln w="19050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直接连接符 26"/>
              <p:cNvCxnSpPr>
                <a:stCxn id="52" idx="6"/>
                <a:endCxn id="43" idx="1"/>
              </p:cNvCxnSpPr>
              <p:nvPr/>
            </p:nvCxnSpPr>
            <p:spPr>
              <a:xfrm>
                <a:off x="4703763" y="3567428"/>
                <a:ext cx="404948" cy="103513"/>
              </a:xfrm>
              <a:prstGeom prst="line">
                <a:avLst/>
              </a:prstGeom>
              <a:ln w="28575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直接连接符 27"/>
              <p:cNvCxnSpPr/>
              <p:nvPr/>
            </p:nvCxnSpPr>
            <p:spPr>
              <a:xfrm flipH="1">
                <a:off x="3744539" y="3665591"/>
                <a:ext cx="317465" cy="93779"/>
              </a:xfrm>
              <a:prstGeom prst="line">
                <a:avLst/>
              </a:prstGeom>
              <a:ln w="38100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接连接符 28"/>
              <p:cNvCxnSpPr>
                <a:stCxn id="42" idx="5"/>
                <a:endCxn id="58" idx="1"/>
              </p:cNvCxnSpPr>
              <p:nvPr/>
            </p:nvCxnSpPr>
            <p:spPr>
              <a:xfrm>
                <a:off x="3754137" y="3915765"/>
                <a:ext cx="778493" cy="332699"/>
              </a:xfrm>
              <a:prstGeom prst="line">
                <a:avLst/>
              </a:prstGeom>
              <a:ln w="19050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直接连接符 29"/>
              <p:cNvCxnSpPr>
                <a:stCxn id="53" idx="6"/>
                <a:endCxn id="47" idx="2"/>
              </p:cNvCxnSpPr>
              <p:nvPr/>
            </p:nvCxnSpPr>
            <p:spPr>
              <a:xfrm flipV="1">
                <a:off x="5842695" y="2098267"/>
                <a:ext cx="234965" cy="90766"/>
              </a:xfrm>
              <a:prstGeom prst="line">
                <a:avLst/>
              </a:prstGeom>
              <a:ln w="28575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直接连接符 30"/>
              <p:cNvCxnSpPr/>
              <p:nvPr/>
            </p:nvCxnSpPr>
            <p:spPr>
              <a:xfrm flipH="1">
                <a:off x="5054351" y="3864775"/>
                <a:ext cx="156183" cy="180815"/>
              </a:xfrm>
              <a:prstGeom prst="line">
                <a:avLst/>
              </a:prstGeom>
              <a:ln w="28575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接连接符 31"/>
              <p:cNvCxnSpPr>
                <a:stCxn id="46" idx="4"/>
                <a:endCxn id="51" idx="0"/>
              </p:cNvCxnSpPr>
              <p:nvPr/>
            </p:nvCxnSpPr>
            <p:spPr>
              <a:xfrm>
                <a:off x="3778251" y="1203865"/>
                <a:ext cx="17563" cy="383469"/>
              </a:xfrm>
              <a:prstGeom prst="line">
                <a:avLst/>
              </a:prstGeom>
              <a:ln w="28575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直接连接符 32"/>
              <p:cNvCxnSpPr>
                <a:stCxn id="46" idx="6"/>
                <a:endCxn id="40" idx="2"/>
              </p:cNvCxnSpPr>
              <p:nvPr/>
            </p:nvCxnSpPr>
            <p:spPr>
              <a:xfrm>
                <a:off x="3922251" y="1059865"/>
                <a:ext cx="447282" cy="71410"/>
              </a:xfrm>
              <a:prstGeom prst="line">
                <a:avLst/>
              </a:prstGeom>
              <a:ln w="19050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直接连接符 33"/>
              <p:cNvCxnSpPr/>
              <p:nvPr/>
            </p:nvCxnSpPr>
            <p:spPr>
              <a:xfrm flipV="1">
                <a:off x="4676812" y="947176"/>
                <a:ext cx="317722" cy="112406"/>
              </a:xfrm>
              <a:prstGeom prst="line">
                <a:avLst/>
              </a:prstGeom>
              <a:ln w="19050">
                <a:solidFill>
                  <a:srgbClr val="197B8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椭圆 34"/>
              <p:cNvSpPr/>
              <p:nvPr/>
            </p:nvSpPr>
            <p:spPr>
              <a:xfrm>
                <a:off x="4570413" y="1463675"/>
                <a:ext cx="497683" cy="49768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6" name="椭圆 35"/>
              <p:cNvSpPr/>
              <p:nvPr/>
            </p:nvSpPr>
            <p:spPr>
              <a:xfrm>
                <a:off x="5021123" y="2725339"/>
                <a:ext cx="497683" cy="497683"/>
              </a:xfrm>
              <a:prstGeom prst="ellipse">
                <a:avLst/>
              </a:prstGeom>
              <a:solidFill>
                <a:srgbClr val="A2B93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7" name="椭圆 36"/>
              <p:cNvSpPr/>
              <p:nvPr/>
            </p:nvSpPr>
            <p:spPr>
              <a:xfrm>
                <a:off x="3446858" y="2584787"/>
                <a:ext cx="497683" cy="497683"/>
              </a:xfrm>
              <a:prstGeom prst="ellipse">
                <a:avLst/>
              </a:prstGeom>
              <a:solidFill>
                <a:srgbClr val="EBAC0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8" name="椭圆 37"/>
              <p:cNvSpPr/>
              <p:nvPr/>
            </p:nvSpPr>
            <p:spPr>
              <a:xfrm>
                <a:off x="5269964" y="1152088"/>
                <a:ext cx="432000" cy="432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9" name="椭圆 38"/>
              <p:cNvSpPr/>
              <p:nvPr/>
            </p:nvSpPr>
            <p:spPr>
              <a:xfrm>
                <a:off x="6031636" y="2750942"/>
                <a:ext cx="360000" cy="360000"/>
              </a:xfrm>
              <a:prstGeom prst="ellipse">
                <a:avLst/>
              </a:prstGeom>
              <a:solidFill>
                <a:srgbClr val="EBAC0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0" name="椭圆 39"/>
              <p:cNvSpPr/>
              <p:nvPr/>
            </p:nvSpPr>
            <p:spPr>
              <a:xfrm>
                <a:off x="4369533" y="951275"/>
                <a:ext cx="360000" cy="360000"/>
              </a:xfrm>
              <a:prstGeom prst="ellipse">
                <a:avLst/>
              </a:prstGeom>
              <a:solidFill>
                <a:srgbClr val="F8300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1" name="椭圆 40"/>
              <p:cNvSpPr/>
              <p:nvPr/>
            </p:nvSpPr>
            <p:spPr>
              <a:xfrm>
                <a:off x="5677263" y="3485591"/>
                <a:ext cx="360000" cy="36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2" name="椭圆 41"/>
              <p:cNvSpPr/>
              <p:nvPr/>
            </p:nvSpPr>
            <p:spPr>
              <a:xfrm>
                <a:off x="3446858" y="3608486"/>
                <a:ext cx="360000" cy="36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椭圆 42"/>
              <p:cNvSpPr/>
              <p:nvPr/>
            </p:nvSpPr>
            <p:spPr>
              <a:xfrm>
                <a:off x="5066534" y="3628764"/>
                <a:ext cx="288000" cy="288000"/>
              </a:xfrm>
              <a:prstGeom prst="ellipse">
                <a:avLst/>
              </a:prstGeom>
              <a:solidFill>
                <a:srgbClr val="EBAC0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椭圆 43"/>
              <p:cNvSpPr/>
              <p:nvPr/>
            </p:nvSpPr>
            <p:spPr>
              <a:xfrm>
                <a:off x="2976941" y="3279427"/>
                <a:ext cx="288000" cy="288000"/>
              </a:xfrm>
              <a:prstGeom prst="ellipse">
                <a:avLst/>
              </a:prstGeom>
              <a:solidFill>
                <a:srgbClr val="A2B93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5" name="椭圆 44"/>
              <p:cNvSpPr/>
              <p:nvPr/>
            </p:nvSpPr>
            <p:spPr>
              <a:xfrm>
                <a:off x="3029763" y="2209097"/>
                <a:ext cx="288000" cy="288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椭圆 45"/>
              <p:cNvSpPr/>
              <p:nvPr/>
            </p:nvSpPr>
            <p:spPr>
              <a:xfrm>
                <a:off x="3634251" y="915865"/>
                <a:ext cx="288000" cy="288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椭圆 46"/>
              <p:cNvSpPr/>
              <p:nvPr/>
            </p:nvSpPr>
            <p:spPr>
              <a:xfrm>
                <a:off x="6077660" y="1918267"/>
                <a:ext cx="360000" cy="360000"/>
              </a:xfrm>
              <a:prstGeom prst="ellipse">
                <a:avLst/>
              </a:prstGeom>
              <a:noFill/>
              <a:ln>
                <a:solidFill>
                  <a:srgbClr val="197B8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8" name="椭圆 47"/>
              <p:cNvSpPr/>
              <p:nvPr/>
            </p:nvSpPr>
            <p:spPr>
              <a:xfrm>
                <a:off x="2746369" y="2665655"/>
                <a:ext cx="324000" cy="324000"/>
              </a:xfrm>
              <a:prstGeom prst="ellipse">
                <a:avLst/>
              </a:prstGeom>
              <a:noFill/>
              <a:ln>
                <a:solidFill>
                  <a:srgbClr val="197B8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9" name="椭圆 48"/>
              <p:cNvSpPr/>
              <p:nvPr/>
            </p:nvSpPr>
            <p:spPr>
              <a:xfrm>
                <a:off x="4843463" y="4025032"/>
                <a:ext cx="324000" cy="324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197B8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0" name="椭圆 49"/>
              <p:cNvSpPr/>
              <p:nvPr/>
            </p:nvSpPr>
            <p:spPr>
              <a:xfrm>
                <a:off x="4163220" y="2164974"/>
                <a:ext cx="765968" cy="765968"/>
              </a:xfrm>
              <a:prstGeom prst="ellipse">
                <a:avLst/>
              </a:prstGeom>
              <a:solidFill>
                <a:srgbClr val="F8300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1" name="椭圆 50"/>
              <p:cNvSpPr/>
              <p:nvPr/>
            </p:nvSpPr>
            <p:spPr>
              <a:xfrm>
                <a:off x="3479733" y="1587334"/>
                <a:ext cx="632161" cy="632161"/>
              </a:xfrm>
              <a:prstGeom prst="ellipse">
                <a:avLst/>
              </a:prstGeom>
              <a:noFill/>
              <a:ln w="76200">
                <a:solidFill>
                  <a:srgbClr val="22A6B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2" name="椭圆 51"/>
              <p:cNvSpPr/>
              <p:nvPr/>
            </p:nvSpPr>
            <p:spPr>
              <a:xfrm>
                <a:off x="4071602" y="3251347"/>
                <a:ext cx="632161" cy="632161"/>
              </a:xfrm>
              <a:prstGeom prst="ellipse">
                <a:avLst/>
              </a:prstGeom>
              <a:noFill/>
              <a:ln w="76200">
                <a:solidFill>
                  <a:srgbClr val="22A6B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3" name="椭圆 52"/>
              <p:cNvSpPr/>
              <p:nvPr/>
            </p:nvSpPr>
            <p:spPr>
              <a:xfrm>
                <a:off x="5210534" y="1872952"/>
                <a:ext cx="632161" cy="632161"/>
              </a:xfrm>
              <a:prstGeom prst="ellipse">
                <a:avLst/>
              </a:prstGeom>
              <a:noFill/>
              <a:ln w="76200">
                <a:solidFill>
                  <a:srgbClr val="A2B93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4" name="椭圆 53"/>
              <p:cNvSpPr/>
              <p:nvPr/>
            </p:nvSpPr>
            <p:spPr>
              <a:xfrm>
                <a:off x="4994534" y="783590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5" name="椭圆 54"/>
              <p:cNvSpPr/>
              <p:nvPr/>
            </p:nvSpPr>
            <p:spPr>
              <a:xfrm>
                <a:off x="2968080" y="1508005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6" name="椭圆 55"/>
              <p:cNvSpPr/>
              <p:nvPr/>
            </p:nvSpPr>
            <p:spPr>
              <a:xfrm>
                <a:off x="5713263" y="2714023"/>
                <a:ext cx="144000" cy="144000"/>
              </a:xfrm>
              <a:prstGeom prst="ellipse">
                <a:avLst/>
              </a:prstGeom>
              <a:solidFill>
                <a:srgbClr val="1E93A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椭圆 56"/>
              <p:cNvSpPr/>
              <p:nvPr/>
            </p:nvSpPr>
            <p:spPr>
              <a:xfrm>
                <a:off x="5777177" y="3083955"/>
                <a:ext cx="144000" cy="144000"/>
              </a:xfrm>
              <a:prstGeom prst="ellipse">
                <a:avLst/>
              </a:prstGeom>
              <a:solidFill>
                <a:srgbClr val="1E93A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椭圆 57"/>
              <p:cNvSpPr/>
              <p:nvPr/>
            </p:nvSpPr>
            <p:spPr>
              <a:xfrm>
                <a:off x="4511542" y="4227376"/>
                <a:ext cx="144000" cy="144000"/>
              </a:xfrm>
              <a:prstGeom prst="ellipse">
                <a:avLst/>
              </a:prstGeom>
              <a:solidFill>
                <a:srgbClr val="1E93A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8" name="矩形 1"/>
            <p:cNvSpPr>
              <a:spLocks noChangeArrowheads="1"/>
            </p:cNvSpPr>
            <p:nvPr/>
          </p:nvSpPr>
          <p:spPr bwMode="auto">
            <a:xfrm>
              <a:off x="570663" y="4471320"/>
              <a:ext cx="5270860" cy="21544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专业的团队，完善的售后，热情的服务，科学严谨的逻辑，一丝不苟的工作态度，定能使您的发展如虎添翼！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除了模板的发布与定制，我们还为您准备了使用教程，希望能够能够更好的使用该作品，授人以鱼不如授人以渔，希望您在下班之余，能够和我们一起进步，共同感受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巨大魅力与价值。我们诚祝您在工作中事事顺心，步步高升！最后让我们谨记：最重要的不是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是你。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zh-CN" altLang="en-US" sz="1400" dirty="0"/>
            </a:p>
          </p:txBody>
        </p:sp>
        <p:pic>
          <p:nvPicPr>
            <p:cNvPr id="9" name="图片 8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8000"/>
            <a:stretch>
              <a:fillRect/>
            </a:stretch>
          </p:blipFill>
          <p:spPr>
            <a:xfrm>
              <a:off x="570663" y="1068548"/>
              <a:ext cx="5270860" cy="3224881"/>
            </a:xfrm>
            <a:prstGeom prst="rect">
              <a:avLst/>
            </a:prstGeom>
          </p:spPr>
        </p:pic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767410" y="1375437"/>
            <a:ext cx="9953722" cy="5484861"/>
            <a:chOff x="767410" y="1375437"/>
            <a:chExt cx="9953722" cy="5484861"/>
          </a:xfrm>
        </p:grpSpPr>
        <p:sp>
          <p:nvSpPr>
            <p:cNvPr id="7" name="圆角矩形 6"/>
            <p:cNvSpPr/>
            <p:nvPr/>
          </p:nvSpPr>
          <p:spPr>
            <a:xfrm>
              <a:off x="3673474" y="1375437"/>
              <a:ext cx="1296144" cy="1296144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" name="圆角矩形 7"/>
            <p:cNvSpPr/>
            <p:nvPr/>
          </p:nvSpPr>
          <p:spPr>
            <a:xfrm>
              <a:off x="5116272" y="2815597"/>
              <a:ext cx="1296144" cy="1296144"/>
            </a:xfrm>
            <a:prstGeom prst="roundRect">
              <a:avLst/>
            </a:prstGeom>
            <a:solidFill>
              <a:srgbClr val="01B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" name="圆角矩形 8"/>
            <p:cNvSpPr/>
            <p:nvPr/>
          </p:nvSpPr>
          <p:spPr>
            <a:xfrm>
              <a:off x="9424988" y="1375437"/>
              <a:ext cx="1296144" cy="1296144"/>
            </a:xfrm>
            <a:prstGeom prst="roundRect">
              <a:avLst/>
            </a:prstGeom>
            <a:solidFill>
              <a:srgbClr val="F0E7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" name="圆角矩形 9"/>
            <p:cNvSpPr/>
            <p:nvPr/>
          </p:nvSpPr>
          <p:spPr>
            <a:xfrm>
              <a:off x="7984828" y="2815597"/>
              <a:ext cx="1296144" cy="1296144"/>
            </a:xfrm>
            <a:prstGeom prst="roundRect">
              <a:avLst/>
            </a:prstGeom>
            <a:solidFill>
              <a:srgbClr val="1423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pic>
          <p:nvPicPr>
            <p:cNvPr id="11" name="图片 10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853" t="-1" b="-3"/>
            <a:stretch>
              <a:fillRect/>
            </a:stretch>
          </p:blipFill>
          <p:spPr>
            <a:xfrm>
              <a:off x="3660899" y="2815597"/>
              <a:ext cx="1307030" cy="1296144"/>
            </a:xfrm>
            <a:prstGeom prst="roundRect">
              <a:avLst/>
            </a:prstGeom>
          </p:spPr>
        </p:pic>
        <p:pic>
          <p:nvPicPr>
            <p:cNvPr id="12" name="图片 1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668"/>
            <a:stretch>
              <a:fillRect/>
            </a:stretch>
          </p:blipFill>
          <p:spPr>
            <a:xfrm>
              <a:off x="5106063" y="1375437"/>
              <a:ext cx="1302026" cy="1296144"/>
            </a:xfrm>
            <a:prstGeom prst="roundRect">
              <a:avLst/>
            </a:prstGeom>
          </p:spPr>
        </p:pic>
        <p:sp>
          <p:nvSpPr>
            <p:cNvPr id="13" name="圆角矩形 12"/>
            <p:cNvSpPr/>
            <p:nvPr/>
          </p:nvSpPr>
          <p:spPr>
            <a:xfrm>
              <a:off x="7984828" y="1375437"/>
              <a:ext cx="1296144" cy="1296144"/>
            </a:xfrm>
            <a:prstGeom prst="roundRect">
              <a:avLst/>
            </a:prstGeom>
            <a:solidFill>
              <a:srgbClr val="FF3B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pic>
          <p:nvPicPr>
            <p:cNvPr id="14" name="图片 13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7539"/>
            <a:stretch>
              <a:fillRect/>
            </a:stretch>
          </p:blipFill>
          <p:spPr>
            <a:xfrm>
              <a:off x="9419106" y="2815597"/>
              <a:ext cx="1302026" cy="1296144"/>
            </a:xfrm>
            <a:prstGeom prst="roundRect">
              <a:avLst/>
            </a:prstGeom>
          </p:spPr>
        </p:pic>
        <p:sp>
          <p:nvSpPr>
            <p:cNvPr id="15" name="圆角矩形 14"/>
            <p:cNvSpPr/>
            <p:nvPr/>
          </p:nvSpPr>
          <p:spPr>
            <a:xfrm>
              <a:off x="6550550" y="2815597"/>
              <a:ext cx="1296144" cy="1296144"/>
            </a:xfrm>
            <a:prstGeom prst="roundRect">
              <a:avLst/>
            </a:prstGeom>
            <a:solidFill>
              <a:srgbClr val="F0E7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pic>
          <p:nvPicPr>
            <p:cNvPr id="16" name="图片 15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319"/>
            <a:stretch>
              <a:fillRect/>
            </a:stretch>
          </p:blipFill>
          <p:spPr>
            <a:xfrm>
              <a:off x="6552241" y="1375437"/>
              <a:ext cx="1307908" cy="1296144"/>
            </a:xfrm>
            <a:prstGeom prst="roundRect">
              <a:avLst/>
            </a:prstGeom>
          </p:spPr>
        </p:pic>
        <p:sp>
          <p:nvSpPr>
            <p:cNvPr id="17" name="圆角矩形 16"/>
            <p:cNvSpPr/>
            <p:nvPr/>
          </p:nvSpPr>
          <p:spPr>
            <a:xfrm>
              <a:off x="9424988" y="4255757"/>
              <a:ext cx="1296144" cy="1296144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8" name="五边形 17"/>
            <p:cNvSpPr/>
            <p:nvPr/>
          </p:nvSpPr>
          <p:spPr>
            <a:xfrm rot="16200000">
              <a:off x="1092595" y="5385284"/>
              <a:ext cx="1149829" cy="1800200"/>
            </a:xfrm>
            <a:prstGeom prst="homePlate">
              <a:avLst>
                <a:gd name="adj" fmla="val 37270"/>
              </a:avLst>
            </a:prstGeom>
            <a:solidFill>
              <a:srgbClr val="F0E7CA"/>
            </a:solidFill>
            <a:ln>
              <a:solidFill>
                <a:srgbClr val="F0E7C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9" name="矩形 1"/>
            <p:cNvSpPr>
              <a:spLocks noChangeArrowheads="1"/>
            </p:cNvSpPr>
            <p:nvPr/>
          </p:nvSpPr>
          <p:spPr bwMode="auto">
            <a:xfrm>
              <a:off x="3647728" y="4471781"/>
              <a:ext cx="5674028" cy="17543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just"/>
              <a:r>
                <a:rPr lang="zh-CN" altLang="en-US" sz="12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最专业的</a:t>
              </a:r>
              <a:r>
                <a:rPr lang="en-US" altLang="zh-CN" sz="12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供应商、最专业的</a:t>
              </a:r>
              <a:r>
                <a:rPr lang="en-US" altLang="zh-CN" sz="12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定制服务、作品方便修改，一模板多用、所有版面均为手绘</a:t>
              </a:r>
              <a:r>
                <a: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、</a:t>
              </a:r>
              <a:r>
                <a:rPr lang="zh-CN" altLang="en-US" sz="12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能为您分担工作压力、助力职场是我们工作室的荣幸</a:t>
              </a:r>
              <a:endParaRPr lang="en-US" altLang="zh-CN" sz="1200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just"/>
              <a:endPara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just"/>
              <a:r>
                <a: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最专业的</a:t>
              </a:r>
              <a:r>
                <a:rPr lang="en-US" altLang="zh-CN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供应商、最专业的</a:t>
              </a:r>
              <a:r>
                <a:rPr lang="en-US" altLang="zh-CN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定制服务、作品方便修改，一模板多用、所有版面均为手绘、能为您分担工作压力、助力职场是我们工作室的荣幸</a:t>
              </a:r>
              <a:endPara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just"/>
              <a:endPara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just"/>
              <a:endParaRPr lang="en-US" altLang="zh-CN" sz="1200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just"/>
              <a:endParaRPr lang="en-US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just"/>
              <a:endParaRPr lang="zh-CN" altLang="zh-CN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矩形 19"/>
            <p:cNvSpPr/>
            <p:nvPr/>
          </p:nvSpPr>
          <p:spPr>
            <a:xfrm>
              <a:off x="839417" y="6224534"/>
              <a:ext cx="1656183" cy="620688"/>
            </a:xfrm>
            <a:prstGeom prst="rect">
              <a:avLst/>
            </a:prstGeom>
            <a:solidFill>
              <a:srgbClr val="1423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1" name="文本框 20"/>
            <p:cNvSpPr txBox="1"/>
            <p:nvPr/>
          </p:nvSpPr>
          <p:spPr>
            <a:xfrm>
              <a:off x="1199456" y="6365218"/>
              <a:ext cx="108012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关键字</a:t>
              </a:r>
              <a:endParaRPr lang="zh-CN" altLang="en-US" sz="20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832302" y="2132856"/>
            <a:ext cx="10657184" cy="3400522"/>
            <a:chOff x="832302" y="2132856"/>
            <a:chExt cx="10657184" cy="3400522"/>
          </a:xfrm>
        </p:grpSpPr>
        <p:sp>
          <p:nvSpPr>
            <p:cNvPr id="7" name="Freeform 112"/>
            <p:cNvSpPr/>
            <p:nvPr/>
          </p:nvSpPr>
          <p:spPr bwMode="auto">
            <a:xfrm>
              <a:off x="4730859" y="2485303"/>
              <a:ext cx="386875" cy="821566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FF3B7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" name="Oval 113"/>
            <p:cNvSpPr>
              <a:spLocks noChangeArrowheads="1"/>
            </p:cNvSpPr>
            <p:nvPr/>
          </p:nvSpPr>
          <p:spPr bwMode="auto">
            <a:xfrm>
              <a:off x="4843879" y="2324467"/>
              <a:ext cx="149969" cy="152142"/>
            </a:xfrm>
            <a:prstGeom prst="ellipse">
              <a:avLst/>
            </a:prstGeom>
            <a:solidFill>
              <a:srgbClr val="FF3B7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" name="Freeform 114"/>
            <p:cNvSpPr/>
            <p:nvPr/>
          </p:nvSpPr>
          <p:spPr bwMode="auto">
            <a:xfrm>
              <a:off x="5182938" y="2485303"/>
              <a:ext cx="386875" cy="821566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3B7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" name="Oval 115"/>
            <p:cNvSpPr>
              <a:spLocks noChangeArrowheads="1"/>
            </p:cNvSpPr>
            <p:nvPr/>
          </p:nvSpPr>
          <p:spPr bwMode="auto">
            <a:xfrm>
              <a:off x="5306826" y="2324467"/>
              <a:ext cx="149969" cy="152142"/>
            </a:xfrm>
            <a:prstGeom prst="ellipse">
              <a:avLst/>
            </a:prstGeom>
            <a:solidFill>
              <a:srgbClr val="FF3B7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" name="Freeform 116"/>
            <p:cNvSpPr/>
            <p:nvPr/>
          </p:nvSpPr>
          <p:spPr bwMode="auto">
            <a:xfrm>
              <a:off x="5645885" y="2485303"/>
              <a:ext cx="386875" cy="821566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FF3B7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" name="Oval 117"/>
            <p:cNvSpPr>
              <a:spLocks noChangeArrowheads="1"/>
            </p:cNvSpPr>
            <p:nvPr/>
          </p:nvSpPr>
          <p:spPr bwMode="auto">
            <a:xfrm>
              <a:off x="5767598" y="2324467"/>
              <a:ext cx="152142" cy="152142"/>
            </a:xfrm>
            <a:prstGeom prst="ellipse">
              <a:avLst/>
            </a:prstGeom>
            <a:solidFill>
              <a:srgbClr val="FF3B7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118"/>
            <p:cNvSpPr/>
            <p:nvPr/>
          </p:nvSpPr>
          <p:spPr bwMode="auto">
            <a:xfrm>
              <a:off x="3794101" y="2485303"/>
              <a:ext cx="389049" cy="821566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FF3B77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4" name="Oval 119"/>
            <p:cNvSpPr>
              <a:spLocks noChangeArrowheads="1"/>
            </p:cNvSpPr>
            <p:nvPr/>
          </p:nvSpPr>
          <p:spPr bwMode="auto">
            <a:xfrm>
              <a:off x="3909293" y="2324467"/>
              <a:ext cx="158663" cy="152142"/>
            </a:xfrm>
            <a:prstGeom prst="ellipse">
              <a:avLst/>
            </a:prstGeom>
            <a:solidFill>
              <a:srgbClr val="FF3B77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5" name="Freeform 120"/>
            <p:cNvSpPr/>
            <p:nvPr/>
          </p:nvSpPr>
          <p:spPr bwMode="auto">
            <a:xfrm>
              <a:off x="4257046" y="2485303"/>
              <a:ext cx="386875" cy="821566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FF3B77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6" name="Oval 121"/>
            <p:cNvSpPr>
              <a:spLocks noChangeArrowheads="1"/>
            </p:cNvSpPr>
            <p:nvPr/>
          </p:nvSpPr>
          <p:spPr bwMode="auto">
            <a:xfrm>
              <a:off x="4370066" y="2324467"/>
              <a:ext cx="160836" cy="152142"/>
            </a:xfrm>
            <a:prstGeom prst="ellipse">
              <a:avLst/>
            </a:prstGeom>
            <a:solidFill>
              <a:srgbClr val="FF3B77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122"/>
            <p:cNvSpPr/>
            <p:nvPr/>
          </p:nvSpPr>
          <p:spPr bwMode="auto">
            <a:xfrm>
              <a:off x="7023855" y="2485303"/>
              <a:ext cx="386875" cy="821566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01B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8" name="Oval 123"/>
            <p:cNvSpPr>
              <a:spLocks noChangeArrowheads="1"/>
            </p:cNvSpPr>
            <p:nvPr/>
          </p:nvSpPr>
          <p:spPr bwMode="auto">
            <a:xfrm>
              <a:off x="7136875" y="2324467"/>
              <a:ext cx="160836" cy="152142"/>
            </a:xfrm>
            <a:prstGeom prst="ellipse">
              <a:avLst/>
            </a:prstGeom>
            <a:solidFill>
              <a:srgbClr val="01B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124"/>
            <p:cNvSpPr/>
            <p:nvPr/>
          </p:nvSpPr>
          <p:spPr bwMode="auto">
            <a:xfrm>
              <a:off x="7486801" y="2485303"/>
              <a:ext cx="386875" cy="821566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01B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0" name="Oval 125"/>
            <p:cNvSpPr>
              <a:spLocks noChangeArrowheads="1"/>
            </p:cNvSpPr>
            <p:nvPr/>
          </p:nvSpPr>
          <p:spPr bwMode="auto">
            <a:xfrm>
              <a:off x="7599820" y="2324467"/>
              <a:ext cx="160836" cy="152142"/>
            </a:xfrm>
            <a:prstGeom prst="ellipse">
              <a:avLst/>
            </a:prstGeom>
            <a:solidFill>
              <a:srgbClr val="01B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126"/>
            <p:cNvSpPr/>
            <p:nvPr/>
          </p:nvSpPr>
          <p:spPr bwMode="auto">
            <a:xfrm>
              <a:off x="7949747" y="2485303"/>
              <a:ext cx="386875" cy="821566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4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01B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2" name="Oval 127"/>
            <p:cNvSpPr>
              <a:spLocks noChangeArrowheads="1"/>
            </p:cNvSpPr>
            <p:nvPr/>
          </p:nvSpPr>
          <p:spPr bwMode="auto">
            <a:xfrm>
              <a:off x="8062767" y="2324467"/>
              <a:ext cx="149969" cy="152142"/>
            </a:xfrm>
            <a:prstGeom prst="ellipse">
              <a:avLst/>
            </a:prstGeom>
            <a:solidFill>
              <a:srgbClr val="01B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3" name="Freeform 128"/>
            <p:cNvSpPr/>
            <p:nvPr/>
          </p:nvSpPr>
          <p:spPr bwMode="auto">
            <a:xfrm>
              <a:off x="6097963" y="2485303"/>
              <a:ext cx="389049" cy="821566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FF3B7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4" name="Oval 129"/>
            <p:cNvSpPr>
              <a:spLocks noChangeArrowheads="1"/>
            </p:cNvSpPr>
            <p:nvPr/>
          </p:nvSpPr>
          <p:spPr bwMode="auto">
            <a:xfrm>
              <a:off x="6213156" y="2324467"/>
              <a:ext cx="149969" cy="152142"/>
            </a:xfrm>
            <a:prstGeom prst="ellipse">
              <a:avLst/>
            </a:prstGeom>
            <a:solidFill>
              <a:srgbClr val="FF3B7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5" name="Freeform 130"/>
            <p:cNvSpPr/>
            <p:nvPr/>
          </p:nvSpPr>
          <p:spPr bwMode="auto">
            <a:xfrm>
              <a:off x="6552215" y="2485303"/>
              <a:ext cx="386875" cy="821566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3B7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6" name="Oval 131"/>
            <p:cNvSpPr>
              <a:spLocks noChangeArrowheads="1"/>
            </p:cNvSpPr>
            <p:nvPr/>
          </p:nvSpPr>
          <p:spPr bwMode="auto">
            <a:xfrm>
              <a:off x="6673928" y="2324467"/>
              <a:ext cx="152142" cy="152142"/>
            </a:xfrm>
            <a:prstGeom prst="ellipse">
              <a:avLst/>
            </a:prstGeom>
            <a:solidFill>
              <a:srgbClr val="FF3B7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7" name="Freeform 132"/>
            <p:cNvSpPr/>
            <p:nvPr/>
          </p:nvSpPr>
          <p:spPr bwMode="auto">
            <a:xfrm>
              <a:off x="9327718" y="2485303"/>
              <a:ext cx="386875" cy="821566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1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8" name="Oval 133"/>
            <p:cNvSpPr>
              <a:spLocks noChangeArrowheads="1"/>
            </p:cNvSpPr>
            <p:nvPr/>
          </p:nvSpPr>
          <p:spPr bwMode="auto">
            <a:xfrm>
              <a:off x="9440738" y="2324467"/>
              <a:ext cx="152142" cy="15214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9" name="Freeform 134"/>
            <p:cNvSpPr/>
            <p:nvPr/>
          </p:nvSpPr>
          <p:spPr bwMode="auto">
            <a:xfrm>
              <a:off x="9781969" y="2485303"/>
              <a:ext cx="386875" cy="821566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0" name="Oval 135"/>
            <p:cNvSpPr>
              <a:spLocks noChangeArrowheads="1"/>
            </p:cNvSpPr>
            <p:nvPr/>
          </p:nvSpPr>
          <p:spPr bwMode="auto">
            <a:xfrm>
              <a:off x="9903683" y="2324467"/>
              <a:ext cx="152142" cy="15214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1" name="Freeform 136"/>
            <p:cNvSpPr/>
            <p:nvPr/>
          </p:nvSpPr>
          <p:spPr bwMode="auto">
            <a:xfrm>
              <a:off x="10242742" y="2485303"/>
              <a:ext cx="386875" cy="821566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2" name="Oval 137"/>
            <p:cNvSpPr>
              <a:spLocks noChangeArrowheads="1"/>
            </p:cNvSpPr>
            <p:nvPr/>
          </p:nvSpPr>
          <p:spPr bwMode="auto">
            <a:xfrm>
              <a:off x="10366629" y="2324467"/>
              <a:ext cx="149969" cy="15214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138"/>
            <p:cNvSpPr/>
            <p:nvPr/>
          </p:nvSpPr>
          <p:spPr bwMode="auto">
            <a:xfrm>
              <a:off x="8393132" y="2485303"/>
              <a:ext cx="386875" cy="821566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4" name="Oval 139"/>
            <p:cNvSpPr>
              <a:spLocks noChangeArrowheads="1"/>
            </p:cNvSpPr>
            <p:nvPr/>
          </p:nvSpPr>
          <p:spPr bwMode="auto">
            <a:xfrm>
              <a:off x="8506152" y="2324467"/>
              <a:ext cx="160836" cy="15214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5" name="Freeform 140"/>
            <p:cNvSpPr/>
            <p:nvPr/>
          </p:nvSpPr>
          <p:spPr bwMode="auto">
            <a:xfrm>
              <a:off x="8856077" y="2485303"/>
              <a:ext cx="386875" cy="821566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6" name="Oval 141"/>
            <p:cNvSpPr>
              <a:spLocks noChangeArrowheads="1"/>
            </p:cNvSpPr>
            <p:nvPr/>
          </p:nvSpPr>
          <p:spPr bwMode="auto">
            <a:xfrm>
              <a:off x="8969097" y="2324467"/>
              <a:ext cx="160836" cy="152142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7" name="Freeform 142"/>
            <p:cNvSpPr/>
            <p:nvPr/>
          </p:nvSpPr>
          <p:spPr bwMode="auto">
            <a:xfrm>
              <a:off x="4730859" y="4095189"/>
              <a:ext cx="386875" cy="821566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8" name="Oval 143"/>
            <p:cNvSpPr>
              <a:spLocks noChangeArrowheads="1"/>
            </p:cNvSpPr>
            <p:nvPr/>
          </p:nvSpPr>
          <p:spPr bwMode="auto">
            <a:xfrm>
              <a:off x="4843879" y="3934353"/>
              <a:ext cx="149969" cy="14996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9" name="Freeform 144"/>
            <p:cNvSpPr/>
            <p:nvPr/>
          </p:nvSpPr>
          <p:spPr bwMode="auto">
            <a:xfrm>
              <a:off x="5182938" y="4095189"/>
              <a:ext cx="386875" cy="821566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0" name="Oval 145"/>
            <p:cNvSpPr>
              <a:spLocks noChangeArrowheads="1"/>
            </p:cNvSpPr>
            <p:nvPr/>
          </p:nvSpPr>
          <p:spPr bwMode="auto">
            <a:xfrm>
              <a:off x="5306826" y="3934353"/>
              <a:ext cx="149969" cy="14996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1" name="Freeform 146"/>
            <p:cNvSpPr/>
            <p:nvPr/>
          </p:nvSpPr>
          <p:spPr bwMode="auto">
            <a:xfrm>
              <a:off x="5645885" y="4095189"/>
              <a:ext cx="386875" cy="821566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2" name="Oval 147"/>
            <p:cNvSpPr>
              <a:spLocks noChangeArrowheads="1"/>
            </p:cNvSpPr>
            <p:nvPr/>
          </p:nvSpPr>
          <p:spPr bwMode="auto">
            <a:xfrm>
              <a:off x="5767598" y="3934353"/>
              <a:ext cx="152142" cy="14996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3" name="Freeform 148"/>
            <p:cNvSpPr/>
            <p:nvPr/>
          </p:nvSpPr>
          <p:spPr bwMode="auto">
            <a:xfrm>
              <a:off x="3794101" y="4095189"/>
              <a:ext cx="389049" cy="821566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4" name="Oval 149"/>
            <p:cNvSpPr>
              <a:spLocks noChangeArrowheads="1"/>
            </p:cNvSpPr>
            <p:nvPr/>
          </p:nvSpPr>
          <p:spPr bwMode="auto">
            <a:xfrm>
              <a:off x="3909293" y="3934353"/>
              <a:ext cx="158663" cy="14996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5" name="Freeform 150"/>
            <p:cNvSpPr/>
            <p:nvPr/>
          </p:nvSpPr>
          <p:spPr bwMode="auto">
            <a:xfrm>
              <a:off x="4257046" y="4095189"/>
              <a:ext cx="386875" cy="821566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6" name="Oval 151"/>
            <p:cNvSpPr>
              <a:spLocks noChangeArrowheads="1"/>
            </p:cNvSpPr>
            <p:nvPr/>
          </p:nvSpPr>
          <p:spPr bwMode="auto">
            <a:xfrm>
              <a:off x="4370066" y="3934353"/>
              <a:ext cx="160836" cy="14996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7" name="Freeform 152"/>
            <p:cNvSpPr/>
            <p:nvPr/>
          </p:nvSpPr>
          <p:spPr bwMode="auto">
            <a:xfrm>
              <a:off x="7023855" y="4095189"/>
              <a:ext cx="386875" cy="821566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8" name="Oval 153"/>
            <p:cNvSpPr>
              <a:spLocks noChangeArrowheads="1"/>
            </p:cNvSpPr>
            <p:nvPr/>
          </p:nvSpPr>
          <p:spPr bwMode="auto">
            <a:xfrm>
              <a:off x="7136875" y="3934353"/>
              <a:ext cx="160836" cy="14996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9" name="Freeform 154"/>
            <p:cNvSpPr/>
            <p:nvPr/>
          </p:nvSpPr>
          <p:spPr bwMode="auto">
            <a:xfrm>
              <a:off x="7486801" y="4095189"/>
              <a:ext cx="386875" cy="821566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FF780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0" name="Oval 155"/>
            <p:cNvSpPr>
              <a:spLocks noChangeArrowheads="1"/>
            </p:cNvSpPr>
            <p:nvPr/>
          </p:nvSpPr>
          <p:spPr bwMode="auto">
            <a:xfrm>
              <a:off x="7599820" y="3934353"/>
              <a:ext cx="160836" cy="149969"/>
            </a:xfrm>
            <a:prstGeom prst="ellipse">
              <a:avLst/>
            </a:prstGeom>
            <a:solidFill>
              <a:srgbClr val="FF780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1" name="Freeform 156"/>
            <p:cNvSpPr/>
            <p:nvPr/>
          </p:nvSpPr>
          <p:spPr bwMode="auto">
            <a:xfrm>
              <a:off x="7949747" y="4095189"/>
              <a:ext cx="386875" cy="821566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4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FF780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2" name="Oval 157"/>
            <p:cNvSpPr>
              <a:spLocks noChangeArrowheads="1"/>
            </p:cNvSpPr>
            <p:nvPr/>
          </p:nvSpPr>
          <p:spPr bwMode="auto">
            <a:xfrm>
              <a:off x="8062767" y="3934353"/>
              <a:ext cx="149969" cy="149969"/>
            </a:xfrm>
            <a:prstGeom prst="ellipse">
              <a:avLst/>
            </a:prstGeom>
            <a:solidFill>
              <a:srgbClr val="FF780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3" name="Freeform 158"/>
            <p:cNvSpPr/>
            <p:nvPr/>
          </p:nvSpPr>
          <p:spPr bwMode="auto">
            <a:xfrm>
              <a:off x="6097963" y="4095189"/>
              <a:ext cx="389049" cy="821566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4" name="Oval 159"/>
            <p:cNvSpPr>
              <a:spLocks noChangeArrowheads="1"/>
            </p:cNvSpPr>
            <p:nvPr/>
          </p:nvSpPr>
          <p:spPr bwMode="auto">
            <a:xfrm>
              <a:off x="6213156" y="3934353"/>
              <a:ext cx="149969" cy="14996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5" name="Freeform 160"/>
            <p:cNvSpPr/>
            <p:nvPr/>
          </p:nvSpPr>
          <p:spPr bwMode="auto">
            <a:xfrm>
              <a:off x="6552215" y="4095189"/>
              <a:ext cx="386875" cy="821566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6" name="Oval 161"/>
            <p:cNvSpPr>
              <a:spLocks noChangeArrowheads="1"/>
            </p:cNvSpPr>
            <p:nvPr/>
          </p:nvSpPr>
          <p:spPr bwMode="auto">
            <a:xfrm>
              <a:off x="6673928" y="3934353"/>
              <a:ext cx="152142" cy="14996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7" name="Freeform 162"/>
            <p:cNvSpPr/>
            <p:nvPr/>
          </p:nvSpPr>
          <p:spPr bwMode="auto">
            <a:xfrm>
              <a:off x="9327718" y="4095189"/>
              <a:ext cx="386875" cy="821566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1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FF780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8" name="Oval 163"/>
            <p:cNvSpPr>
              <a:spLocks noChangeArrowheads="1"/>
            </p:cNvSpPr>
            <p:nvPr/>
          </p:nvSpPr>
          <p:spPr bwMode="auto">
            <a:xfrm>
              <a:off x="9440738" y="3934353"/>
              <a:ext cx="152142" cy="149969"/>
            </a:xfrm>
            <a:prstGeom prst="ellipse">
              <a:avLst/>
            </a:prstGeom>
            <a:solidFill>
              <a:srgbClr val="FF780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9" name="Freeform 164"/>
            <p:cNvSpPr/>
            <p:nvPr/>
          </p:nvSpPr>
          <p:spPr bwMode="auto">
            <a:xfrm>
              <a:off x="9781969" y="4095189"/>
              <a:ext cx="386875" cy="821566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780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0" name="Oval 165"/>
            <p:cNvSpPr>
              <a:spLocks noChangeArrowheads="1"/>
            </p:cNvSpPr>
            <p:nvPr/>
          </p:nvSpPr>
          <p:spPr bwMode="auto">
            <a:xfrm>
              <a:off x="9903683" y="3934353"/>
              <a:ext cx="152142" cy="149969"/>
            </a:xfrm>
            <a:prstGeom prst="ellipse">
              <a:avLst/>
            </a:prstGeom>
            <a:solidFill>
              <a:srgbClr val="FF780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1" name="Freeform 166"/>
            <p:cNvSpPr/>
            <p:nvPr/>
          </p:nvSpPr>
          <p:spPr bwMode="auto">
            <a:xfrm>
              <a:off x="10242742" y="4095189"/>
              <a:ext cx="386875" cy="821566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FF780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2" name="Oval 167"/>
            <p:cNvSpPr>
              <a:spLocks noChangeArrowheads="1"/>
            </p:cNvSpPr>
            <p:nvPr/>
          </p:nvSpPr>
          <p:spPr bwMode="auto">
            <a:xfrm>
              <a:off x="10366629" y="3934353"/>
              <a:ext cx="149969" cy="149969"/>
            </a:xfrm>
            <a:prstGeom prst="ellipse">
              <a:avLst/>
            </a:prstGeom>
            <a:solidFill>
              <a:srgbClr val="FF780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3" name="Freeform 168"/>
            <p:cNvSpPr/>
            <p:nvPr/>
          </p:nvSpPr>
          <p:spPr bwMode="auto">
            <a:xfrm>
              <a:off x="8393132" y="4095189"/>
              <a:ext cx="386875" cy="821566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FF780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4" name="Oval 169"/>
            <p:cNvSpPr>
              <a:spLocks noChangeArrowheads="1"/>
            </p:cNvSpPr>
            <p:nvPr/>
          </p:nvSpPr>
          <p:spPr bwMode="auto">
            <a:xfrm>
              <a:off x="8506152" y="3934353"/>
              <a:ext cx="160836" cy="149969"/>
            </a:xfrm>
            <a:prstGeom prst="ellipse">
              <a:avLst/>
            </a:prstGeom>
            <a:solidFill>
              <a:srgbClr val="FF780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5" name="Freeform 170"/>
            <p:cNvSpPr/>
            <p:nvPr/>
          </p:nvSpPr>
          <p:spPr bwMode="auto">
            <a:xfrm>
              <a:off x="8856077" y="4095189"/>
              <a:ext cx="386875" cy="821566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FF780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6" name="Oval 171"/>
            <p:cNvSpPr>
              <a:spLocks noChangeArrowheads="1"/>
            </p:cNvSpPr>
            <p:nvPr/>
          </p:nvSpPr>
          <p:spPr bwMode="auto">
            <a:xfrm>
              <a:off x="8969097" y="3934353"/>
              <a:ext cx="160836" cy="149969"/>
            </a:xfrm>
            <a:prstGeom prst="ellipse">
              <a:avLst/>
            </a:prstGeom>
            <a:solidFill>
              <a:srgbClr val="FF780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cxnSp>
          <p:nvCxnSpPr>
            <p:cNvPr id="67" name="直接连接符 66"/>
            <p:cNvCxnSpPr/>
            <p:nvPr/>
          </p:nvCxnSpPr>
          <p:spPr>
            <a:xfrm flipH="1">
              <a:off x="832302" y="3620611"/>
              <a:ext cx="10657184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8" name="组合 67"/>
            <p:cNvGrpSpPr/>
            <p:nvPr/>
          </p:nvGrpSpPr>
          <p:grpSpPr>
            <a:xfrm>
              <a:off x="917666" y="2132856"/>
              <a:ext cx="2353835" cy="1708160"/>
              <a:chOff x="492732" y="1725221"/>
              <a:chExt cx="2353835" cy="1708160"/>
            </a:xfrm>
          </p:grpSpPr>
          <p:pic>
            <p:nvPicPr>
              <p:cNvPr id="87" name="图片 86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492732" y="1829896"/>
                <a:ext cx="432854" cy="432854"/>
              </a:xfrm>
              <a:prstGeom prst="rect">
                <a:avLst/>
              </a:prstGeom>
            </p:spPr>
          </p:pic>
          <p:sp>
            <p:nvSpPr>
              <p:cNvPr id="88" name="矩形 87"/>
              <p:cNvSpPr/>
              <p:nvPr/>
            </p:nvSpPr>
            <p:spPr>
              <a:xfrm>
                <a:off x="1166719" y="1725221"/>
                <a:ext cx="1679848" cy="17081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105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请在这里输入您要的内容</a:t>
                </a:r>
                <a:endParaRPr lang="en-US" altLang="zh-CN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05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请在这里输入您要的内容</a:t>
                </a:r>
                <a:endParaRPr lang="en-US" altLang="zh-CN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05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请在这里输入您要的</a:t>
                </a:r>
                <a:r>
                  <a:rPr lang="zh-CN" altLang="en-US" sz="1050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内容</a:t>
                </a:r>
                <a:endParaRPr lang="en-US" altLang="zh-CN" sz="105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05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请在这里输入您要的内容</a:t>
                </a:r>
                <a:endParaRPr lang="en-US" altLang="zh-CN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05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请在这里输入您要的内容</a:t>
                </a:r>
                <a:endParaRPr lang="en-US" altLang="zh-CN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05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请在这里输入您要的</a:t>
                </a:r>
                <a:r>
                  <a:rPr lang="zh-CN" altLang="en-US" sz="1050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内容</a:t>
                </a:r>
                <a:endParaRPr lang="en-US" altLang="zh-CN" sz="105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05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请在这里输入您要的内容</a:t>
                </a:r>
                <a:endParaRPr lang="en-US" altLang="zh-CN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05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请在这里输入您要的内容</a:t>
                </a:r>
                <a:endParaRPr lang="en-US" altLang="zh-CN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endParaRPr lang="en-US" altLang="zh-CN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endParaRPr lang="en-US" altLang="zh-CN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923392" y="3825218"/>
              <a:ext cx="2348109" cy="1708160"/>
              <a:chOff x="498458" y="3417583"/>
              <a:chExt cx="2348109" cy="1708160"/>
            </a:xfrm>
          </p:grpSpPr>
          <p:pic>
            <p:nvPicPr>
              <p:cNvPr id="85" name="图片 84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98458" y="3559317"/>
                <a:ext cx="451502" cy="451502"/>
              </a:xfrm>
              <a:prstGeom prst="rect">
                <a:avLst/>
              </a:prstGeom>
            </p:spPr>
          </p:pic>
          <p:sp>
            <p:nvSpPr>
              <p:cNvPr id="86" name="矩形 85"/>
              <p:cNvSpPr/>
              <p:nvPr/>
            </p:nvSpPr>
            <p:spPr>
              <a:xfrm>
                <a:off x="1166719" y="3417583"/>
                <a:ext cx="1679848" cy="17081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sz="105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请在这里输入您要的内容</a:t>
                </a:r>
                <a:endParaRPr lang="en-US" altLang="zh-CN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05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请在这里输入您要的内容</a:t>
                </a:r>
                <a:endParaRPr lang="en-US" altLang="zh-CN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05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请在这里输入您要的</a:t>
                </a:r>
                <a:r>
                  <a:rPr lang="zh-CN" altLang="en-US" sz="1050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内容</a:t>
                </a:r>
                <a:endParaRPr lang="en-US" altLang="zh-CN" sz="105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05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请在这里输入您要的内容</a:t>
                </a:r>
                <a:endParaRPr lang="en-US" altLang="zh-CN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05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请在这里输入您要的内容</a:t>
                </a:r>
                <a:endParaRPr lang="en-US" altLang="zh-CN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05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请在这里输入您要的</a:t>
                </a:r>
                <a:r>
                  <a:rPr lang="zh-CN" altLang="en-US" sz="1050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内容</a:t>
                </a:r>
                <a:endParaRPr lang="en-US" altLang="zh-CN" sz="105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05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请在这里输入您要的内容</a:t>
                </a:r>
                <a:endParaRPr lang="en-US" altLang="zh-CN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05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请在这里输入您要的内容</a:t>
                </a:r>
                <a:endParaRPr lang="en-US" altLang="zh-CN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endParaRPr lang="en-US" altLang="zh-CN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endParaRPr lang="en-US" altLang="zh-CN" sz="105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70" name="Freeform 142"/>
            <p:cNvSpPr/>
            <p:nvPr/>
          </p:nvSpPr>
          <p:spPr bwMode="auto">
            <a:xfrm>
              <a:off x="4730859" y="4127788"/>
              <a:ext cx="386875" cy="821566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1" name="Oval 143"/>
            <p:cNvSpPr>
              <a:spLocks noChangeArrowheads="1"/>
            </p:cNvSpPr>
            <p:nvPr/>
          </p:nvSpPr>
          <p:spPr bwMode="auto">
            <a:xfrm>
              <a:off x="4843879" y="3966952"/>
              <a:ext cx="149969" cy="14996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2" name="Freeform 144"/>
            <p:cNvSpPr/>
            <p:nvPr/>
          </p:nvSpPr>
          <p:spPr bwMode="auto">
            <a:xfrm>
              <a:off x="5182938" y="4127788"/>
              <a:ext cx="386875" cy="821566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3" name="Oval 145"/>
            <p:cNvSpPr>
              <a:spLocks noChangeArrowheads="1"/>
            </p:cNvSpPr>
            <p:nvPr/>
          </p:nvSpPr>
          <p:spPr bwMode="auto">
            <a:xfrm>
              <a:off x="5306826" y="3966952"/>
              <a:ext cx="149969" cy="14996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4" name="Freeform 146"/>
            <p:cNvSpPr/>
            <p:nvPr/>
          </p:nvSpPr>
          <p:spPr bwMode="auto">
            <a:xfrm>
              <a:off x="5645885" y="4127788"/>
              <a:ext cx="386875" cy="821566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5" name="Oval 147"/>
            <p:cNvSpPr>
              <a:spLocks noChangeArrowheads="1"/>
            </p:cNvSpPr>
            <p:nvPr/>
          </p:nvSpPr>
          <p:spPr bwMode="auto">
            <a:xfrm>
              <a:off x="5767598" y="3966952"/>
              <a:ext cx="152142" cy="14996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6" name="Freeform 148"/>
            <p:cNvSpPr/>
            <p:nvPr/>
          </p:nvSpPr>
          <p:spPr bwMode="auto">
            <a:xfrm>
              <a:off x="3794101" y="4127788"/>
              <a:ext cx="389049" cy="821566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7" name="Oval 149"/>
            <p:cNvSpPr>
              <a:spLocks noChangeArrowheads="1"/>
            </p:cNvSpPr>
            <p:nvPr/>
          </p:nvSpPr>
          <p:spPr bwMode="auto">
            <a:xfrm>
              <a:off x="3909293" y="3966952"/>
              <a:ext cx="158663" cy="14996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8" name="Freeform 150"/>
            <p:cNvSpPr/>
            <p:nvPr/>
          </p:nvSpPr>
          <p:spPr bwMode="auto">
            <a:xfrm>
              <a:off x="4257046" y="4127788"/>
              <a:ext cx="386875" cy="821566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9" name="Oval 151"/>
            <p:cNvSpPr>
              <a:spLocks noChangeArrowheads="1"/>
            </p:cNvSpPr>
            <p:nvPr/>
          </p:nvSpPr>
          <p:spPr bwMode="auto">
            <a:xfrm>
              <a:off x="4370066" y="3966952"/>
              <a:ext cx="160836" cy="14996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0" name="Oval 153"/>
            <p:cNvSpPr>
              <a:spLocks noChangeArrowheads="1"/>
            </p:cNvSpPr>
            <p:nvPr/>
          </p:nvSpPr>
          <p:spPr bwMode="auto">
            <a:xfrm>
              <a:off x="7136875" y="3966952"/>
              <a:ext cx="160836" cy="14996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1" name="Freeform 158"/>
            <p:cNvSpPr/>
            <p:nvPr/>
          </p:nvSpPr>
          <p:spPr bwMode="auto">
            <a:xfrm>
              <a:off x="6097963" y="4127788"/>
              <a:ext cx="389049" cy="821566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2" name="Oval 159"/>
            <p:cNvSpPr>
              <a:spLocks noChangeArrowheads="1"/>
            </p:cNvSpPr>
            <p:nvPr/>
          </p:nvSpPr>
          <p:spPr bwMode="auto">
            <a:xfrm>
              <a:off x="6213156" y="3966952"/>
              <a:ext cx="149969" cy="14996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3" name="Freeform 160"/>
            <p:cNvSpPr/>
            <p:nvPr/>
          </p:nvSpPr>
          <p:spPr bwMode="auto">
            <a:xfrm>
              <a:off x="6552215" y="4127788"/>
              <a:ext cx="386875" cy="821566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4" name="Oval 161"/>
            <p:cNvSpPr>
              <a:spLocks noChangeArrowheads="1"/>
            </p:cNvSpPr>
            <p:nvPr/>
          </p:nvSpPr>
          <p:spPr bwMode="auto">
            <a:xfrm>
              <a:off x="6673928" y="3966952"/>
              <a:ext cx="152142" cy="14996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864516" y="1664174"/>
            <a:ext cx="10346186" cy="4141656"/>
            <a:chOff x="871273" y="1772816"/>
            <a:chExt cx="10346186" cy="4141656"/>
          </a:xfrm>
        </p:grpSpPr>
        <p:grpSp>
          <p:nvGrpSpPr>
            <p:cNvPr id="7" name="组合 6"/>
            <p:cNvGrpSpPr/>
            <p:nvPr/>
          </p:nvGrpSpPr>
          <p:grpSpPr>
            <a:xfrm>
              <a:off x="871273" y="1772816"/>
              <a:ext cx="10346186" cy="4141656"/>
              <a:chOff x="952388" y="1575173"/>
              <a:chExt cx="10346186" cy="4141656"/>
            </a:xfrm>
          </p:grpSpPr>
          <p:grpSp>
            <p:nvGrpSpPr>
              <p:cNvPr id="9" name="组合 8"/>
              <p:cNvGrpSpPr/>
              <p:nvPr/>
            </p:nvGrpSpPr>
            <p:grpSpPr>
              <a:xfrm>
                <a:off x="952388" y="1575173"/>
                <a:ext cx="10317786" cy="2953378"/>
                <a:chOff x="831622" y="1030288"/>
                <a:chExt cx="7459394" cy="2135188"/>
              </a:xfrm>
            </p:grpSpPr>
            <p:sp>
              <p:nvSpPr>
                <p:cNvPr id="25" name="Rectangle 631"/>
                <p:cNvSpPr>
                  <a:spLocks noChangeArrowheads="1"/>
                </p:cNvSpPr>
                <p:nvPr/>
              </p:nvSpPr>
              <p:spPr bwMode="auto">
                <a:xfrm>
                  <a:off x="887377" y="1030288"/>
                  <a:ext cx="2340000" cy="498475"/>
                </a:xfrm>
                <a:prstGeom prst="rect">
                  <a:avLst/>
                </a:prstGeom>
                <a:solidFill>
                  <a:srgbClr val="7BCBC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" name="Rectangle 632"/>
                <p:cNvSpPr>
                  <a:spLocks noChangeArrowheads="1"/>
                </p:cNvSpPr>
                <p:nvPr/>
              </p:nvSpPr>
              <p:spPr bwMode="auto">
                <a:xfrm>
                  <a:off x="3408824" y="1030288"/>
                  <a:ext cx="2340000" cy="498475"/>
                </a:xfrm>
                <a:prstGeom prst="rect">
                  <a:avLst/>
                </a:prstGeom>
                <a:solidFill>
                  <a:srgbClr val="FF74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" name="Rectangle 633"/>
                <p:cNvSpPr>
                  <a:spLocks noChangeArrowheads="1"/>
                </p:cNvSpPr>
                <p:nvPr/>
              </p:nvSpPr>
              <p:spPr bwMode="auto">
                <a:xfrm>
                  <a:off x="5951016" y="1030288"/>
                  <a:ext cx="2340000" cy="498475"/>
                </a:xfrm>
                <a:prstGeom prst="rect">
                  <a:avLst/>
                </a:prstGeom>
                <a:solidFill>
                  <a:srgbClr val="4C606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" name="Rectangle 634"/>
                <p:cNvSpPr>
                  <a:spLocks noChangeArrowheads="1"/>
                </p:cNvSpPr>
                <p:nvPr/>
              </p:nvSpPr>
              <p:spPr bwMode="auto">
                <a:xfrm>
                  <a:off x="887377" y="2665413"/>
                  <a:ext cx="2340000" cy="500063"/>
                </a:xfrm>
                <a:prstGeom prst="rect">
                  <a:avLst/>
                </a:prstGeom>
                <a:solidFill>
                  <a:srgbClr val="242D3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" name="Rectangle 635"/>
                <p:cNvSpPr>
                  <a:spLocks noChangeArrowheads="1"/>
                </p:cNvSpPr>
                <p:nvPr/>
              </p:nvSpPr>
              <p:spPr bwMode="auto">
                <a:xfrm>
                  <a:off x="3408824" y="2665413"/>
                  <a:ext cx="2340000" cy="500063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" name="Rectangle 636"/>
                <p:cNvSpPr>
                  <a:spLocks noChangeArrowheads="1"/>
                </p:cNvSpPr>
                <p:nvPr/>
              </p:nvSpPr>
              <p:spPr bwMode="auto">
                <a:xfrm>
                  <a:off x="5951016" y="2665413"/>
                  <a:ext cx="2340000" cy="500063"/>
                </a:xfrm>
                <a:prstGeom prst="rect">
                  <a:avLst/>
                </a:prstGeom>
                <a:solidFill>
                  <a:srgbClr val="6EA08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" name="矩形 1"/>
                <p:cNvSpPr>
                  <a:spLocks noChangeArrowheads="1"/>
                </p:cNvSpPr>
                <p:nvPr/>
              </p:nvSpPr>
              <p:spPr bwMode="auto">
                <a:xfrm>
                  <a:off x="831622" y="1649741"/>
                  <a:ext cx="2340000" cy="73428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>
                  <a:spAutoFit/>
                </a:bodyPr>
                <a:lstStyle/>
                <a:p>
                  <a:r>
                    <a:rPr lang="zh-CN" altLang="en-US" sz="12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我们工作室致力于专业</a:t>
                  </a:r>
                  <a:r>
                    <a:rPr lang="en-US" altLang="zh-CN" sz="12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PPT</a:t>
                  </a:r>
                  <a:r>
                    <a:rPr lang="zh-CN" altLang="en-US" sz="12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模板的发布，课件及汇报</a:t>
                  </a:r>
                  <a:r>
                    <a:rPr lang="en-US" altLang="zh-CN" sz="12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PPT</a:t>
                  </a:r>
                  <a:r>
                    <a:rPr lang="zh-CN" altLang="en-US" sz="12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的美化，并为您提供专业的</a:t>
                  </a:r>
                  <a:r>
                    <a:rPr lang="en-US" altLang="zh-CN" sz="12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PPT</a:t>
                  </a:r>
                  <a:r>
                    <a:rPr lang="zh-CN" altLang="en-US" sz="12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个性定制服务。我们秉承“给您演示的光和热”的理念，为您分担职场压力</a:t>
                  </a:r>
                  <a:r>
                    <a:rPr lang="en-US" altLang="zh-CN" sz="12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,</a:t>
                  </a:r>
                  <a:r>
                    <a:rPr lang="zh-CN" altLang="en-US" sz="1200" dirty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让您的每一次亮相都信心澎湃</a:t>
                  </a:r>
                  <a:r>
                    <a:rPr lang="zh-CN" altLang="en-US" sz="1200" dirty="0" smtClean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rPr>
                    <a:t>。</a:t>
                  </a:r>
                  <a:endPara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32" name="TextBox 707"/>
                <p:cNvSpPr txBox="1"/>
                <p:nvPr/>
              </p:nvSpPr>
              <p:spPr>
                <a:xfrm>
                  <a:off x="2033252" y="1140691"/>
                  <a:ext cx="1190438" cy="289265"/>
                </a:xfrm>
                <a:prstGeom prst="rect">
                  <a:avLst/>
                </a:prstGeom>
                <a:noFill/>
              </p:spPr>
              <p:txBody>
                <a:bodyPr wrap="none">
                  <a:spAutoFit/>
                </a:bodyPr>
                <a:lstStyle>
                  <a:defPPr>
                    <a:defRPr lang="zh-CN"/>
                  </a:defPPr>
                  <a:lvl1pPr algn="ctr" fontAlgn="auto">
                    <a:spcBef>
                      <a:spcPts val="0"/>
                    </a:spcBef>
                    <a:spcAft>
                      <a:spcPts val="0"/>
                    </a:spcAft>
                    <a:defRPr sz="700" spc="3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Arial" panose="020B0604020202020204" pitchFamily="34" charset="0"/>
                    </a:defRPr>
                  </a:lvl1pPr>
                </a:lstStyle>
                <a:p>
                  <a:r>
                    <a:rPr lang="zh-CN" altLang="en-US" sz="1400" dirty="0">
                      <a:solidFill>
                        <a:prstClr val="white"/>
                      </a:solidFill>
                    </a:rPr>
                    <a:t>输入您的</a:t>
                  </a:r>
                  <a:r>
                    <a:rPr lang="zh-CN" altLang="en-US" sz="2000" b="1" dirty="0">
                      <a:solidFill>
                        <a:prstClr val="white"/>
                      </a:solidFill>
                    </a:rPr>
                    <a:t>标题</a:t>
                  </a:r>
                  <a:endParaRPr lang="zh-CN" altLang="en-US" sz="3200" b="1" dirty="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0" name="TextBox 707"/>
              <p:cNvSpPr txBox="1"/>
              <p:nvPr/>
            </p:nvSpPr>
            <p:spPr>
              <a:xfrm>
                <a:off x="6048017" y="1708941"/>
                <a:ext cx="1646606" cy="400109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algn="ctr" fontAlgn="auto">
                  <a:spcBef>
                    <a:spcPts val="0"/>
                  </a:spcBef>
                  <a:spcAft>
                    <a:spcPts val="0"/>
                  </a:spcAft>
                  <a:defRPr sz="700" spc="30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</a:lstStyle>
              <a:p>
                <a:r>
                  <a:rPr lang="zh-CN" altLang="en-US" sz="1400" dirty="0">
                    <a:solidFill>
                      <a:prstClr val="white"/>
                    </a:solidFill>
                  </a:rPr>
                  <a:t>输入您的</a:t>
                </a:r>
                <a:r>
                  <a:rPr lang="zh-CN" altLang="en-US" sz="2000" b="1" dirty="0">
                    <a:solidFill>
                      <a:prstClr val="white"/>
                    </a:solidFill>
                  </a:rPr>
                  <a:t>标题</a:t>
                </a:r>
                <a:endParaRPr lang="zh-CN" altLang="en-US" sz="3200" b="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TextBox 707"/>
              <p:cNvSpPr txBox="1"/>
              <p:nvPr/>
            </p:nvSpPr>
            <p:spPr>
              <a:xfrm>
                <a:off x="9623568" y="1724313"/>
                <a:ext cx="1646606" cy="400109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algn="ctr" fontAlgn="auto">
                  <a:spcBef>
                    <a:spcPts val="0"/>
                  </a:spcBef>
                  <a:spcAft>
                    <a:spcPts val="0"/>
                  </a:spcAft>
                  <a:defRPr sz="700" spc="30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</a:lstStyle>
              <a:p>
                <a:r>
                  <a:rPr lang="zh-CN" altLang="en-US" sz="1400" dirty="0">
                    <a:solidFill>
                      <a:prstClr val="white"/>
                    </a:solidFill>
                  </a:rPr>
                  <a:t>输入您的</a:t>
                </a:r>
                <a:r>
                  <a:rPr lang="zh-CN" altLang="en-US" sz="2000" b="1" dirty="0">
                    <a:solidFill>
                      <a:prstClr val="white"/>
                    </a:solidFill>
                  </a:rPr>
                  <a:t>标题</a:t>
                </a:r>
                <a:endParaRPr lang="zh-CN" altLang="en-US" sz="3200" b="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TextBox 707"/>
              <p:cNvSpPr txBox="1"/>
              <p:nvPr/>
            </p:nvSpPr>
            <p:spPr>
              <a:xfrm>
                <a:off x="2587254" y="3980768"/>
                <a:ext cx="1646606" cy="400109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algn="ctr" fontAlgn="auto">
                  <a:spcBef>
                    <a:spcPts val="0"/>
                  </a:spcBef>
                  <a:spcAft>
                    <a:spcPts val="0"/>
                  </a:spcAft>
                  <a:defRPr sz="700" spc="30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</a:lstStyle>
              <a:p>
                <a:r>
                  <a:rPr lang="zh-CN" altLang="en-US" sz="1400" dirty="0">
                    <a:solidFill>
                      <a:prstClr val="white"/>
                    </a:solidFill>
                  </a:rPr>
                  <a:t>输入您的</a:t>
                </a:r>
                <a:r>
                  <a:rPr lang="zh-CN" altLang="en-US" sz="2000" b="1" dirty="0">
                    <a:solidFill>
                      <a:prstClr val="white"/>
                    </a:solidFill>
                  </a:rPr>
                  <a:t>标题</a:t>
                </a:r>
                <a:endParaRPr lang="zh-CN" altLang="en-US" sz="3200" b="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TextBox 707"/>
              <p:cNvSpPr txBox="1"/>
              <p:nvPr/>
            </p:nvSpPr>
            <p:spPr>
              <a:xfrm>
                <a:off x="6038141" y="3985610"/>
                <a:ext cx="1646606" cy="400109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algn="ctr" fontAlgn="auto">
                  <a:spcBef>
                    <a:spcPts val="0"/>
                  </a:spcBef>
                  <a:spcAft>
                    <a:spcPts val="0"/>
                  </a:spcAft>
                  <a:defRPr sz="700" spc="30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</a:lstStyle>
              <a:p>
                <a:r>
                  <a:rPr lang="zh-CN" altLang="en-US" sz="1400" dirty="0">
                    <a:solidFill>
                      <a:prstClr val="white"/>
                    </a:solidFill>
                  </a:rPr>
                  <a:t>输入您的</a:t>
                </a:r>
                <a:r>
                  <a:rPr lang="zh-CN" altLang="en-US" sz="2000" b="1" dirty="0">
                    <a:solidFill>
                      <a:prstClr val="white"/>
                    </a:solidFill>
                  </a:rPr>
                  <a:t>标题</a:t>
                </a:r>
                <a:endParaRPr lang="zh-CN" altLang="en-US" sz="3200" b="1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TextBox 707"/>
              <p:cNvSpPr txBox="1"/>
              <p:nvPr/>
            </p:nvSpPr>
            <p:spPr>
              <a:xfrm>
                <a:off x="9651968" y="4002980"/>
                <a:ext cx="1646606" cy="400109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algn="ctr" fontAlgn="auto">
                  <a:spcBef>
                    <a:spcPts val="0"/>
                  </a:spcBef>
                  <a:spcAft>
                    <a:spcPts val="0"/>
                  </a:spcAft>
                  <a:defRPr sz="700" spc="30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defRPr>
                </a:lvl1pPr>
              </a:lstStyle>
              <a:p>
                <a:r>
                  <a:rPr lang="zh-CN" altLang="en-US" sz="1400" dirty="0">
                    <a:solidFill>
                      <a:prstClr val="white"/>
                    </a:solidFill>
                  </a:rPr>
                  <a:t>输入您的</a:t>
                </a:r>
                <a:r>
                  <a:rPr lang="zh-CN" altLang="en-US" sz="2000" b="1" dirty="0">
                    <a:solidFill>
                      <a:prstClr val="white"/>
                    </a:solidFill>
                  </a:rPr>
                  <a:t>标题</a:t>
                </a:r>
                <a:endParaRPr lang="zh-CN" altLang="en-US" sz="3200" b="1" dirty="0">
                  <a:solidFill>
                    <a:prstClr val="white"/>
                  </a:solidFill>
                </a:endParaRPr>
              </a:p>
            </p:txBody>
          </p:sp>
          <p:pic>
            <p:nvPicPr>
              <p:cNvPr id="15" name="图片 14"/>
              <p:cNvPicPr>
                <a:picLocks noChangeAspect="1"/>
              </p:cNvPicPr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1199456" y="1661934"/>
                <a:ext cx="515964" cy="515964"/>
              </a:xfrm>
              <a:prstGeom prst="rect">
                <a:avLst/>
              </a:prstGeom>
            </p:spPr>
          </p:pic>
          <p:pic>
            <p:nvPicPr>
              <p:cNvPr id="16" name="图片 15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673063" y="1623174"/>
                <a:ext cx="609524" cy="609524"/>
              </a:xfrm>
              <a:prstGeom prst="rect">
                <a:avLst/>
              </a:prstGeom>
            </p:spPr>
          </p:pic>
          <p:sp>
            <p:nvSpPr>
              <p:cNvPr id="17" name="Freeform 76"/>
              <p:cNvSpPr/>
              <p:nvPr/>
            </p:nvSpPr>
            <p:spPr bwMode="auto">
              <a:xfrm>
                <a:off x="8232246" y="1713118"/>
                <a:ext cx="455613" cy="412750"/>
              </a:xfrm>
              <a:custGeom>
                <a:avLst/>
                <a:gdLst>
                  <a:gd name="T0" fmla="*/ 21610 w 54"/>
                  <a:gd name="T1" fmla="*/ 8670 h 49"/>
                  <a:gd name="T2" fmla="*/ 11103 w 54"/>
                  <a:gd name="T3" fmla="*/ 759 h 49"/>
                  <a:gd name="T4" fmla="*/ 765 w 54"/>
                  <a:gd name="T5" fmla="*/ 13456 h 49"/>
                  <a:gd name="T6" fmla="*/ 21610 w 54"/>
                  <a:gd name="T7" fmla="*/ 38851 h 49"/>
                  <a:gd name="T8" fmla="*/ 42343 w 54"/>
                  <a:gd name="T9" fmla="*/ 13456 h 49"/>
                  <a:gd name="T10" fmla="*/ 32739 w 54"/>
                  <a:gd name="T11" fmla="*/ 759 h 49"/>
                  <a:gd name="T12" fmla="*/ 21610 w 54"/>
                  <a:gd name="T13" fmla="*/ 8670 h 49"/>
                  <a:gd name="T14" fmla="*/ 21610 w 54"/>
                  <a:gd name="T15" fmla="*/ 8670 h 4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4" h="49">
                    <a:moveTo>
                      <a:pt x="27" y="11"/>
                    </a:moveTo>
                    <a:cubicBezTo>
                      <a:pt x="25" y="4"/>
                      <a:pt x="20" y="0"/>
                      <a:pt x="14" y="1"/>
                    </a:cubicBezTo>
                    <a:cubicBezTo>
                      <a:pt x="4" y="1"/>
                      <a:pt x="0" y="8"/>
                      <a:pt x="1" y="17"/>
                    </a:cubicBezTo>
                    <a:cubicBezTo>
                      <a:pt x="2" y="28"/>
                      <a:pt x="17" y="35"/>
                      <a:pt x="27" y="49"/>
                    </a:cubicBezTo>
                    <a:cubicBezTo>
                      <a:pt x="37" y="35"/>
                      <a:pt x="52" y="29"/>
                      <a:pt x="53" y="17"/>
                    </a:cubicBezTo>
                    <a:cubicBezTo>
                      <a:pt x="54" y="9"/>
                      <a:pt x="51" y="2"/>
                      <a:pt x="41" y="1"/>
                    </a:cubicBezTo>
                    <a:cubicBezTo>
                      <a:pt x="34" y="0"/>
                      <a:pt x="30" y="4"/>
                      <a:pt x="27" y="11"/>
                    </a:cubicBezTo>
                    <a:cubicBezTo>
                      <a:pt x="27" y="11"/>
                      <a:pt x="27" y="11"/>
                      <a:pt x="27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Freeform 71"/>
              <p:cNvSpPr/>
              <p:nvPr/>
            </p:nvSpPr>
            <p:spPr bwMode="auto">
              <a:xfrm>
                <a:off x="1303386" y="4004204"/>
                <a:ext cx="336550" cy="361950"/>
              </a:xfrm>
              <a:custGeom>
                <a:avLst/>
                <a:gdLst>
                  <a:gd name="T0" fmla="*/ 20532 w 40"/>
                  <a:gd name="T1" fmla="*/ 14168 h 43"/>
                  <a:gd name="T2" fmla="*/ 23680 w 40"/>
                  <a:gd name="T3" fmla="*/ 7900 h 43"/>
                  <a:gd name="T4" fmla="*/ 15789 w 40"/>
                  <a:gd name="T5" fmla="*/ 0 h 43"/>
                  <a:gd name="T6" fmla="*/ 7892 w 40"/>
                  <a:gd name="T7" fmla="*/ 7900 h 43"/>
                  <a:gd name="T8" fmla="*/ 11013 w 40"/>
                  <a:gd name="T9" fmla="*/ 14168 h 43"/>
                  <a:gd name="T10" fmla="*/ 0 w 40"/>
                  <a:gd name="T11" fmla="*/ 33993 h 43"/>
                  <a:gd name="T12" fmla="*/ 31572 w 40"/>
                  <a:gd name="T13" fmla="*/ 33993 h 43"/>
                  <a:gd name="T14" fmla="*/ 20532 w 40"/>
                  <a:gd name="T15" fmla="*/ 14168 h 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0" h="43">
                    <a:moveTo>
                      <a:pt x="26" y="18"/>
                    </a:moveTo>
                    <a:cubicBezTo>
                      <a:pt x="28" y="16"/>
                      <a:pt x="30" y="13"/>
                      <a:pt x="30" y="10"/>
                    </a:cubicBezTo>
                    <a:cubicBezTo>
                      <a:pt x="30" y="4"/>
                      <a:pt x="26" y="0"/>
                      <a:pt x="20" y="0"/>
                    </a:cubicBezTo>
                    <a:cubicBezTo>
                      <a:pt x="14" y="0"/>
                      <a:pt x="10" y="4"/>
                      <a:pt x="10" y="10"/>
                    </a:cubicBezTo>
                    <a:cubicBezTo>
                      <a:pt x="10" y="13"/>
                      <a:pt x="11" y="16"/>
                      <a:pt x="14" y="18"/>
                    </a:cubicBezTo>
                    <a:cubicBezTo>
                      <a:pt x="7" y="22"/>
                      <a:pt x="1" y="31"/>
                      <a:pt x="0" y="43"/>
                    </a:cubicBezTo>
                    <a:cubicBezTo>
                      <a:pt x="40" y="43"/>
                      <a:pt x="40" y="43"/>
                      <a:pt x="40" y="43"/>
                    </a:cubicBezTo>
                    <a:cubicBezTo>
                      <a:pt x="39" y="31"/>
                      <a:pt x="33" y="22"/>
                      <a:pt x="26" y="1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Freeform 70"/>
              <p:cNvSpPr/>
              <p:nvPr/>
            </p:nvSpPr>
            <p:spPr bwMode="auto">
              <a:xfrm>
                <a:off x="4732784" y="4002980"/>
                <a:ext cx="506413" cy="379413"/>
              </a:xfrm>
              <a:custGeom>
                <a:avLst/>
                <a:gdLst>
                  <a:gd name="T0" fmla="*/ 24053 w 60"/>
                  <a:gd name="T1" fmla="*/ 0 h 45"/>
                  <a:gd name="T2" fmla="*/ 0 w 60"/>
                  <a:gd name="T3" fmla="*/ 15880 h 45"/>
                  <a:gd name="T4" fmla="*/ 12016 w 60"/>
                  <a:gd name="T5" fmla="*/ 30268 h 45"/>
                  <a:gd name="T6" fmla="*/ 7209 w 60"/>
                  <a:gd name="T7" fmla="*/ 35797 h 45"/>
                  <a:gd name="T8" fmla="*/ 15945 w 60"/>
                  <a:gd name="T9" fmla="*/ 31001 h 45"/>
                  <a:gd name="T10" fmla="*/ 24053 w 60"/>
                  <a:gd name="T11" fmla="*/ 32663 h 45"/>
                  <a:gd name="T12" fmla="*/ 47940 w 60"/>
                  <a:gd name="T13" fmla="*/ 15880 h 45"/>
                  <a:gd name="T14" fmla="*/ 24053 w 60"/>
                  <a:gd name="T15" fmla="*/ 0 h 4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0" h="45">
                    <a:moveTo>
                      <a:pt x="30" y="0"/>
                    </a:moveTo>
                    <a:cubicBezTo>
                      <a:pt x="14" y="0"/>
                      <a:pt x="0" y="9"/>
                      <a:pt x="0" y="20"/>
                    </a:cubicBezTo>
                    <a:cubicBezTo>
                      <a:pt x="0" y="28"/>
                      <a:pt x="6" y="34"/>
                      <a:pt x="15" y="38"/>
                    </a:cubicBezTo>
                    <a:cubicBezTo>
                      <a:pt x="9" y="45"/>
                      <a:pt x="9" y="45"/>
                      <a:pt x="9" y="45"/>
                    </a:cubicBezTo>
                    <a:cubicBezTo>
                      <a:pt x="20" y="39"/>
                      <a:pt x="20" y="39"/>
                      <a:pt x="20" y="39"/>
                    </a:cubicBezTo>
                    <a:cubicBezTo>
                      <a:pt x="23" y="40"/>
                      <a:pt x="27" y="41"/>
                      <a:pt x="30" y="41"/>
                    </a:cubicBezTo>
                    <a:cubicBezTo>
                      <a:pt x="47" y="41"/>
                      <a:pt x="60" y="32"/>
                      <a:pt x="60" y="20"/>
                    </a:cubicBezTo>
                    <a:cubicBezTo>
                      <a:pt x="60" y="9"/>
                      <a:pt x="47" y="0"/>
                      <a:pt x="3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矩形 1"/>
              <p:cNvSpPr>
                <a:spLocks noChangeArrowheads="1"/>
              </p:cNvSpPr>
              <p:nvPr/>
            </p:nvSpPr>
            <p:spPr bwMode="auto">
              <a:xfrm>
                <a:off x="952389" y="4701166"/>
                <a:ext cx="3236673" cy="10156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/>
              <a:p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我们工作室致力于专业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模板的发布，课件及汇报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的美化，并为您提供专业的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个性定制服务。我们秉承“给您演示的光和热”的理念，为您分担职场压力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,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让您的每一次亮相都信心澎湃。</a:t>
                </a:r>
                <a:endPara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1" name="矩形 1"/>
              <p:cNvSpPr>
                <a:spLocks noChangeArrowheads="1"/>
              </p:cNvSpPr>
              <p:nvPr/>
            </p:nvSpPr>
            <p:spPr bwMode="auto">
              <a:xfrm>
                <a:off x="4429680" y="2396824"/>
                <a:ext cx="3236673" cy="10156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/>
              <a:p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我们工作室致力于专业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模板的发布，课件及汇报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的美化，并为您提供专业的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个性定制服务。我们秉承“给您演示的光和热”的理念，为您分担职场压力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,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让您的每一次亮相都信心澎湃。</a:t>
                </a:r>
                <a:endPara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" name="矩形 1"/>
              <p:cNvSpPr>
                <a:spLocks noChangeArrowheads="1"/>
              </p:cNvSpPr>
              <p:nvPr/>
            </p:nvSpPr>
            <p:spPr bwMode="auto">
              <a:xfrm>
                <a:off x="4419804" y="4665099"/>
                <a:ext cx="3236673" cy="10156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/>
              <a:p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我们工作室致力于专业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模板的发布，课件及汇报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的美化，并为您提供专业的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个性定制服务。我们秉承“给您演示的光和热”的理念，为您分担职场压力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,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让您的每一次亮相都信心澎湃。</a:t>
                </a:r>
                <a:endPara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3" name="矩形 1"/>
              <p:cNvSpPr>
                <a:spLocks noChangeArrowheads="1"/>
              </p:cNvSpPr>
              <p:nvPr/>
            </p:nvSpPr>
            <p:spPr bwMode="auto">
              <a:xfrm>
                <a:off x="7929732" y="4665099"/>
                <a:ext cx="3236673" cy="10156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/>
              <a:p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我们工作室致力于专业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模板的发布，课件及汇报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的美化，并为您提供专业的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个性定制服务。我们秉承“给您演示的光和热”的理念，为您分担职场压力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,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让您的每一次亮相都信心澎湃。</a:t>
                </a:r>
                <a:endPara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4" name="矩形 1"/>
              <p:cNvSpPr>
                <a:spLocks noChangeArrowheads="1"/>
              </p:cNvSpPr>
              <p:nvPr/>
            </p:nvSpPr>
            <p:spPr bwMode="auto">
              <a:xfrm>
                <a:off x="7929731" y="2403562"/>
                <a:ext cx="3236673" cy="10156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/>
              <a:p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我们工作室致力于专业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模板的发布，课件及汇报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的美化，并为您提供专业的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个性定制服务。我们秉承“给您演示的光和热”的理念，为您分担职场压力</a:t>
                </a:r>
                <a:r>
                  <a:rPr lang="en-US" altLang="zh-CN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,</a:t>
                </a: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让您的每一次亮相都信心澎湃。</a:t>
                </a:r>
                <a:endPara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019270" y="4117188"/>
              <a:ext cx="566977" cy="566977"/>
            </a:xfrm>
            <a:prstGeom prst="rect">
              <a:avLst/>
            </a:prstGeom>
          </p:spPr>
        </p:pic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911424" y="1556792"/>
            <a:ext cx="10801200" cy="4666507"/>
            <a:chOff x="983432" y="1268760"/>
            <a:chExt cx="10801200" cy="4666507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83432" y="1268760"/>
              <a:ext cx="3846110" cy="2200473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432" y="3717032"/>
              <a:ext cx="3846110" cy="2200473"/>
            </a:xfrm>
            <a:prstGeom prst="rect">
              <a:avLst/>
            </a:prstGeom>
          </p:spPr>
        </p:pic>
        <p:pic>
          <p:nvPicPr>
            <p:cNvPr id="9" name="图片 8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289" r="10891"/>
            <a:stretch>
              <a:fillRect/>
            </a:stretch>
          </p:blipFill>
          <p:spPr>
            <a:xfrm>
              <a:off x="5231904" y="3717032"/>
              <a:ext cx="2808312" cy="2200473"/>
            </a:xfrm>
            <a:prstGeom prst="rect">
              <a:avLst/>
            </a:prstGeom>
          </p:spPr>
        </p:pic>
        <p:pic>
          <p:nvPicPr>
            <p:cNvPr id="10" name="图片 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8248" y="3734794"/>
              <a:ext cx="2808312" cy="2200473"/>
            </a:xfrm>
            <a:prstGeom prst="rect">
              <a:avLst/>
            </a:prstGeom>
          </p:spPr>
        </p:pic>
        <p:sp>
          <p:nvSpPr>
            <p:cNvPr id="11" name="矩形 10"/>
            <p:cNvSpPr/>
            <p:nvPr/>
          </p:nvSpPr>
          <p:spPr>
            <a:xfrm>
              <a:off x="4943872" y="1301361"/>
              <a:ext cx="6840760" cy="20928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专业的团队，完善的售后，热情的服务，科学严谨的逻辑，一丝不苟的工作态度，定能使您的发展如虎添翼！</a:t>
              </a:r>
              <a:endPara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n-US" altLang="zh-CN" sz="1200" dirty="0">
                  <a:solidFill>
                    <a:schemeClr val="bg1"/>
                  </a:solidFill>
                </a:rPr>
                <a:t>Our studio is committed to professional PPT template publication, </a:t>
              </a:r>
              <a:r>
                <a:rPr lang="en-US" altLang="zh-CN" sz="1200" dirty="0" err="1">
                  <a:solidFill>
                    <a:schemeClr val="bg1"/>
                  </a:solidFill>
                </a:rPr>
                <a:t>coursewareand</a:t>
              </a:r>
              <a:r>
                <a:rPr lang="en-US" altLang="zh-CN" sz="1200" dirty="0">
                  <a:solidFill>
                    <a:schemeClr val="bg1"/>
                  </a:solidFill>
                </a:rPr>
                <a:t> reporting PPT beautification, and provides PPT customized professional services to you.</a:t>
              </a:r>
              <a:endParaRPr lang="en-US" altLang="zh-CN" sz="1200" dirty="0">
                <a:solidFill>
                  <a:schemeClr val="bg1"/>
                </a:solidFill>
              </a:endParaRPr>
            </a:p>
            <a:p>
              <a:r>
                <a:rPr lang="en-US" altLang="zh-CN" sz="1200" dirty="0">
                  <a:solidFill>
                    <a:schemeClr val="bg1"/>
                  </a:solidFill>
                </a:rPr>
                <a:t>We are adhering to the "to give you a demonstration of light and heat" </a:t>
              </a:r>
              <a:r>
                <a:rPr lang="en-US" altLang="zh-CN" sz="1200" dirty="0" err="1">
                  <a:solidFill>
                    <a:schemeClr val="bg1"/>
                  </a:solidFill>
                </a:rPr>
                <a:t>concept,for</a:t>
              </a:r>
              <a:r>
                <a:rPr lang="en-US" altLang="zh-CN" sz="1200" dirty="0">
                  <a:solidFill>
                    <a:schemeClr val="bg1"/>
                  </a:solidFill>
                </a:rPr>
                <a:t> you to share the market pressure, let you every appearance of </a:t>
              </a:r>
              <a:r>
                <a:rPr lang="en-US" altLang="zh-CN" sz="1200" dirty="0" err="1">
                  <a:solidFill>
                    <a:schemeClr val="bg1"/>
                  </a:solidFill>
                </a:rPr>
                <a:t>confidence.Professional</a:t>
              </a:r>
              <a:endPara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551384" y="1556792"/>
            <a:ext cx="10691659" cy="4502160"/>
            <a:chOff x="830335" y="1199757"/>
            <a:chExt cx="10691659" cy="4502160"/>
          </a:xfrm>
        </p:grpSpPr>
        <p:grpSp>
          <p:nvGrpSpPr>
            <p:cNvPr id="7" name="组合 6"/>
            <p:cNvGrpSpPr/>
            <p:nvPr/>
          </p:nvGrpSpPr>
          <p:grpSpPr>
            <a:xfrm>
              <a:off x="1952035" y="2033981"/>
              <a:ext cx="3162892" cy="3162889"/>
              <a:chOff x="1582812" y="1473900"/>
              <a:chExt cx="2264269" cy="2264267"/>
            </a:xfrm>
          </p:grpSpPr>
          <p:sp>
            <p:nvSpPr>
              <p:cNvPr id="32" name="Freeform 55"/>
              <p:cNvSpPr/>
              <p:nvPr/>
            </p:nvSpPr>
            <p:spPr bwMode="auto">
              <a:xfrm>
                <a:off x="1582812" y="1936284"/>
                <a:ext cx="660044" cy="1346559"/>
              </a:xfrm>
              <a:custGeom>
                <a:avLst/>
                <a:gdLst>
                  <a:gd name="T0" fmla="*/ 4712 w 100"/>
                  <a:gd name="T1" fmla="*/ 16633 h 204"/>
                  <a:gd name="T2" fmla="*/ 0 w 100"/>
                  <a:gd name="T3" fmla="*/ 20145 h 204"/>
                  <a:gd name="T4" fmla="*/ 4712 w 100"/>
                  <a:gd name="T5" fmla="*/ 23698 h 204"/>
                  <a:gd name="T6" fmla="*/ 11931 w 100"/>
                  <a:gd name="T7" fmla="*/ 39927 h 204"/>
                  <a:gd name="T8" fmla="*/ 18995 w 100"/>
                  <a:gd name="T9" fmla="*/ 32708 h 204"/>
                  <a:gd name="T10" fmla="*/ 14493 w 100"/>
                  <a:gd name="T11" fmla="*/ 20145 h 204"/>
                  <a:gd name="T12" fmla="*/ 19568 w 100"/>
                  <a:gd name="T13" fmla="*/ 7065 h 204"/>
                  <a:gd name="T14" fmla="*/ 12507 w 100"/>
                  <a:gd name="T15" fmla="*/ 0 h 204"/>
                  <a:gd name="T16" fmla="*/ 4712 w 100"/>
                  <a:gd name="T17" fmla="*/ 16633 h 20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00" h="204">
                    <a:moveTo>
                      <a:pt x="24" y="85"/>
                    </a:moveTo>
                    <a:cubicBezTo>
                      <a:pt x="0" y="103"/>
                      <a:pt x="0" y="103"/>
                      <a:pt x="0" y="103"/>
                    </a:cubicBezTo>
                    <a:cubicBezTo>
                      <a:pt x="24" y="121"/>
                      <a:pt x="24" y="121"/>
                      <a:pt x="24" y="121"/>
                    </a:cubicBezTo>
                    <a:cubicBezTo>
                      <a:pt x="28" y="153"/>
                      <a:pt x="41" y="181"/>
                      <a:pt x="61" y="204"/>
                    </a:cubicBezTo>
                    <a:cubicBezTo>
                      <a:pt x="97" y="167"/>
                      <a:pt x="97" y="167"/>
                      <a:pt x="97" y="167"/>
                    </a:cubicBezTo>
                    <a:cubicBezTo>
                      <a:pt x="83" y="150"/>
                      <a:pt x="74" y="128"/>
                      <a:pt x="74" y="103"/>
                    </a:cubicBezTo>
                    <a:cubicBezTo>
                      <a:pt x="74" y="78"/>
                      <a:pt x="84" y="54"/>
                      <a:pt x="100" y="36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42" y="23"/>
                      <a:pt x="28" y="53"/>
                      <a:pt x="24" y="85"/>
                    </a:cubicBezTo>
                    <a:close/>
                  </a:path>
                </a:pathLst>
              </a:custGeom>
              <a:solidFill>
                <a:srgbClr val="EBAC0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3" name="Freeform 56"/>
              <p:cNvSpPr/>
              <p:nvPr/>
            </p:nvSpPr>
            <p:spPr bwMode="auto">
              <a:xfrm>
                <a:off x="2025783" y="3078123"/>
                <a:ext cx="1378328" cy="660044"/>
              </a:xfrm>
              <a:custGeom>
                <a:avLst/>
                <a:gdLst>
                  <a:gd name="T0" fmla="*/ 7036 w 209"/>
                  <a:gd name="T1" fmla="*/ 0 h 100"/>
                  <a:gd name="T2" fmla="*/ 0 w 209"/>
                  <a:gd name="T3" fmla="*/ 7065 h 100"/>
                  <a:gd name="T4" fmla="*/ 17373 w 209"/>
                  <a:gd name="T5" fmla="*/ 15637 h 100"/>
                  <a:gd name="T6" fmla="*/ 20302 w 209"/>
                  <a:gd name="T7" fmla="*/ 19568 h 100"/>
                  <a:gd name="T8" fmla="*/ 23374 w 209"/>
                  <a:gd name="T9" fmla="*/ 15637 h 100"/>
                  <a:gd name="T10" fmla="*/ 40747 w 209"/>
                  <a:gd name="T11" fmla="*/ 7847 h 100"/>
                  <a:gd name="T12" fmla="*/ 33710 w 209"/>
                  <a:gd name="T13" fmla="*/ 782 h 100"/>
                  <a:gd name="T14" fmla="*/ 20668 w 209"/>
                  <a:gd name="T15" fmla="*/ 5861 h 100"/>
                  <a:gd name="T16" fmla="*/ 7036 w 209"/>
                  <a:gd name="T17" fmla="*/ 0 h 1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09" h="100">
                    <a:moveTo>
                      <a:pt x="36" y="0"/>
                    </a:moveTo>
                    <a:cubicBezTo>
                      <a:pt x="0" y="36"/>
                      <a:pt x="0" y="36"/>
                      <a:pt x="0" y="36"/>
                    </a:cubicBezTo>
                    <a:cubicBezTo>
                      <a:pt x="23" y="60"/>
                      <a:pt x="54" y="76"/>
                      <a:pt x="89" y="80"/>
                    </a:cubicBezTo>
                    <a:cubicBezTo>
                      <a:pt x="104" y="100"/>
                      <a:pt x="104" y="100"/>
                      <a:pt x="104" y="100"/>
                    </a:cubicBezTo>
                    <a:cubicBezTo>
                      <a:pt x="120" y="80"/>
                      <a:pt x="120" y="80"/>
                      <a:pt x="120" y="80"/>
                    </a:cubicBezTo>
                    <a:cubicBezTo>
                      <a:pt x="154" y="77"/>
                      <a:pt x="185" y="62"/>
                      <a:pt x="209" y="40"/>
                    </a:cubicBezTo>
                    <a:cubicBezTo>
                      <a:pt x="173" y="4"/>
                      <a:pt x="173" y="4"/>
                      <a:pt x="173" y="4"/>
                    </a:cubicBezTo>
                    <a:cubicBezTo>
                      <a:pt x="155" y="20"/>
                      <a:pt x="132" y="30"/>
                      <a:pt x="106" y="30"/>
                    </a:cubicBezTo>
                    <a:cubicBezTo>
                      <a:pt x="79" y="30"/>
                      <a:pt x="54" y="18"/>
                      <a:pt x="36" y="0"/>
                    </a:cubicBezTo>
                    <a:close/>
                  </a:path>
                </a:pathLst>
              </a:custGeom>
              <a:solidFill>
                <a:srgbClr val="01B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4" name="Freeform 57"/>
              <p:cNvSpPr/>
              <p:nvPr/>
            </p:nvSpPr>
            <p:spPr bwMode="auto">
              <a:xfrm>
                <a:off x="2038136" y="1473900"/>
                <a:ext cx="1346561" cy="667103"/>
              </a:xfrm>
              <a:custGeom>
                <a:avLst/>
                <a:gdLst>
                  <a:gd name="T0" fmla="*/ 19991 w 204"/>
                  <a:gd name="T1" fmla="*/ 0 h 101"/>
                  <a:gd name="T2" fmla="*/ 16423 w 204"/>
                  <a:gd name="T3" fmla="*/ 4719 h 101"/>
                  <a:gd name="T4" fmla="*/ 0 w 204"/>
                  <a:gd name="T5" fmla="*/ 12732 h 101"/>
                  <a:gd name="T6" fmla="*/ 7065 w 204"/>
                  <a:gd name="T7" fmla="*/ 19821 h 101"/>
                  <a:gd name="T8" fmla="*/ 20354 w 204"/>
                  <a:gd name="T9" fmla="*/ 14525 h 101"/>
                  <a:gd name="T10" fmla="*/ 32861 w 204"/>
                  <a:gd name="T11" fmla="*/ 19035 h 101"/>
                  <a:gd name="T12" fmla="*/ 39927 w 204"/>
                  <a:gd name="T13" fmla="*/ 11946 h 101"/>
                  <a:gd name="T14" fmla="*/ 23488 w 204"/>
                  <a:gd name="T15" fmla="*/ 4719 h 101"/>
                  <a:gd name="T16" fmla="*/ 19991 w 204"/>
                  <a:gd name="T17" fmla="*/ 0 h 10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04" h="101">
                    <a:moveTo>
                      <a:pt x="102" y="0"/>
                    </a:moveTo>
                    <a:cubicBezTo>
                      <a:pt x="84" y="24"/>
                      <a:pt x="84" y="24"/>
                      <a:pt x="84" y="24"/>
                    </a:cubicBezTo>
                    <a:cubicBezTo>
                      <a:pt x="52" y="29"/>
                      <a:pt x="23" y="43"/>
                      <a:pt x="0" y="65"/>
                    </a:cubicBezTo>
                    <a:cubicBezTo>
                      <a:pt x="36" y="101"/>
                      <a:pt x="36" y="101"/>
                      <a:pt x="36" y="101"/>
                    </a:cubicBezTo>
                    <a:cubicBezTo>
                      <a:pt x="54" y="84"/>
                      <a:pt x="78" y="74"/>
                      <a:pt x="104" y="74"/>
                    </a:cubicBezTo>
                    <a:cubicBezTo>
                      <a:pt x="129" y="74"/>
                      <a:pt x="151" y="83"/>
                      <a:pt x="168" y="97"/>
                    </a:cubicBezTo>
                    <a:cubicBezTo>
                      <a:pt x="204" y="61"/>
                      <a:pt x="204" y="61"/>
                      <a:pt x="204" y="61"/>
                    </a:cubicBezTo>
                    <a:cubicBezTo>
                      <a:pt x="182" y="41"/>
                      <a:pt x="152" y="27"/>
                      <a:pt x="120" y="24"/>
                    </a:cubicBezTo>
                    <a:lnTo>
                      <a:pt x="102" y="0"/>
                    </a:lnTo>
                    <a:close/>
                  </a:path>
                </a:pathLst>
              </a:custGeom>
              <a:solidFill>
                <a:srgbClr val="FF74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5" name="Freeform 58"/>
              <p:cNvSpPr/>
              <p:nvPr/>
            </p:nvSpPr>
            <p:spPr bwMode="auto">
              <a:xfrm>
                <a:off x="3187037" y="1916870"/>
                <a:ext cx="660044" cy="1385385"/>
              </a:xfrm>
              <a:custGeom>
                <a:avLst/>
                <a:gdLst>
                  <a:gd name="T0" fmla="*/ 15637 w 100"/>
                  <a:gd name="T1" fmla="*/ 17760 h 210"/>
                  <a:gd name="T2" fmla="*/ 7065 w 100"/>
                  <a:gd name="T3" fmla="*/ 0 h 210"/>
                  <a:gd name="T4" fmla="*/ 0 w 100"/>
                  <a:gd name="T5" fmla="*/ 7058 h 210"/>
                  <a:gd name="T6" fmla="*/ 5861 w 100"/>
                  <a:gd name="T7" fmla="*/ 20679 h 210"/>
                  <a:gd name="T8" fmla="*/ 572 w 100"/>
                  <a:gd name="T9" fmla="*/ 33957 h 210"/>
                  <a:gd name="T10" fmla="*/ 7637 w 100"/>
                  <a:gd name="T11" fmla="*/ 40999 h 210"/>
                  <a:gd name="T12" fmla="*/ 15637 w 100"/>
                  <a:gd name="T13" fmla="*/ 23823 h 210"/>
                  <a:gd name="T14" fmla="*/ 19568 w 100"/>
                  <a:gd name="T15" fmla="*/ 20679 h 210"/>
                  <a:gd name="T16" fmla="*/ 15637 w 100"/>
                  <a:gd name="T17" fmla="*/ 17760 h 21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00" h="210">
                    <a:moveTo>
                      <a:pt x="80" y="91"/>
                    </a:moveTo>
                    <a:cubicBezTo>
                      <a:pt x="76" y="55"/>
                      <a:pt x="60" y="24"/>
                      <a:pt x="36" y="0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18" y="54"/>
                      <a:pt x="30" y="79"/>
                      <a:pt x="30" y="106"/>
                    </a:cubicBezTo>
                    <a:cubicBezTo>
                      <a:pt x="30" y="133"/>
                      <a:pt x="19" y="156"/>
                      <a:pt x="3" y="174"/>
                    </a:cubicBezTo>
                    <a:cubicBezTo>
                      <a:pt x="39" y="210"/>
                      <a:pt x="39" y="210"/>
                      <a:pt x="39" y="210"/>
                    </a:cubicBezTo>
                    <a:cubicBezTo>
                      <a:pt x="61" y="187"/>
                      <a:pt x="76" y="156"/>
                      <a:pt x="80" y="122"/>
                    </a:cubicBezTo>
                    <a:cubicBezTo>
                      <a:pt x="100" y="106"/>
                      <a:pt x="100" y="106"/>
                      <a:pt x="100" y="106"/>
                    </a:cubicBezTo>
                    <a:lnTo>
                      <a:pt x="80" y="91"/>
                    </a:lnTo>
                    <a:close/>
                  </a:path>
                </a:pathLst>
              </a:custGeom>
              <a:solidFill>
                <a:srgbClr val="4C60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6" name="Freeform 271"/>
              <p:cNvSpPr/>
              <p:nvPr/>
            </p:nvSpPr>
            <p:spPr bwMode="auto">
              <a:xfrm>
                <a:off x="2191677" y="3005766"/>
                <a:ext cx="19413" cy="26472"/>
              </a:xfrm>
              <a:custGeom>
                <a:avLst/>
                <a:gdLst>
                  <a:gd name="T0" fmla="*/ 2147483647 w 3"/>
                  <a:gd name="T1" fmla="*/ 2147483647 h 4"/>
                  <a:gd name="T2" fmla="*/ 2147483647 w 3"/>
                  <a:gd name="T3" fmla="*/ 2147483647 h 4"/>
                  <a:gd name="T4" fmla="*/ 0 w 3"/>
                  <a:gd name="T5" fmla="*/ 2147483647 h 4"/>
                  <a:gd name="T6" fmla="*/ 0 w 3"/>
                  <a:gd name="T7" fmla="*/ 2147483647 h 4"/>
                  <a:gd name="T8" fmla="*/ 0 w 3"/>
                  <a:gd name="T9" fmla="*/ 0 h 4"/>
                  <a:gd name="T10" fmla="*/ 0 w 3"/>
                  <a:gd name="T11" fmla="*/ 0 h 4"/>
                  <a:gd name="T12" fmla="*/ 0 w 3"/>
                  <a:gd name="T13" fmla="*/ 2147483647 h 4"/>
                  <a:gd name="T14" fmla="*/ 0 w 3"/>
                  <a:gd name="T15" fmla="*/ 2147483647 h 4"/>
                  <a:gd name="T16" fmla="*/ 2147483647 w 3"/>
                  <a:gd name="T17" fmla="*/ 2147483647 h 4"/>
                  <a:gd name="T18" fmla="*/ 2147483647 w 3"/>
                  <a:gd name="T19" fmla="*/ 2147483647 h 4"/>
                  <a:gd name="T20" fmla="*/ 2147483647 w 3"/>
                  <a:gd name="T21" fmla="*/ 0 h 4"/>
                  <a:gd name="T22" fmla="*/ 2147483647 w 3"/>
                  <a:gd name="T23" fmla="*/ 0 h 4"/>
                  <a:gd name="T24" fmla="*/ 2147483647 w 3"/>
                  <a:gd name="T25" fmla="*/ 2147483647 h 4"/>
                  <a:gd name="T26" fmla="*/ 2147483647 w 3"/>
                  <a:gd name="T27" fmla="*/ 2147483647 h 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" h="4">
                    <a:moveTo>
                      <a:pt x="2" y="4"/>
                    </a:moveTo>
                    <a:cubicBezTo>
                      <a:pt x="2" y="4"/>
                      <a:pt x="2" y="4"/>
                      <a:pt x="1" y="4"/>
                    </a:cubicBezTo>
                    <a:cubicBezTo>
                      <a:pt x="1" y="4"/>
                      <a:pt x="0" y="4"/>
                      <a:pt x="0" y="4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1" y="4"/>
                      <a:pt x="1" y="4"/>
                    </a:cubicBezTo>
                    <a:cubicBezTo>
                      <a:pt x="2" y="4"/>
                      <a:pt x="2" y="3"/>
                      <a:pt x="2" y="3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2" y="3"/>
                      <a:pt x="2" y="4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7" name="Freeform 272"/>
              <p:cNvSpPr/>
              <p:nvPr/>
            </p:nvSpPr>
            <p:spPr bwMode="auto">
              <a:xfrm>
                <a:off x="2218148" y="3005766"/>
                <a:ext cx="12354" cy="26472"/>
              </a:xfrm>
              <a:custGeom>
                <a:avLst/>
                <a:gdLst>
                  <a:gd name="T0" fmla="*/ 2147483647 w 2"/>
                  <a:gd name="T1" fmla="*/ 2147483647 h 4"/>
                  <a:gd name="T2" fmla="*/ 2147483647 w 2"/>
                  <a:gd name="T3" fmla="*/ 0 h 4"/>
                  <a:gd name="T4" fmla="*/ 2147483647 w 2"/>
                  <a:gd name="T5" fmla="*/ 0 h 4"/>
                  <a:gd name="T6" fmla="*/ 2147483647 w 2"/>
                  <a:gd name="T7" fmla="*/ 2147483647 h 4"/>
                  <a:gd name="T8" fmla="*/ 0 w 2"/>
                  <a:gd name="T9" fmla="*/ 2147483647 h 4"/>
                  <a:gd name="T10" fmla="*/ 0 w 2"/>
                  <a:gd name="T11" fmla="*/ 2147483647 h 4"/>
                  <a:gd name="T12" fmla="*/ 0 w 2"/>
                  <a:gd name="T13" fmla="*/ 2147483647 h 4"/>
                  <a:gd name="T14" fmla="*/ 0 w 2"/>
                  <a:gd name="T15" fmla="*/ 2147483647 h 4"/>
                  <a:gd name="T16" fmla="*/ 0 w 2"/>
                  <a:gd name="T17" fmla="*/ 2147483647 h 4"/>
                  <a:gd name="T18" fmla="*/ 0 w 2"/>
                  <a:gd name="T19" fmla="*/ 0 h 4"/>
                  <a:gd name="T20" fmla="*/ 0 w 2"/>
                  <a:gd name="T21" fmla="*/ 0 h 4"/>
                  <a:gd name="T22" fmla="*/ 0 w 2"/>
                  <a:gd name="T23" fmla="*/ 2147483647 h 4"/>
                  <a:gd name="T24" fmla="*/ 2147483647 w 2"/>
                  <a:gd name="T25" fmla="*/ 0 h 4"/>
                  <a:gd name="T26" fmla="*/ 2147483647 w 2"/>
                  <a:gd name="T27" fmla="*/ 0 h 4"/>
                  <a:gd name="T28" fmla="*/ 2147483647 w 2"/>
                  <a:gd name="T29" fmla="*/ 0 h 4"/>
                  <a:gd name="T30" fmla="*/ 2147483647 w 2"/>
                  <a:gd name="T31" fmla="*/ 0 h 4"/>
                  <a:gd name="T32" fmla="*/ 2147483647 w 2"/>
                  <a:gd name="T33" fmla="*/ 2147483647 h 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" h="4">
                    <a:moveTo>
                      <a:pt x="2" y="1"/>
                    </a:moveTo>
                    <a:cubicBezTo>
                      <a:pt x="2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lnTo>
                      <a:pt x="2" y="1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8" name="文本框 7"/>
            <p:cNvSpPr txBox="1"/>
            <p:nvPr/>
          </p:nvSpPr>
          <p:spPr>
            <a:xfrm>
              <a:off x="2959137" y="1548333"/>
              <a:ext cx="129614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400" b="1" dirty="0" smtClean="0">
                  <a:solidFill>
                    <a:srgbClr val="FF745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关键词</a:t>
              </a:r>
              <a:endParaRPr lang="zh-CN" altLang="en-US" sz="2400" b="1" dirty="0">
                <a:solidFill>
                  <a:srgbClr val="FF745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5164551" y="3381180"/>
              <a:ext cx="129614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4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关键词</a:t>
              </a:r>
              <a:endPara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2959137" y="5240252"/>
              <a:ext cx="129614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400" dirty="0" smtClean="0">
                  <a:solidFill>
                    <a:srgbClr val="01B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关键词</a:t>
              </a:r>
              <a:endParaRPr lang="zh-CN" altLang="en-US" sz="2400" dirty="0">
                <a:solidFill>
                  <a:srgbClr val="01B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文本框 10"/>
            <p:cNvSpPr txBox="1"/>
            <p:nvPr/>
          </p:nvSpPr>
          <p:spPr>
            <a:xfrm>
              <a:off x="830335" y="3424513"/>
              <a:ext cx="129614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400" b="1" dirty="0" smtClean="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关键词</a:t>
              </a:r>
              <a:endParaRPr lang="zh-CN" altLang="en-US" sz="2400" b="1" dirty="0">
                <a:solidFill>
                  <a:srgbClr val="FFC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2" name="组合 11"/>
            <p:cNvGrpSpPr/>
            <p:nvPr/>
          </p:nvGrpSpPr>
          <p:grpSpPr>
            <a:xfrm>
              <a:off x="7104112" y="1199757"/>
              <a:ext cx="4417882" cy="3194824"/>
              <a:chOff x="1714565" y="1100867"/>
              <a:chExt cx="4417882" cy="3194824"/>
            </a:xfrm>
          </p:grpSpPr>
          <p:sp>
            <p:nvSpPr>
              <p:cNvPr id="14" name="Freeform 46"/>
              <p:cNvSpPr/>
              <p:nvPr/>
            </p:nvSpPr>
            <p:spPr bwMode="auto">
              <a:xfrm>
                <a:off x="1827212" y="3543300"/>
                <a:ext cx="347663" cy="498475"/>
              </a:xfrm>
              <a:custGeom>
                <a:avLst/>
                <a:gdLst>
                  <a:gd name="T0" fmla="*/ 219 w 219"/>
                  <a:gd name="T1" fmla="*/ 314 h 314"/>
                  <a:gd name="T2" fmla="*/ 0 w 219"/>
                  <a:gd name="T3" fmla="*/ 314 h 314"/>
                  <a:gd name="T4" fmla="*/ 0 w 219"/>
                  <a:gd name="T5" fmla="*/ 0 h 314"/>
                  <a:gd name="T6" fmla="*/ 219 w 219"/>
                  <a:gd name="T7" fmla="*/ 0 h 314"/>
                  <a:gd name="T8" fmla="*/ 219 w 219"/>
                  <a:gd name="T9" fmla="*/ 314 h 314"/>
                  <a:gd name="T10" fmla="*/ 219 w 219"/>
                  <a:gd name="T11" fmla="*/ 314 h 31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9" h="314">
                    <a:moveTo>
                      <a:pt x="219" y="314"/>
                    </a:moveTo>
                    <a:lnTo>
                      <a:pt x="0" y="314"/>
                    </a:lnTo>
                    <a:lnTo>
                      <a:pt x="0" y="0"/>
                    </a:lnTo>
                    <a:lnTo>
                      <a:pt x="219" y="0"/>
                    </a:lnTo>
                    <a:lnTo>
                      <a:pt x="219" y="314"/>
                    </a:lnTo>
                    <a:close/>
                  </a:path>
                </a:pathLst>
              </a:custGeom>
              <a:solidFill>
                <a:srgbClr val="FF74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5" name="Freeform 47"/>
              <p:cNvSpPr/>
              <p:nvPr/>
            </p:nvSpPr>
            <p:spPr bwMode="auto">
              <a:xfrm>
                <a:off x="2603500" y="3300413"/>
                <a:ext cx="336550" cy="741362"/>
              </a:xfrm>
              <a:custGeom>
                <a:avLst/>
                <a:gdLst>
                  <a:gd name="T0" fmla="*/ 212 w 212"/>
                  <a:gd name="T1" fmla="*/ 467 h 467"/>
                  <a:gd name="T2" fmla="*/ 0 w 212"/>
                  <a:gd name="T3" fmla="*/ 467 h 467"/>
                  <a:gd name="T4" fmla="*/ 0 w 212"/>
                  <a:gd name="T5" fmla="*/ 0 h 467"/>
                  <a:gd name="T6" fmla="*/ 212 w 212"/>
                  <a:gd name="T7" fmla="*/ 0 h 467"/>
                  <a:gd name="T8" fmla="*/ 212 w 212"/>
                  <a:gd name="T9" fmla="*/ 467 h 467"/>
                  <a:gd name="T10" fmla="*/ 212 w 212"/>
                  <a:gd name="T11" fmla="*/ 467 h 46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2" h="467">
                    <a:moveTo>
                      <a:pt x="212" y="467"/>
                    </a:moveTo>
                    <a:lnTo>
                      <a:pt x="0" y="467"/>
                    </a:lnTo>
                    <a:lnTo>
                      <a:pt x="0" y="0"/>
                    </a:lnTo>
                    <a:lnTo>
                      <a:pt x="212" y="0"/>
                    </a:lnTo>
                    <a:lnTo>
                      <a:pt x="212" y="467"/>
                    </a:lnTo>
                    <a:close/>
                  </a:path>
                </a:pathLst>
              </a:custGeom>
              <a:solidFill>
                <a:srgbClr val="EFA60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Freeform 48"/>
              <p:cNvSpPr/>
              <p:nvPr/>
            </p:nvSpPr>
            <p:spPr bwMode="auto">
              <a:xfrm>
                <a:off x="3368675" y="2687638"/>
                <a:ext cx="336550" cy="1354137"/>
              </a:xfrm>
              <a:custGeom>
                <a:avLst/>
                <a:gdLst>
                  <a:gd name="T0" fmla="*/ 212 w 212"/>
                  <a:gd name="T1" fmla="*/ 853 h 853"/>
                  <a:gd name="T2" fmla="*/ 0 w 212"/>
                  <a:gd name="T3" fmla="*/ 853 h 853"/>
                  <a:gd name="T4" fmla="*/ 0 w 212"/>
                  <a:gd name="T5" fmla="*/ 0 h 853"/>
                  <a:gd name="T6" fmla="*/ 212 w 212"/>
                  <a:gd name="T7" fmla="*/ 0 h 853"/>
                  <a:gd name="T8" fmla="*/ 212 w 212"/>
                  <a:gd name="T9" fmla="*/ 853 h 853"/>
                  <a:gd name="T10" fmla="*/ 212 w 212"/>
                  <a:gd name="T11" fmla="*/ 853 h 85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2" h="853">
                    <a:moveTo>
                      <a:pt x="212" y="853"/>
                    </a:moveTo>
                    <a:lnTo>
                      <a:pt x="0" y="853"/>
                    </a:lnTo>
                    <a:lnTo>
                      <a:pt x="0" y="0"/>
                    </a:lnTo>
                    <a:lnTo>
                      <a:pt x="212" y="0"/>
                    </a:lnTo>
                    <a:lnTo>
                      <a:pt x="212" y="853"/>
                    </a:lnTo>
                    <a:close/>
                  </a:path>
                </a:pathLst>
              </a:custGeom>
              <a:solidFill>
                <a:srgbClr val="81AC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7" name="Freeform 49"/>
              <p:cNvSpPr/>
              <p:nvPr/>
            </p:nvSpPr>
            <p:spPr bwMode="auto">
              <a:xfrm>
                <a:off x="4133850" y="2838450"/>
                <a:ext cx="336550" cy="1203325"/>
              </a:xfrm>
              <a:custGeom>
                <a:avLst/>
                <a:gdLst>
                  <a:gd name="T0" fmla="*/ 212 w 212"/>
                  <a:gd name="T1" fmla="*/ 758 h 758"/>
                  <a:gd name="T2" fmla="*/ 0 w 212"/>
                  <a:gd name="T3" fmla="*/ 758 h 758"/>
                  <a:gd name="T4" fmla="*/ 0 w 212"/>
                  <a:gd name="T5" fmla="*/ 0 h 758"/>
                  <a:gd name="T6" fmla="*/ 212 w 212"/>
                  <a:gd name="T7" fmla="*/ 0 h 758"/>
                  <a:gd name="T8" fmla="*/ 212 w 212"/>
                  <a:gd name="T9" fmla="*/ 758 h 758"/>
                  <a:gd name="T10" fmla="*/ 212 w 212"/>
                  <a:gd name="T11" fmla="*/ 758 h 75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2" h="758">
                    <a:moveTo>
                      <a:pt x="212" y="758"/>
                    </a:moveTo>
                    <a:lnTo>
                      <a:pt x="0" y="758"/>
                    </a:lnTo>
                    <a:lnTo>
                      <a:pt x="0" y="0"/>
                    </a:lnTo>
                    <a:lnTo>
                      <a:pt x="212" y="0"/>
                    </a:lnTo>
                    <a:lnTo>
                      <a:pt x="212" y="758"/>
                    </a:lnTo>
                    <a:close/>
                  </a:path>
                </a:pathLst>
              </a:custGeom>
              <a:solidFill>
                <a:srgbClr val="242D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Freeform 50"/>
              <p:cNvSpPr/>
              <p:nvPr/>
            </p:nvSpPr>
            <p:spPr bwMode="auto">
              <a:xfrm>
                <a:off x="4899025" y="1946275"/>
                <a:ext cx="334963" cy="2095500"/>
              </a:xfrm>
              <a:custGeom>
                <a:avLst/>
                <a:gdLst>
                  <a:gd name="T0" fmla="*/ 211 w 211"/>
                  <a:gd name="T1" fmla="*/ 1320 h 1320"/>
                  <a:gd name="T2" fmla="*/ 0 w 211"/>
                  <a:gd name="T3" fmla="*/ 1320 h 1320"/>
                  <a:gd name="T4" fmla="*/ 0 w 211"/>
                  <a:gd name="T5" fmla="*/ 0 h 1320"/>
                  <a:gd name="T6" fmla="*/ 211 w 211"/>
                  <a:gd name="T7" fmla="*/ 0 h 1320"/>
                  <a:gd name="T8" fmla="*/ 211 w 211"/>
                  <a:gd name="T9" fmla="*/ 1320 h 1320"/>
                  <a:gd name="T10" fmla="*/ 211 w 211"/>
                  <a:gd name="T11" fmla="*/ 1320 h 132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1" h="1320">
                    <a:moveTo>
                      <a:pt x="211" y="1320"/>
                    </a:moveTo>
                    <a:lnTo>
                      <a:pt x="0" y="1320"/>
                    </a:lnTo>
                    <a:lnTo>
                      <a:pt x="0" y="0"/>
                    </a:lnTo>
                    <a:lnTo>
                      <a:pt x="211" y="0"/>
                    </a:lnTo>
                    <a:lnTo>
                      <a:pt x="211" y="1320"/>
                    </a:ln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Freeform 51"/>
              <p:cNvSpPr/>
              <p:nvPr/>
            </p:nvSpPr>
            <p:spPr bwMode="auto">
              <a:xfrm>
                <a:off x="5662612" y="1438275"/>
                <a:ext cx="336550" cy="2603500"/>
              </a:xfrm>
              <a:custGeom>
                <a:avLst/>
                <a:gdLst>
                  <a:gd name="T0" fmla="*/ 212 w 212"/>
                  <a:gd name="T1" fmla="*/ 1640 h 1640"/>
                  <a:gd name="T2" fmla="*/ 0 w 212"/>
                  <a:gd name="T3" fmla="*/ 1640 h 1640"/>
                  <a:gd name="T4" fmla="*/ 0 w 212"/>
                  <a:gd name="T5" fmla="*/ 0 h 1640"/>
                  <a:gd name="T6" fmla="*/ 212 w 212"/>
                  <a:gd name="T7" fmla="*/ 0 h 1640"/>
                  <a:gd name="T8" fmla="*/ 212 w 212"/>
                  <a:gd name="T9" fmla="*/ 1640 h 1640"/>
                  <a:gd name="T10" fmla="*/ 212 w 212"/>
                  <a:gd name="T11" fmla="*/ 1640 h 164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2" h="1640">
                    <a:moveTo>
                      <a:pt x="212" y="1640"/>
                    </a:moveTo>
                    <a:lnTo>
                      <a:pt x="0" y="1640"/>
                    </a:lnTo>
                    <a:lnTo>
                      <a:pt x="0" y="0"/>
                    </a:lnTo>
                    <a:lnTo>
                      <a:pt x="212" y="0"/>
                    </a:lnTo>
                    <a:lnTo>
                      <a:pt x="212" y="1640"/>
                    </a:lnTo>
                    <a:close/>
                  </a:path>
                </a:pathLst>
              </a:custGeom>
              <a:solidFill>
                <a:srgbClr val="242D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TextBox 73"/>
              <p:cNvSpPr txBox="1"/>
              <p:nvPr/>
            </p:nvSpPr>
            <p:spPr bwMode="auto">
              <a:xfrm>
                <a:off x="1737808" y="4041775"/>
                <a:ext cx="530915" cy="253916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zh-CN" altLang="en-US" sz="1050" spc="30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标题</a:t>
                </a:r>
                <a:endParaRPr lang="zh-CN" altLang="en-US" sz="1050" spc="3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21" name="TextBox 74"/>
              <p:cNvSpPr txBox="1"/>
              <p:nvPr/>
            </p:nvSpPr>
            <p:spPr bwMode="auto">
              <a:xfrm>
                <a:off x="2522668" y="4041775"/>
                <a:ext cx="530915" cy="253916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zh-CN" altLang="en-US" sz="1050" spc="30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标题</a:t>
                </a:r>
                <a:endParaRPr lang="zh-CN" altLang="en-US" sz="1050" spc="3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22" name="TextBox 115"/>
              <p:cNvSpPr txBox="1"/>
              <p:nvPr/>
            </p:nvSpPr>
            <p:spPr bwMode="auto">
              <a:xfrm>
                <a:off x="3284668" y="4041775"/>
                <a:ext cx="530915" cy="253916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zh-CN" altLang="en-US" sz="1050" spc="30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标题</a:t>
                </a:r>
                <a:endParaRPr lang="zh-CN" altLang="en-US" sz="1050" spc="3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23" name="TextBox 116"/>
              <p:cNvSpPr txBox="1"/>
              <p:nvPr/>
            </p:nvSpPr>
            <p:spPr bwMode="auto">
              <a:xfrm>
                <a:off x="4031428" y="4041775"/>
                <a:ext cx="530915" cy="253916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zh-CN" altLang="en-US" sz="1050" spc="30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标题</a:t>
                </a:r>
                <a:endParaRPr lang="zh-CN" altLang="en-US" sz="1050" spc="3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24" name="TextBox 117"/>
              <p:cNvSpPr txBox="1"/>
              <p:nvPr/>
            </p:nvSpPr>
            <p:spPr bwMode="auto">
              <a:xfrm>
                <a:off x="4808668" y="4041775"/>
                <a:ext cx="530915" cy="253916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zh-CN" altLang="en-US" sz="1050" spc="30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标题</a:t>
                </a:r>
                <a:endParaRPr lang="zh-CN" altLang="en-US" sz="1050" spc="3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25" name="TextBox 118"/>
              <p:cNvSpPr txBox="1"/>
              <p:nvPr/>
            </p:nvSpPr>
            <p:spPr bwMode="auto">
              <a:xfrm>
                <a:off x="5578288" y="4041775"/>
                <a:ext cx="530915" cy="253916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zh-CN" altLang="en-US" sz="1050" spc="30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标题</a:t>
                </a:r>
                <a:endParaRPr lang="zh-CN" altLang="en-US" sz="1050" spc="3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26" name="TextBox 119"/>
              <p:cNvSpPr txBox="1"/>
              <p:nvPr/>
            </p:nvSpPr>
            <p:spPr bwMode="auto">
              <a:xfrm>
                <a:off x="1714565" y="3218806"/>
                <a:ext cx="577402" cy="253916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altLang="zh-CN" sz="1050" spc="30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15%</a:t>
                </a:r>
                <a:endParaRPr lang="zh-CN" altLang="en-US" sz="1050" spc="3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27" name="TextBox 120"/>
              <p:cNvSpPr txBox="1"/>
              <p:nvPr/>
            </p:nvSpPr>
            <p:spPr bwMode="auto">
              <a:xfrm>
                <a:off x="2499425" y="3037914"/>
                <a:ext cx="577402" cy="253916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altLang="zh-CN" sz="1050" spc="30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22%</a:t>
                </a:r>
                <a:endParaRPr lang="zh-CN" altLang="en-US" sz="1050" spc="3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28" name="TextBox 121"/>
              <p:cNvSpPr txBox="1"/>
              <p:nvPr/>
            </p:nvSpPr>
            <p:spPr bwMode="auto">
              <a:xfrm>
                <a:off x="3261425" y="2461850"/>
                <a:ext cx="577402" cy="253916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altLang="zh-CN" sz="1050" spc="30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40%</a:t>
                </a:r>
                <a:endParaRPr lang="zh-CN" altLang="en-US" sz="1050" spc="3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29" name="TextBox 122"/>
              <p:cNvSpPr txBox="1"/>
              <p:nvPr/>
            </p:nvSpPr>
            <p:spPr bwMode="auto">
              <a:xfrm>
                <a:off x="4008185" y="2533858"/>
                <a:ext cx="577402" cy="253916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altLang="zh-CN" sz="1050" spc="30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36%</a:t>
                </a:r>
                <a:endParaRPr lang="zh-CN" altLang="en-US" sz="1050" spc="3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30" name="TextBox 123"/>
              <p:cNvSpPr txBox="1"/>
              <p:nvPr/>
            </p:nvSpPr>
            <p:spPr bwMode="auto">
              <a:xfrm>
                <a:off x="4785425" y="1669762"/>
                <a:ext cx="577402" cy="253916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altLang="zh-CN" sz="1050" spc="30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62%</a:t>
                </a:r>
                <a:endParaRPr lang="zh-CN" altLang="en-US" sz="1050" spc="3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31" name="TextBox 124"/>
              <p:cNvSpPr txBox="1"/>
              <p:nvPr/>
            </p:nvSpPr>
            <p:spPr bwMode="auto">
              <a:xfrm>
                <a:off x="5555045" y="1100867"/>
                <a:ext cx="577402" cy="253916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altLang="zh-CN" sz="1050" spc="300" dirty="0" smtClean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Arial" panose="020B0604020202020204" pitchFamily="34" charset="0"/>
                  </a:rPr>
                  <a:t>78%</a:t>
                </a:r>
                <a:endParaRPr lang="zh-CN" altLang="en-US" sz="1050" spc="3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3" name="文本框 12"/>
            <p:cNvSpPr txBox="1"/>
            <p:nvPr/>
          </p:nvSpPr>
          <p:spPr>
            <a:xfrm>
              <a:off x="7183955" y="4797047"/>
              <a:ext cx="4338039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452217" y="1844824"/>
            <a:ext cx="11089232" cy="3871075"/>
            <a:chOff x="407368" y="1430133"/>
            <a:chExt cx="11089232" cy="3871075"/>
          </a:xfrm>
        </p:grpSpPr>
        <p:sp>
          <p:nvSpPr>
            <p:cNvPr id="7" name="泪滴形 6"/>
            <p:cNvSpPr/>
            <p:nvPr/>
          </p:nvSpPr>
          <p:spPr>
            <a:xfrm>
              <a:off x="407368" y="2492896"/>
              <a:ext cx="2376264" cy="2376264"/>
            </a:xfrm>
            <a:prstGeom prst="teardrop">
              <a:avLst/>
            </a:prstGeom>
            <a:solidFill>
              <a:srgbClr val="01B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泪滴形 7"/>
            <p:cNvSpPr/>
            <p:nvPr/>
          </p:nvSpPr>
          <p:spPr>
            <a:xfrm>
              <a:off x="2999656" y="2492896"/>
              <a:ext cx="2376264" cy="2376264"/>
            </a:xfrm>
            <a:prstGeom prst="teardrop">
              <a:avLst/>
            </a:prstGeom>
            <a:solidFill>
              <a:srgbClr val="FF78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泪滴形 8"/>
            <p:cNvSpPr/>
            <p:nvPr/>
          </p:nvSpPr>
          <p:spPr>
            <a:xfrm>
              <a:off x="5591944" y="2492896"/>
              <a:ext cx="2376264" cy="2376264"/>
            </a:xfrm>
            <a:prstGeom prst="teardrop">
              <a:avLst/>
            </a:prstGeom>
            <a:solidFill>
              <a:srgbClr val="FF3B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Freeform 66"/>
            <p:cNvSpPr>
              <a:spLocks noEditPoints="1"/>
            </p:cNvSpPr>
            <p:nvPr/>
          </p:nvSpPr>
          <p:spPr bwMode="auto">
            <a:xfrm>
              <a:off x="1055440" y="2708920"/>
              <a:ext cx="480136" cy="442625"/>
            </a:xfrm>
            <a:custGeom>
              <a:avLst/>
              <a:gdLst>
                <a:gd name="T0" fmla="*/ 41 w 54"/>
                <a:gd name="T1" fmla="*/ 0 h 49"/>
                <a:gd name="T2" fmla="*/ 34 w 54"/>
                <a:gd name="T3" fmla="*/ 0 h 49"/>
                <a:gd name="T4" fmla="*/ 13 w 54"/>
                <a:gd name="T5" fmla="*/ 0 h 49"/>
                <a:gd name="T6" fmla="*/ 0 w 54"/>
                <a:gd name="T7" fmla="*/ 13 h 49"/>
                <a:gd name="T8" fmla="*/ 0 w 54"/>
                <a:gd name="T9" fmla="*/ 15 h 49"/>
                <a:gd name="T10" fmla="*/ 0 w 54"/>
                <a:gd name="T11" fmla="*/ 25 h 49"/>
                <a:gd name="T12" fmla="*/ 13 w 54"/>
                <a:gd name="T13" fmla="*/ 38 h 49"/>
                <a:gd name="T14" fmla="*/ 23 w 54"/>
                <a:gd name="T15" fmla="*/ 38 h 49"/>
                <a:gd name="T16" fmla="*/ 45 w 54"/>
                <a:gd name="T17" fmla="*/ 49 h 49"/>
                <a:gd name="T18" fmla="*/ 41 w 54"/>
                <a:gd name="T19" fmla="*/ 38 h 49"/>
                <a:gd name="T20" fmla="*/ 41 w 54"/>
                <a:gd name="T21" fmla="*/ 38 h 49"/>
                <a:gd name="T22" fmla="*/ 54 w 54"/>
                <a:gd name="T23" fmla="*/ 25 h 49"/>
                <a:gd name="T24" fmla="*/ 54 w 54"/>
                <a:gd name="T25" fmla="*/ 13 h 49"/>
                <a:gd name="T26" fmla="*/ 41 w 54"/>
                <a:gd name="T27" fmla="*/ 0 h 49"/>
                <a:gd name="T28" fmla="*/ 14 w 54"/>
                <a:gd name="T29" fmla="*/ 22 h 49"/>
                <a:gd name="T30" fmla="*/ 11 w 54"/>
                <a:gd name="T31" fmla="*/ 19 h 49"/>
                <a:gd name="T32" fmla="*/ 14 w 54"/>
                <a:gd name="T33" fmla="*/ 16 h 49"/>
                <a:gd name="T34" fmla="*/ 17 w 54"/>
                <a:gd name="T35" fmla="*/ 19 h 49"/>
                <a:gd name="T36" fmla="*/ 14 w 54"/>
                <a:gd name="T37" fmla="*/ 22 h 49"/>
                <a:gd name="T38" fmla="*/ 22 w 54"/>
                <a:gd name="T39" fmla="*/ 22 h 49"/>
                <a:gd name="T40" fmla="*/ 19 w 54"/>
                <a:gd name="T41" fmla="*/ 19 h 49"/>
                <a:gd name="T42" fmla="*/ 22 w 54"/>
                <a:gd name="T43" fmla="*/ 16 h 49"/>
                <a:gd name="T44" fmla="*/ 25 w 54"/>
                <a:gd name="T45" fmla="*/ 19 h 49"/>
                <a:gd name="T46" fmla="*/ 22 w 54"/>
                <a:gd name="T47" fmla="*/ 22 h 49"/>
                <a:gd name="T48" fmla="*/ 32 w 54"/>
                <a:gd name="T49" fmla="*/ 22 h 49"/>
                <a:gd name="T50" fmla="*/ 29 w 54"/>
                <a:gd name="T51" fmla="*/ 19 h 49"/>
                <a:gd name="T52" fmla="*/ 32 w 54"/>
                <a:gd name="T53" fmla="*/ 16 h 49"/>
                <a:gd name="T54" fmla="*/ 35 w 54"/>
                <a:gd name="T55" fmla="*/ 19 h 49"/>
                <a:gd name="T56" fmla="*/ 32 w 54"/>
                <a:gd name="T57" fmla="*/ 22 h 49"/>
                <a:gd name="T58" fmla="*/ 40 w 54"/>
                <a:gd name="T59" fmla="*/ 22 h 49"/>
                <a:gd name="T60" fmla="*/ 37 w 54"/>
                <a:gd name="T61" fmla="*/ 19 h 49"/>
                <a:gd name="T62" fmla="*/ 40 w 54"/>
                <a:gd name="T63" fmla="*/ 16 h 49"/>
                <a:gd name="T64" fmla="*/ 43 w 54"/>
                <a:gd name="T65" fmla="*/ 19 h 49"/>
                <a:gd name="T66" fmla="*/ 40 w 54"/>
                <a:gd name="T67" fmla="*/ 2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49">
                  <a:moveTo>
                    <a:pt x="41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2"/>
                    <a:pt x="6" y="38"/>
                    <a:pt x="13" y="38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45" y="49"/>
                    <a:pt x="45" y="49"/>
                    <a:pt x="45" y="49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9" y="38"/>
                    <a:pt x="54" y="32"/>
                    <a:pt x="54" y="25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4" y="6"/>
                    <a:pt x="49" y="0"/>
                    <a:pt x="41" y="0"/>
                  </a:cubicBezTo>
                  <a:close/>
                  <a:moveTo>
                    <a:pt x="14" y="22"/>
                  </a:moveTo>
                  <a:cubicBezTo>
                    <a:pt x="12" y="22"/>
                    <a:pt x="11" y="21"/>
                    <a:pt x="11" y="19"/>
                  </a:cubicBezTo>
                  <a:cubicBezTo>
                    <a:pt x="11" y="18"/>
                    <a:pt x="12" y="16"/>
                    <a:pt x="14" y="16"/>
                  </a:cubicBezTo>
                  <a:cubicBezTo>
                    <a:pt x="15" y="16"/>
                    <a:pt x="17" y="18"/>
                    <a:pt x="17" y="19"/>
                  </a:cubicBezTo>
                  <a:cubicBezTo>
                    <a:pt x="17" y="21"/>
                    <a:pt x="15" y="22"/>
                    <a:pt x="14" y="22"/>
                  </a:cubicBezTo>
                  <a:close/>
                  <a:moveTo>
                    <a:pt x="22" y="22"/>
                  </a:moveTo>
                  <a:cubicBezTo>
                    <a:pt x="21" y="22"/>
                    <a:pt x="19" y="21"/>
                    <a:pt x="19" y="19"/>
                  </a:cubicBezTo>
                  <a:cubicBezTo>
                    <a:pt x="19" y="18"/>
                    <a:pt x="21" y="16"/>
                    <a:pt x="22" y="16"/>
                  </a:cubicBezTo>
                  <a:cubicBezTo>
                    <a:pt x="24" y="16"/>
                    <a:pt x="25" y="18"/>
                    <a:pt x="25" y="19"/>
                  </a:cubicBezTo>
                  <a:cubicBezTo>
                    <a:pt x="25" y="21"/>
                    <a:pt x="24" y="22"/>
                    <a:pt x="22" y="22"/>
                  </a:cubicBezTo>
                  <a:close/>
                  <a:moveTo>
                    <a:pt x="32" y="22"/>
                  </a:moveTo>
                  <a:cubicBezTo>
                    <a:pt x="30" y="22"/>
                    <a:pt x="29" y="21"/>
                    <a:pt x="29" y="19"/>
                  </a:cubicBezTo>
                  <a:cubicBezTo>
                    <a:pt x="29" y="18"/>
                    <a:pt x="30" y="16"/>
                    <a:pt x="32" y="16"/>
                  </a:cubicBezTo>
                  <a:cubicBezTo>
                    <a:pt x="33" y="16"/>
                    <a:pt x="35" y="18"/>
                    <a:pt x="35" y="19"/>
                  </a:cubicBezTo>
                  <a:cubicBezTo>
                    <a:pt x="35" y="21"/>
                    <a:pt x="33" y="22"/>
                    <a:pt x="32" y="22"/>
                  </a:cubicBezTo>
                  <a:close/>
                  <a:moveTo>
                    <a:pt x="40" y="22"/>
                  </a:moveTo>
                  <a:cubicBezTo>
                    <a:pt x="39" y="22"/>
                    <a:pt x="37" y="21"/>
                    <a:pt x="37" y="19"/>
                  </a:cubicBezTo>
                  <a:cubicBezTo>
                    <a:pt x="37" y="18"/>
                    <a:pt x="39" y="16"/>
                    <a:pt x="40" y="16"/>
                  </a:cubicBezTo>
                  <a:cubicBezTo>
                    <a:pt x="42" y="16"/>
                    <a:pt x="43" y="18"/>
                    <a:pt x="43" y="19"/>
                  </a:cubicBezTo>
                  <a:cubicBezTo>
                    <a:pt x="43" y="21"/>
                    <a:pt x="42" y="22"/>
                    <a:pt x="40" y="2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" name="Freeform 67"/>
            <p:cNvSpPr/>
            <p:nvPr/>
          </p:nvSpPr>
          <p:spPr bwMode="auto">
            <a:xfrm>
              <a:off x="3742677" y="2592375"/>
              <a:ext cx="445111" cy="561401"/>
            </a:xfrm>
            <a:custGeom>
              <a:avLst/>
              <a:gdLst>
                <a:gd name="T0" fmla="*/ 24 w 47"/>
                <a:gd name="T1" fmla="*/ 0 h 58"/>
                <a:gd name="T2" fmla="*/ 33 w 47"/>
                <a:gd name="T3" fmla="*/ 2 h 58"/>
                <a:gd name="T4" fmla="*/ 35 w 47"/>
                <a:gd name="T5" fmla="*/ 23 h 58"/>
                <a:gd name="T6" fmla="*/ 30 w 47"/>
                <a:gd name="T7" fmla="*/ 32 h 58"/>
                <a:gd name="T8" fmla="*/ 31 w 47"/>
                <a:gd name="T9" fmla="*/ 38 h 58"/>
                <a:gd name="T10" fmla="*/ 39 w 47"/>
                <a:gd name="T11" fmla="*/ 43 h 58"/>
                <a:gd name="T12" fmla="*/ 47 w 47"/>
                <a:gd name="T13" fmla="*/ 45 h 58"/>
                <a:gd name="T14" fmla="*/ 45 w 47"/>
                <a:gd name="T15" fmla="*/ 58 h 58"/>
                <a:gd name="T16" fmla="*/ 3 w 47"/>
                <a:gd name="T17" fmla="*/ 58 h 58"/>
                <a:gd name="T18" fmla="*/ 0 w 47"/>
                <a:gd name="T19" fmla="*/ 45 h 58"/>
                <a:gd name="T20" fmla="*/ 8 w 47"/>
                <a:gd name="T21" fmla="*/ 43 h 58"/>
                <a:gd name="T22" fmla="*/ 16 w 47"/>
                <a:gd name="T23" fmla="*/ 38 h 58"/>
                <a:gd name="T24" fmla="*/ 17 w 47"/>
                <a:gd name="T25" fmla="*/ 32 h 58"/>
                <a:gd name="T26" fmla="*/ 13 w 47"/>
                <a:gd name="T27" fmla="*/ 22 h 58"/>
                <a:gd name="T28" fmla="*/ 15 w 47"/>
                <a:gd name="T29" fmla="*/ 2 h 58"/>
                <a:gd name="T30" fmla="*/ 23 w 47"/>
                <a:gd name="T31" fmla="*/ 0 h 58"/>
                <a:gd name="T32" fmla="*/ 24 w 47"/>
                <a:gd name="T33" fmla="*/ 0 h 58"/>
                <a:gd name="T34" fmla="*/ 24 w 47"/>
                <a:gd name="T35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" h="58">
                  <a:moveTo>
                    <a:pt x="24" y="0"/>
                  </a:moveTo>
                  <a:cubicBezTo>
                    <a:pt x="27" y="0"/>
                    <a:pt x="30" y="0"/>
                    <a:pt x="33" y="2"/>
                  </a:cubicBezTo>
                  <a:cubicBezTo>
                    <a:pt x="37" y="6"/>
                    <a:pt x="36" y="14"/>
                    <a:pt x="35" y="23"/>
                  </a:cubicBezTo>
                  <a:cubicBezTo>
                    <a:pt x="34" y="28"/>
                    <a:pt x="32" y="30"/>
                    <a:pt x="30" y="32"/>
                  </a:cubicBezTo>
                  <a:cubicBezTo>
                    <a:pt x="30" y="34"/>
                    <a:pt x="31" y="38"/>
                    <a:pt x="31" y="38"/>
                  </a:cubicBezTo>
                  <a:cubicBezTo>
                    <a:pt x="33" y="41"/>
                    <a:pt x="36" y="42"/>
                    <a:pt x="39" y="43"/>
                  </a:cubicBezTo>
                  <a:cubicBezTo>
                    <a:pt x="43" y="43"/>
                    <a:pt x="47" y="45"/>
                    <a:pt x="47" y="45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5" y="43"/>
                    <a:pt x="4" y="43"/>
                    <a:pt x="8" y="43"/>
                  </a:cubicBezTo>
                  <a:cubicBezTo>
                    <a:pt x="12" y="42"/>
                    <a:pt x="14" y="41"/>
                    <a:pt x="16" y="38"/>
                  </a:cubicBezTo>
                  <a:cubicBezTo>
                    <a:pt x="16" y="38"/>
                    <a:pt x="17" y="34"/>
                    <a:pt x="17" y="32"/>
                  </a:cubicBezTo>
                  <a:cubicBezTo>
                    <a:pt x="15" y="30"/>
                    <a:pt x="13" y="28"/>
                    <a:pt x="13" y="22"/>
                  </a:cubicBezTo>
                  <a:cubicBezTo>
                    <a:pt x="12" y="13"/>
                    <a:pt x="10" y="6"/>
                    <a:pt x="15" y="2"/>
                  </a:cubicBezTo>
                  <a:cubicBezTo>
                    <a:pt x="17" y="0"/>
                    <a:pt x="20" y="0"/>
                    <a:pt x="2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" name="Freeform 65"/>
            <p:cNvSpPr/>
            <p:nvPr/>
          </p:nvSpPr>
          <p:spPr bwMode="auto">
            <a:xfrm>
              <a:off x="6240016" y="2594760"/>
              <a:ext cx="453680" cy="556785"/>
            </a:xfrm>
            <a:custGeom>
              <a:avLst/>
              <a:gdLst>
                <a:gd name="T0" fmla="*/ 61 w 65"/>
                <a:gd name="T1" fmla="*/ 35 h 60"/>
                <a:gd name="T2" fmla="*/ 60 w 65"/>
                <a:gd name="T3" fmla="*/ 35 h 60"/>
                <a:gd name="T4" fmla="*/ 59 w 65"/>
                <a:gd name="T5" fmla="*/ 35 h 60"/>
                <a:gd name="T6" fmla="*/ 59 w 65"/>
                <a:gd name="T7" fmla="*/ 35 h 60"/>
                <a:gd name="T8" fmla="*/ 61 w 65"/>
                <a:gd name="T9" fmla="*/ 31 h 60"/>
                <a:gd name="T10" fmla="*/ 56 w 65"/>
                <a:gd name="T11" fmla="*/ 26 h 60"/>
                <a:gd name="T12" fmla="*/ 55 w 65"/>
                <a:gd name="T13" fmla="*/ 26 h 60"/>
                <a:gd name="T14" fmla="*/ 52 w 65"/>
                <a:gd name="T15" fmla="*/ 26 h 60"/>
                <a:gd name="T16" fmla="*/ 33 w 65"/>
                <a:gd name="T17" fmla="*/ 26 h 60"/>
                <a:gd name="T18" fmla="*/ 34 w 65"/>
                <a:gd name="T19" fmla="*/ 7 h 60"/>
                <a:gd name="T20" fmla="*/ 26 w 65"/>
                <a:gd name="T21" fmla="*/ 2 h 60"/>
                <a:gd name="T22" fmla="*/ 26 w 65"/>
                <a:gd name="T23" fmla="*/ 13 h 60"/>
                <a:gd name="T24" fmla="*/ 18 w 65"/>
                <a:gd name="T25" fmla="*/ 26 h 60"/>
                <a:gd name="T26" fmla="*/ 9 w 65"/>
                <a:gd name="T27" fmla="*/ 32 h 60"/>
                <a:gd name="T28" fmla="*/ 0 w 65"/>
                <a:gd name="T29" fmla="*/ 34 h 60"/>
                <a:gd name="T30" fmla="*/ 0 w 65"/>
                <a:gd name="T31" fmla="*/ 58 h 60"/>
                <a:gd name="T32" fmla="*/ 2 w 65"/>
                <a:gd name="T33" fmla="*/ 57 h 60"/>
                <a:gd name="T34" fmla="*/ 22 w 65"/>
                <a:gd name="T35" fmla="*/ 59 h 60"/>
                <a:gd name="T36" fmla="*/ 45 w 65"/>
                <a:gd name="T37" fmla="*/ 57 h 60"/>
                <a:gd name="T38" fmla="*/ 50 w 65"/>
                <a:gd name="T39" fmla="*/ 52 h 60"/>
                <a:gd name="T40" fmla="*/ 56 w 65"/>
                <a:gd name="T41" fmla="*/ 49 h 60"/>
                <a:gd name="T42" fmla="*/ 55 w 65"/>
                <a:gd name="T43" fmla="*/ 43 h 60"/>
                <a:gd name="T44" fmla="*/ 60 w 65"/>
                <a:gd name="T45" fmla="*/ 42 h 60"/>
                <a:gd name="T46" fmla="*/ 61 w 65"/>
                <a:gd name="T47" fmla="*/ 35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5" h="60">
                  <a:moveTo>
                    <a:pt x="61" y="35"/>
                  </a:moveTo>
                  <a:cubicBezTo>
                    <a:pt x="61" y="35"/>
                    <a:pt x="60" y="35"/>
                    <a:pt x="60" y="35"/>
                  </a:cubicBezTo>
                  <a:cubicBezTo>
                    <a:pt x="60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60" y="34"/>
                    <a:pt x="61" y="33"/>
                    <a:pt x="61" y="31"/>
                  </a:cubicBezTo>
                  <a:cubicBezTo>
                    <a:pt x="61" y="28"/>
                    <a:pt x="58" y="27"/>
                    <a:pt x="56" y="26"/>
                  </a:cubicBezTo>
                  <a:cubicBezTo>
                    <a:pt x="56" y="26"/>
                    <a:pt x="55" y="26"/>
                    <a:pt x="55" y="26"/>
                  </a:cubicBezTo>
                  <a:cubicBezTo>
                    <a:pt x="53" y="26"/>
                    <a:pt x="52" y="26"/>
                    <a:pt x="52" y="26"/>
                  </a:cubicBezTo>
                  <a:cubicBezTo>
                    <a:pt x="45" y="26"/>
                    <a:pt x="33" y="26"/>
                    <a:pt x="33" y="26"/>
                  </a:cubicBezTo>
                  <a:cubicBezTo>
                    <a:pt x="34" y="23"/>
                    <a:pt x="36" y="15"/>
                    <a:pt x="34" y="7"/>
                  </a:cubicBezTo>
                  <a:cubicBezTo>
                    <a:pt x="32" y="0"/>
                    <a:pt x="26" y="2"/>
                    <a:pt x="26" y="2"/>
                  </a:cubicBezTo>
                  <a:cubicBezTo>
                    <a:pt x="26" y="2"/>
                    <a:pt x="26" y="8"/>
                    <a:pt x="26" y="13"/>
                  </a:cubicBezTo>
                  <a:cubicBezTo>
                    <a:pt x="26" y="17"/>
                    <a:pt x="21" y="25"/>
                    <a:pt x="18" y="26"/>
                  </a:cubicBezTo>
                  <a:cubicBezTo>
                    <a:pt x="15" y="27"/>
                    <a:pt x="13" y="28"/>
                    <a:pt x="9" y="32"/>
                  </a:cubicBezTo>
                  <a:cubicBezTo>
                    <a:pt x="6" y="33"/>
                    <a:pt x="3" y="34"/>
                    <a:pt x="0" y="34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8"/>
                    <a:pt x="1" y="58"/>
                    <a:pt x="2" y="57"/>
                  </a:cubicBezTo>
                  <a:cubicBezTo>
                    <a:pt x="5" y="57"/>
                    <a:pt x="15" y="58"/>
                    <a:pt x="22" y="59"/>
                  </a:cubicBezTo>
                  <a:cubicBezTo>
                    <a:pt x="28" y="60"/>
                    <a:pt x="38" y="59"/>
                    <a:pt x="45" y="57"/>
                  </a:cubicBezTo>
                  <a:cubicBezTo>
                    <a:pt x="52" y="56"/>
                    <a:pt x="50" y="52"/>
                    <a:pt x="50" y="52"/>
                  </a:cubicBezTo>
                  <a:cubicBezTo>
                    <a:pt x="50" y="52"/>
                    <a:pt x="53" y="52"/>
                    <a:pt x="56" y="49"/>
                  </a:cubicBezTo>
                  <a:cubicBezTo>
                    <a:pt x="58" y="47"/>
                    <a:pt x="55" y="43"/>
                    <a:pt x="55" y="43"/>
                  </a:cubicBezTo>
                  <a:cubicBezTo>
                    <a:pt x="57" y="43"/>
                    <a:pt x="58" y="43"/>
                    <a:pt x="60" y="42"/>
                  </a:cubicBezTo>
                  <a:cubicBezTo>
                    <a:pt x="65" y="38"/>
                    <a:pt x="61" y="35"/>
                    <a:pt x="61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850488" y="3290623"/>
              <a:ext cx="1679848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</a:t>
              </a:r>
              <a:endParaRPr lang="en-US" altLang="zh-CN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3408040" y="3299642"/>
              <a:ext cx="1679848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</a:t>
              </a:r>
              <a:endParaRPr lang="en-US" altLang="zh-CN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矩形 14"/>
            <p:cNvSpPr/>
            <p:nvPr/>
          </p:nvSpPr>
          <p:spPr>
            <a:xfrm>
              <a:off x="6029908" y="3299642"/>
              <a:ext cx="1679848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</a:t>
              </a:r>
              <a:endParaRPr lang="en-US" altLang="zh-CN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6" name="图片 15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100" b="14263"/>
            <a:stretch>
              <a:fillRect/>
            </a:stretch>
          </p:blipFill>
          <p:spPr>
            <a:xfrm>
              <a:off x="8472264" y="1430133"/>
              <a:ext cx="3024336" cy="1450737"/>
            </a:xfrm>
            <a:prstGeom prst="rect">
              <a:avLst/>
            </a:prstGeom>
          </p:spPr>
        </p:pic>
        <p:sp>
          <p:nvSpPr>
            <p:cNvPr id="17" name="矩形 16"/>
            <p:cNvSpPr/>
            <p:nvPr/>
          </p:nvSpPr>
          <p:spPr>
            <a:xfrm>
              <a:off x="8472264" y="2880870"/>
              <a:ext cx="3024336" cy="2420338"/>
            </a:xfrm>
            <a:prstGeom prst="rect">
              <a:avLst/>
            </a:prstGeom>
            <a:solidFill>
              <a:srgbClr val="F79E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矩形 17"/>
            <p:cNvSpPr/>
            <p:nvPr/>
          </p:nvSpPr>
          <p:spPr>
            <a:xfrm>
              <a:off x="8627096" y="3123973"/>
              <a:ext cx="2714672" cy="193899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专业的团队，完善的售后，热情的服务，科学严谨的逻辑，一丝不苟的工作态度，定能使您的发展如虎添翼！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-29916" y="5286583"/>
            <a:ext cx="12256539" cy="3167449"/>
            <a:chOff x="-29916" y="5286583"/>
            <a:chExt cx="12256539" cy="3167449"/>
          </a:xfrm>
          <a:solidFill>
            <a:schemeClr val="bg1"/>
          </a:solidFill>
        </p:grpSpPr>
        <p:sp>
          <p:nvSpPr>
            <p:cNvPr id="7" name="弦形 6"/>
            <p:cNvSpPr/>
            <p:nvPr/>
          </p:nvSpPr>
          <p:spPr>
            <a:xfrm rot="7859451">
              <a:off x="-29916" y="5994208"/>
              <a:ext cx="1727586" cy="1727586"/>
            </a:xfrm>
            <a:prstGeom prst="chord">
              <a:avLst>
                <a:gd name="adj1" fmla="val 2700000"/>
                <a:gd name="adj2" fmla="val 1401523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8" name="弦形 7"/>
            <p:cNvSpPr/>
            <p:nvPr/>
          </p:nvSpPr>
          <p:spPr>
            <a:xfrm rot="7859451">
              <a:off x="2144278" y="5784933"/>
              <a:ext cx="2146135" cy="2146135"/>
            </a:xfrm>
            <a:prstGeom prst="chord">
              <a:avLst>
                <a:gd name="adj1" fmla="val 2700000"/>
                <a:gd name="adj2" fmla="val 1401523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" name="弦形 8"/>
            <p:cNvSpPr/>
            <p:nvPr/>
          </p:nvSpPr>
          <p:spPr>
            <a:xfrm rot="7859451">
              <a:off x="4304518" y="5797240"/>
              <a:ext cx="2146135" cy="2146135"/>
            </a:xfrm>
            <a:prstGeom prst="chord">
              <a:avLst>
                <a:gd name="adj1" fmla="val 2700000"/>
                <a:gd name="adj2" fmla="val 1401523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" name="弦形 9"/>
            <p:cNvSpPr/>
            <p:nvPr/>
          </p:nvSpPr>
          <p:spPr>
            <a:xfrm rot="7859451">
              <a:off x="5990510" y="6203830"/>
              <a:ext cx="888815" cy="888815"/>
            </a:xfrm>
            <a:prstGeom prst="chord">
              <a:avLst>
                <a:gd name="adj1" fmla="val 2700000"/>
                <a:gd name="adj2" fmla="val 16889701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" name="弦形 10"/>
            <p:cNvSpPr/>
            <p:nvPr/>
          </p:nvSpPr>
          <p:spPr>
            <a:xfrm rot="6457608">
              <a:off x="6712055" y="5889529"/>
              <a:ext cx="1359525" cy="1359525"/>
            </a:xfrm>
            <a:prstGeom prst="chord">
              <a:avLst>
                <a:gd name="adj1" fmla="val 2700000"/>
                <a:gd name="adj2" fmla="val 16889701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" name="弦形 11"/>
            <p:cNvSpPr/>
            <p:nvPr/>
          </p:nvSpPr>
          <p:spPr>
            <a:xfrm rot="7859451">
              <a:off x="7779315" y="5777157"/>
              <a:ext cx="2146135" cy="2146135"/>
            </a:xfrm>
            <a:prstGeom prst="chord">
              <a:avLst>
                <a:gd name="adj1" fmla="val 2700000"/>
                <a:gd name="adj2" fmla="val 1401523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3" name="弦形 12"/>
            <p:cNvSpPr/>
            <p:nvPr/>
          </p:nvSpPr>
          <p:spPr>
            <a:xfrm rot="7859451">
              <a:off x="9059174" y="5286583"/>
              <a:ext cx="3167449" cy="3167449"/>
            </a:xfrm>
            <a:prstGeom prst="chord">
              <a:avLst>
                <a:gd name="adj1" fmla="val 2700000"/>
                <a:gd name="adj2" fmla="val 1401523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4" name="弦形 13"/>
            <p:cNvSpPr/>
            <p:nvPr/>
          </p:nvSpPr>
          <p:spPr>
            <a:xfrm rot="7859451">
              <a:off x="1018596" y="5777157"/>
              <a:ext cx="2146135" cy="2146135"/>
            </a:xfrm>
            <a:prstGeom prst="chord">
              <a:avLst>
                <a:gd name="adj1" fmla="val 2700000"/>
                <a:gd name="adj2" fmla="val 14015238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5" name="弦形 14"/>
            <p:cNvSpPr/>
            <p:nvPr/>
          </p:nvSpPr>
          <p:spPr>
            <a:xfrm rot="5843794">
              <a:off x="3801103" y="6072976"/>
              <a:ext cx="1150519" cy="1150519"/>
            </a:xfrm>
            <a:prstGeom prst="chord">
              <a:avLst>
                <a:gd name="adj1" fmla="val 2700000"/>
                <a:gd name="adj2" fmla="val 16889701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6" name="弦形 15"/>
            <p:cNvSpPr/>
            <p:nvPr/>
          </p:nvSpPr>
          <p:spPr>
            <a:xfrm rot="6457608">
              <a:off x="9247231" y="5660683"/>
              <a:ext cx="344409" cy="344409"/>
            </a:xfrm>
            <a:prstGeom prst="chord">
              <a:avLst>
                <a:gd name="adj1" fmla="val 2700000"/>
                <a:gd name="adj2" fmla="val 16889701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7" name="弦形 16"/>
            <p:cNvSpPr/>
            <p:nvPr/>
          </p:nvSpPr>
          <p:spPr>
            <a:xfrm rot="6457608">
              <a:off x="969648" y="5882625"/>
              <a:ext cx="344409" cy="344409"/>
            </a:xfrm>
            <a:prstGeom prst="chord">
              <a:avLst>
                <a:gd name="adj1" fmla="val 2700000"/>
                <a:gd name="adj2" fmla="val 16889701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8" name="新月形 17"/>
            <p:cNvSpPr/>
            <p:nvPr/>
          </p:nvSpPr>
          <p:spPr>
            <a:xfrm rot="4147648">
              <a:off x="4876673" y="5995806"/>
              <a:ext cx="241249" cy="429358"/>
            </a:xfrm>
            <a:prstGeom prst="moon">
              <a:avLst>
                <a:gd name="adj" fmla="val 17246"/>
              </a:avLst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9" name="新月形 18"/>
            <p:cNvSpPr/>
            <p:nvPr/>
          </p:nvSpPr>
          <p:spPr>
            <a:xfrm rot="6023875">
              <a:off x="9924899" y="5303335"/>
              <a:ext cx="599529" cy="1059102"/>
            </a:xfrm>
            <a:prstGeom prst="moon">
              <a:avLst>
                <a:gd name="adj" fmla="val 17246"/>
              </a:avLst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20" name="组合 19"/>
          <p:cNvGrpSpPr/>
          <p:nvPr/>
        </p:nvGrpSpPr>
        <p:grpSpPr>
          <a:xfrm>
            <a:off x="911424" y="2132446"/>
            <a:ext cx="3948278" cy="2779884"/>
            <a:chOff x="911424" y="2132446"/>
            <a:chExt cx="3948278" cy="2779884"/>
          </a:xfrm>
        </p:grpSpPr>
        <p:sp>
          <p:nvSpPr>
            <p:cNvPr id="21" name="Freeform 304"/>
            <p:cNvSpPr>
              <a:spLocks noEditPoints="1"/>
            </p:cNvSpPr>
            <p:nvPr/>
          </p:nvSpPr>
          <p:spPr bwMode="auto">
            <a:xfrm>
              <a:off x="911424" y="2132446"/>
              <a:ext cx="3948278" cy="2779884"/>
            </a:xfrm>
            <a:custGeom>
              <a:avLst/>
              <a:gdLst>
                <a:gd name="T0" fmla="*/ 16708 w 561"/>
                <a:gd name="T1" fmla="*/ 0 h 395"/>
                <a:gd name="T2" fmla="*/ 753 w 561"/>
                <a:gd name="T3" fmla="*/ 0 h 395"/>
                <a:gd name="T4" fmla="*/ 0 w 561"/>
                <a:gd name="T5" fmla="*/ 775 h 395"/>
                <a:gd name="T6" fmla="*/ 0 w 561"/>
                <a:gd name="T7" fmla="*/ 10331 h 395"/>
                <a:gd name="T8" fmla="*/ 753 w 561"/>
                <a:gd name="T9" fmla="*/ 11080 h 395"/>
                <a:gd name="T10" fmla="*/ 7586 w 561"/>
                <a:gd name="T11" fmla="*/ 11080 h 395"/>
                <a:gd name="T12" fmla="*/ 7586 w 561"/>
                <a:gd name="T13" fmla="*/ 12018 h 395"/>
                <a:gd name="T14" fmla="*/ 5690 w 561"/>
                <a:gd name="T15" fmla="*/ 12018 h 395"/>
                <a:gd name="T16" fmla="*/ 5690 w 561"/>
                <a:gd name="T17" fmla="*/ 12297 h 395"/>
                <a:gd name="T18" fmla="*/ 11764 w 561"/>
                <a:gd name="T19" fmla="*/ 12297 h 395"/>
                <a:gd name="T20" fmla="*/ 11764 w 561"/>
                <a:gd name="T21" fmla="*/ 12018 h 395"/>
                <a:gd name="T22" fmla="*/ 9868 w 561"/>
                <a:gd name="T23" fmla="*/ 12018 h 395"/>
                <a:gd name="T24" fmla="*/ 9868 w 561"/>
                <a:gd name="T25" fmla="*/ 11080 h 395"/>
                <a:gd name="T26" fmla="*/ 16708 w 561"/>
                <a:gd name="T27" fmla="*/ 11080 h 395"/>
                <a:gd name="T28" fmla="*/ 17454 w 561"/>
                <a:gd name="T29" fmla="*/ 10331 h 395"/>
                <a:gd name="T30" fmla="*/ 17454 w 561"/>
                <a:gd name="T31" fmla="*/ 775 h 395"/>
                <a:gd name="T32" fmla="*/ 16708 w 561"/>
                <a:gd name="T33" fmla="*/ 0 h 395"/>
                <a:gd name="T34" fmla="*/ 16798 w 561"/>
                <a:gd name="T35" fmla="*/ 10490 h 395"/>
                <a:gd name="T36" fmla="*/ 619 w 561"/>
                <a:gd name="T37" fmla="*/ 10490 h 395"/>
                <a:gd name="T38" fmla="*/ 619 w 561"/>
                <a:gd name="T39" fmla="*/ 591 h 395"/>
                <a:gd name="T40" fmla="*/ 16798 w 561"/>
                <a:gd name="T41" fmla="*/ 591 h 395"/>
                <a:gd name="T42" fmla="*/ 16798 w 561"/>
                <a:gd name="T43" fmla="*/ 10490 h 39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61" h="395">
                  <a:moveTo>
                    <a:pt x="537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332"/>
                    <a:pt x="0" y="332"/>
                    <a:pt x="0" y="332"/>
                  </a:cubicBezTo>
                  <a:cubicBezTo>
                    <a:pt x="0" y="345"/>
                    <a:pt x="11" y="356"/>
                    <a:pt x="24" y="356"/>
                  </a:cubicBezTo>
                  <a:cubicBezTo>
                    <a:pt x="244" y="356"/>
                    <a:pt x="244" y="356"/>
                    <a:pt x="244" y="356"/>
                  </a:cubicBezTo>
                  <a:cubicBezTo>
                    <a:pt x="244" y="386"/>
                    <a:pt x="244" y="386"/>
                    <a:pt x="244" y="386"/>
                  </a:cubicBezTo>
                  <a:cubicBezTo>
                    <a:pt x="183" y="386"/>
                    <a:pt x="183" y="386"/>
                    <a:pt x="183" y="386"/>
                  </a:cubicBezTo>
                  <a:cubicBezTo>
                    <a:pt x="183" y="395"/>
                    <a:pt x="183" y="395"/>
                    <a:pt x="183" y="395"/>
                  </a:cubicBezTo>
                  <a:cubicBezTo>
                    <a:pt x="378" y="395"/>
                    <a:pt x="378" y="395"/>
                    <a:pt x="378" y="395"/>
                  </a:cubicBezTo>
                  <a:cubicBezTo>
                    <a:pt x="378" y="386"/>
                    <a:pt x="378" y="386"/>
                    <a:pt x="378" y="386"/>
                  </a:cubicBezTo>
                  <a:cubicBezTo>
                    <a:pt x="317" y="386"/>
                    <a:pt x="317" y="386"/>
                    <a:pt x="317" y="386"/>
                  </a:cubicBezTo>
                  <a:cubicBezTo>
                    <a:pt x="317" y="356"/>
                    <a:pt x="317" y="356"/>
                    <a:pt x="317" y="356"/>
                  </a:cubicBezTo>
                  <a:cubicBezTo>
                    <a:pt x="537" y="356"/>
                    <a:pt x="537" y="356"/>
                    <a:pt x="537" y="356"/>
                  </a:cubicBezTo>
                  <a:cubicBezTo>
                    <a:pt x="550" y="356"/>
                    <a:pt x="561" y="345"/>
                    <a:pt x="561" y="332"/>
                  </a:cubicBezTo>
                  <a:cubicBezTo>
                    <a:pt x="561" y="25"/>
                    <a:pt x="561" y="25"/>
                    <a:pt x="561" y="25"/>
                  </a:cubicBezTo>
                  <a:cubicBezTo>
                    <a:pt x="561" y="11"/>
                    <a:pt x="550" y="0"/>
                    <a:pt x="537" y="0"/>
                  </a:cubicBezTo>
                  <a:close/>
                  <a:moveTo>
                    <a:pt x="540" y="337"/>
                  </a:moveTo>
                  <a:cubicBezTo>
                    <a:pt x="20" y="337"/>
                    <a:pt x="20" y="337"/>
                    <a:pt x="20" y="337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540" y="19"/>
                    <a:pt x="540" y="19"/>
                    <a:pt x="540" y="19"/>
                  </a:cubicBezTo>
                  <a:lnTo>
                    <a:pt x="540" y="33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pic>
          <p:nvPicPr>
            <p:cNvPr id="22" name="图片 2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1656" y="2245259"/>
              <a:ext cx="3667313" cy="2263367"/>
            </a:xfrm>
            <a:prstGeom prst="rect">
              <a:avLst/>
            </a:prstGeom>
          </p:spPr>
        </p:pic>
      </p:grpSp>
      <p:grpSp>
        <p:nvGrpSpPr>
          <p:cNvPr id="23" name="组合 22"/>
          <p:cNvGrpSpPr/>
          <p:nvPr/>
        </p:nvGrpSpPr>
        <p:grpSpPr>
          <a:xfrm>
            <a:off x="7293789" y="2132446"/>
            <a:ext cx="3948278" cy="2779884"/>
            <a:chOff x="7293789" y="2132446"/>
            <a:chExt cx="3948278" cy="2779884"/>
          </a:xfrm>
        </p:grpSpPr>
        <p:sp>
          <p:nvSpPr>
            <p:cNvPr id="24" name="Freeform 304"/>
            <p:cNvSpPr>
              <a:spLocks noEditPoints="1"/>
            </p:cNvSpPr>
            <p:nvPr/>
          </p:nvSpPr>
          <p:spPr bwMode="auto">
            <a:xfrm>
              <a:off x="7293789" y="2132446"/>
              <a:ext cx="3948278" cy="2779884"/>
            </a:xfrm>
            <a:custGeom>
              <a:avLst/>
              <a:gdLst>
                <a:gd name="T0" fmla="*/ 16708 w 561"/>
                <a:gd name="T1" fmla="*/ 0 h 395"/>
                <a:gd name="T2" fmla="*/ 753 w 561"/>
                <a:gd name="T3" fmla="*/ 0 h 395"/>
                <a:gd name="T4" fmla="*/ 0 w 561"/>
                <a:gd name="T5" fmla="*/ 775 h 395"/>
                <a:gd name="T6" fmla="*/ 0 w 561"/>
                <a:gd name="T7" fmla="*/ 10331 h 395"/>
                <a:gd name="T8" fmla="*/ 753 w 561"/>
                <a:gd name="T9" fmla="*/ 11080 h 395"/>
                <a:gd name="T10" fmla="*/ 7586 w 561"/>
                <a:gd name="T11" fmla="*/ 11080 h 395"/>
                <a:gd name="T12" fmla="*/ 7586 w 561"/>
                <a:gd name="T13" fmla="*/ 12018 h 395"/>
                <a:gd name="T14" fmla="*/ 5690 w 561"/>
                <a:gd name="T15" fmla="*/ 12018 h 395"/>
                <a:gd name="T16" fmla="*/ 5690 w 561"/>
                <a:gd name="T17" fmla="*/ 12297 h 395"/>
                <a:gd name="T18" fmla="*/ 11764 w 561"/>
                <a:gd name="T19" fmla="*/ 12297 h 395"/>
                <a:gd name="T20" fmla="*/ 11764 w 561"/>
                <a:gd name="T21" fmla="*/ 12018 h 395"/>
                <a:gd name="T22" fmla="*/ 9868 w 561"/>
                <a:gd name="T23" fmla="*/ 12018 h 395"/>
                <a:gd name="T24" fmla="*/ 9868 w 561"/>
                <a:gd name="T25" fmla="*/ 11080 h 395"/>
                <a:gd name="T26" fmla="*/ 16708 w 561"/>
                <a:gd name="T27" fmla="*/ 11080 h 395"/>
                <a:gd name="T28" fmla="*/ 17454 w 561"/>
                <a:gd name="T29" fmla="*/ 10331 h 395"/>
                <a:gd name="T30" fmla="*/ 17454 w 561"/>
                <a:gd name="T31" fmla="*/ 775 h 395"/>
                <a:gd name="T32" fmla="*/ 16708 w 561"/>
                <a:gd name="T33" fmla="*/ 0 h 395"/>
                <a:gd name="T34" fmla="*/ 16798 w 561"/>
                <a:gd name="T35" fmla="*/ 10490 h 395"/>
                <a:gd name="T36" fmla="*/ 619 w 561"/>
                <a:gd name="T37" fmla="*/ 10490 h 395"/>
                <a:gd name="T38" fmla="*/ 619 w 561"/>
                <a:gd name="T39" fmla="*/ 591 h 395"/>
                <a:gd name="T40" fmla="*/ 16798 w 561"/>
                <a:gd name="T41" fmla="*/ 591 h 395"/>
                <a:gd name="T42" fmla="*/ 16798 w 561"/>
                <a:gd name="T43" fmla="*/ 10490 h 39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561" h="395">
                  <a:moveTo>
                    <a:pt x="537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332"/>
                    <a:pt x="0" y="332"/>
                    <a:pt x="0" y="332"/>
                  </a:cubicBezTo>
                  <a:cubicBezTo>
                    <a:pt x="0" y="345"/>
                    <a:pt x="11" y="356"/>
                    <a:pt x="24" y="356"/>
                  </a:cubicBezTo>
                  <a:cubicBezTo>
                    <a:pt x="244" y="356"/>
                    <a:pt x="244" y="356"/>
                    <a:pt x="244" y="356"/>
                  </a:cubicBezTo>
                  <a:cubicBezTo>
                    <a:pt x="244" y="386"/>
                    <a:pt x="244" y="386"/>
                    <a:pt x="244" y="386"/>
                  </a:cubicBezTo>
                  <a:cubicBezTo>
                    <a:pt x="183" y="386"/>
                    <a:pt x="183" y="386"/>
                    <a:pt x="183" y="386"/>
                  </a:cubicBezTo>
                  <a:cubicBezTo>
                    <a:pt x="183" y="395"/>
                    <a:pt x="183" y="395"/>
                    <a:pt x="183" y="395"/>
                  </a:cubicBezTo>
                  <a:cubicBezTo>
                    <a:pt x="378" y="395"/>
                    <a:pt x="378" y="395"/>
                    <a:pt x="378" y="395"/>
                  </a:cubicBezTo>
                  <a:cubicBezTo>
                    <a:pt x="378" y="386"/>
                    <a:pt x="378" y="386"/>
                    <a:pt x="378" y="386"/>
                  </a:cubicBezTo>
                  <a:cubicBezTo>
                    <a:pt x="317" y="386"/>
                    <a:pt x="317" y="386"/>
                    <a:pt x="317" y="386"/>
                  </a:cubicBezTo>
                  <a:cubicBezTo>
                    <a:pt x="317" y="356"/>
                    <a:pt x="317" y="356"/>
                    <a:pt x="317" y="356"/>
                  </a:cubicBezTo>
                  <a:cubicBezTo>
                    <a:pt x="537" y="356"/>
                    <a:pt x="537" y="356"/>
                    <a:pt x="537" y="356"/>
                  </a:cubicBezTo>
                  <a:cubicBezTo>
                    <a:pt x="550" y="356"/>
                    <a:pt x="561" y="345"/>
                    <a:pt x="561" y="332"/>
                  </a:cubicBezTo>
                  <a:cubicBezTo>
                    <a:pt x="561" y="25"/>
                    <a:pt x="561" y="25"/>
                    <a:pt x="561" y="25"/>
                  </a:cubicBezTo>
                  <a:cubicBezTo>
                    <a:pt x="561" y="11"/>
                    <a:pt x="550" y="0"/>
                    <a:pt x="537" y="0"/>
                  </a:cubicBezTo>
                  <a:close/>
                  <a:moveTo>
                    <a:pt x="540" y="337"/>
                  </a:moveTo>
                  <a:cubicBezTo>
                    <a:pt x="20" y="337"/>
                    <a:pt x="20" y="337"/>
                    <a:pt x="20" y="337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540" y="19"/>
                    <a:pt x="540" y="19"/>
                    <a:pt x="540" y="19"/>
                  </a:cubicBezTo>
                  <a:lnTo>
                    <a:pt x="540" y="33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pic>
          <p:nvPicPr>
            <p:cNvPr id="25" name="图片 2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43886" y="2264570"/>
              <a:ext cx="3665223" cy="2253109"/>
            </a:xfrm>
            <a:prstGeom prst="rect">
              <a:avLst/>
            </a:prstGeom>
          </p:spPr>
        </p:pic>
      </p:grpSp>
      <p:grpSp>
        <p:nvGrpSpPr>
          <p:cNvPr id="26" name="组合 25"/>
          <p:cNvGrpSpPr/>
          <p:nvPr/>
        </p:nvGrpSpPr>
        <p:grpSpPr>
          <a:xfrm>
            <a:off x="5281509" y="2647803"/>
            <a:ext cx="1584176" cy="1584176"/>
            <a:chOff x="5281509" y="2647803"/>
            <a:chExt cx="1584176" cy="1584176"/>
          </a:xfrm>
        </p:grpSpPr>
        <p:sp>
          <p:nvSpPr>
            <p:cNvPr id="27" name="矩形 26"/>
            <p:cNvSpPr/>
            <p:nvPr/>
          </p:nvSpPr>
          <p:spPr>
            <a:xfrm>
              <a:off x="5281509" y="2647803"/>
              <a:ext cx="1584176" cy="1584176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pic>
          <p:nvPicPr>
            <p:cNvPr id="28" name="图片 27"/>
            <p:cNvPicPr>
              <a:picLocks noChangeAspect="1"/>
            </p:cNvPicPr>
            <p:nvPr/>
          </p:nvPicPr>
          <p:blipFill rotWithShape="1">
            <a:blip r:embed="rId4"/>
            <a:srcRect l="31009" t="19925" r="33522" b="37236"/>
            <a:stretch>
              <a:fillRect/>
            </a:stretch>
          </p:blipFill>
          <p:spPr>
            <a:xfrm>
              <a:off x="5691199" y="2924943"/>
              <a:ext cx="720081" cy="1008113"/>
            </a:xfrm>
            <a:prstGeom prst="rect">
              <a:avLst/>
            </a:prstGeom>
          </p:spPr>
        </p:pic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452217" y="1556792"/>
            <a:ext cx="11142712" cy="4787328"/>
            <a:chOff x="479376" y="1293590"/>
            <a:chExt cx="11142712" cy="4787328"/>
          </a:xfrm>
        </p:grpSpPr>
        <p:grpSp>
          <p:nvGrpSpPr>
            <p:cNvPr id="7" name="组合 6"/>
            <p:cNvGrpSpPr/>
            <p:nvPr/>
          </p:nvGrpSpPr>
          <p:grpSpPr>
            <a:xfrm>
              <a:off x="479376" y="2636912"/>
              <a:ext cx="7430373" cy="3172941"/>
              <a:chOff x="1087438" y="2200275"/>
              <a:chExt cx="4394200" cy="1876425"/>
            </a:xfrm>
          </p:grpSpPr>
          <p:sp>
            <p:nvSpPr>
              <p:cNvPr id="17" name="Freeform 9"/>
              <p:cNvSpPr/>
              <p:nvPr/>
            </p:nvSpPr>
            <p:spPr bwMode="auto">
              <a:xfrm>
                <a:off x="4491038" y="3222625"/>
                <a:ext cx="990600" cy="854075"/>
              </a:xfrm>
              <a:custGeom>
                <a:avLst/>
                <a:gdLst>
                  <a:gd name="T0" fmla="*/ 0 w 624"/>
                  <a:gd name="T1" fmla="*/ 2147483646 h 538"/>
                  <a:gd name="T2" fmla="*/ 2147483646 w 624"/>
                  <a:gd name="T3" fmla="*/ 0 h 538"/>
                  <a:gd name="T4" fmla="*/ 2147483646 w 624"/>
                  <a:gd name="T5" fmla="*/ 2147483646 h 538"/>
                  <a:gd name="T6" fmla="*/ 0 w 624"/>
                  <a:gd name="T7" fmla="*/ 2147483646 h 53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24"/>
                  <a:gd name="T13" fmla="*/ 0 h 538"/>
                  <a:gd name="T14" fmla="*/ 624 w 624"/>
                  <a:gd name="T15" fmla="*/ 538 h 53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24" h="538">
                    <a:moveTo>
                      <a:pt x="0" y="538"/>
                    </a:moveTo>
                    <a:lnTo>
                      <a:pt x="482" y="0"/>
                    </a:lnTo>
                    <a:lnTo>
                      <a:pt x="624" y="538"/>
                    </a:lnTo>
                    <a:lnTo>
                      <a:pt x="0" y="538"/>
                    </a:lnTo>
                    <a:close/>
                  </a:path>
                </a:pathLst>
              </a:custGeom>
              <a:solidFill>
                <a:srgbClr val="FF74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Freeform 10"/>
              <p:cNvSpPr/>
              <p:nvPr/>
            </p:nvSpPr>
            <p:spPr bwMode="auto">
              <a:xfrm>
                <a:off x="3292475" y="2200275"/>
                <a:ext cx="928688" cy="1876425"/>
              </a:xfrm>
              <a:custGeom>
                <a:avLst/>
                <a:gdLst>
                  <a:gd name="T0" fmla="*/ 0 w 585"/>
                  <a:gd name="T1" fmla="*/ 2147483646 h 1182"/>
                  <a:gd name="T2" fmla="*/ 2147483646 w 585"/>
                  <a:gd name="T3" fmla="*/ 0 h 1182"/>
                  <a:gd name="T4" fmla="*/ 2147483646 w 585"/>
                  <a:gd name="T5" fmla="*/ 2147483646 h 1182"/>
                  <a:gd name="T6" fmla="*/ 0 w 585"/>
                  <a:gd name="T7" fmla="*/ 2147483646 h 118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85"/>
                  <a:gd name="T13" fmla="*/ 0 h 1182"/>
                  <a:gd name="T14" fmla="*/ 585 w 585"/>
                  <a:gd name="T15" fmla="*/ 1182 h 118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85" h="1182">
                    <a:moveTo>
                      <a:pt x="0" y="1182"/>
                    </a:moveTo>
                    <a:lnTo>
                      <a:pt x="291" y="0"/>
                    </a:lnTo>
                    <a:lnTo>
                      <a:pt x="585" y="1182"/>
                    </a:lnTo>
                    <a:lnTo>
                      <a:pt x="0" y="118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Freeform 11"/>
              <p:cNvSpPr/>
              <p:nvPr/>
            </p:nvSpPr>
            <p:spPr bwMode="auto">
              <a:xfrm>
                <a:off x="3849688" y="2919413"/>
                <a:ext cx="1195387" cy="1157287"/>
              </a:xfrm>
              <a:custGeom>
                <a:avLst/>
                <a:gdLst>
                  <a:gd name="T0" fmla="*/ 0 w 753"/>
                  <a:gd name="T1" fmla="*/ 2147483646 h 729"/>
                  <a:gd name="T2" fmla="*/ 2147483646 w 753"/>
                  <a:gd name="T3" fmla="*/ 0 h 729"/>
                  <a:gd name="T4" fmla="*/ 2147483646 w 753"/>
                  <a:gd name="T5" fmla="*/ 2147483646 h 729"/>
                  <a:gd name="T6" fmla="*/ 0 w 753"/>
                  <a:gd name="T7" fmla="*/ 2147483646 h 72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53"/>
                  <a:gd name="T13" fmla="*/ 0 h 729"/>
                  <a:gd name="T14" fmla="*/ 753 w 753"/>
                  <a:gd name="T15" fmla="*/ 729 h 72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53" h="729">
                    <a:moveTo>
                      <a:pt x="0" y="729"/>
                    </a:moveTo>
                    <a:lnTo>
                      <a:pt x="404" y="0"/>
                    </a:lnTo>
                    <a:lnTo>
                      <a:pt x="753" y="729"/>
                    </a:lnTo>
                    <a:lnTo>
                      <a:pt x="0" y="729"/>
                    </a:lnTo>
                    <a:close/>
                  </a:path>
                </a:pathLst>
              </a:custGeom>
              <a:solidFill>
                <a:srgbClr val="01B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Freeform 12"/>
              <p:cNvSpPr/>
              <p:nvPr/>
            </p:nvSpPr>
            <p:spPr bwMode="auto">
              <a:xfrm>
                <a:off x="2511425" y="2857500"/>
                <a:ext cx="1206500" cy="1219200"/>
              </a:xfrm>
              <a:custGeom>
                <a:avLst/>
                <a:gdLst>
                  <a:gd name="T0" fmla="*/ 0 w 760"/>
                  <a:gd name="T1" fmla="*/ 2147483646 h 768"/>
                  <a:gd name="T2" fmla="*/ 2147483646 w 760"/>
                  <a:gd name="T3" fmla="*/ 0 h 768"/>
                  <a:gd name="T4" fmla="*/ 2147483646 w 760"/>
                  <a:gd name="T5" fmla="*/ 2147483646 h 768"/>
                  <a:gd name="T6" fmla="*/ 0 w 760"/>
                  <a:gd name="T7" fmla="*/ 2147483646 h 76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60"/>
                  <a:gd name="T13" fmla="*/ 0 h 768"/>
                  <a:gd name="T14" fmla="*/ 760 w 760"/>
                  <a:gd name="T15" fmla="*/ 768 h 76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60" h="768">
                    <a:moveTo>
                      <a:pt x="0" y="768"/>
                    </a:moveTo>
                    <a:lnTo>
                      <a:pt x="459" y="0"/>
                    </a:lnTo>
                    <a:lnTo>
                      <a:pt x="760" y="768"/>
                    </a:lnTo>
                    <a:lnTo>
                      <a:pt x="0" y="768"/>
                    </a:lnTo>
                    <a:close/>
                  </a:path>
                </a:pathLst>
              </a:custGeom>
              <a:solidFill>
                <a:srgbClr val="ECAC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Freeform 13"/>
              <p:cNvSpPr/>
              <p:nvPr/>
            </p:nvSpPr>
            <p:spPr bwMode="auto">
              <a:xfrm>
                <a:off x="1087438" y="2557463"/>
                <a:ext cx="1187450" cy="1519237"/>
              </a:xfrm>
              <a:custGeom>
                <a:avLst/>
                <a:gdLst>
                  <a:gd name="T0" fmla="*/ 0 w 748"/>
                  <a:gd name="T1" fmla="*/ 2147483646 h 957"/>
                  <a:gd name="T2" fmla="*/ 2147483646 w 748"/>
                  <a:gd name="T3" fmla="*/ 0 h 957"/>
                  <a:gd name="T4" fmla="*/ 2147483646 w 748"/>
                  <a:gd name="T5" fmla="*/ 2147483646 h 957"/>
                  <a:gd name="T6" fmla="*/ 0 w 748"/>
                  <a:gd name="T7" fmla="*/ 2147483646 h 95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48"/>
                  <a:gd name="T13" fmla="*/ 0 h 957"/>
                  <a:gd name="T14" fmla="*/ 748 w 748"/>
                  <a:gd name="T15" fmla="*/ 957 h 95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48" h="957">
                    <a:moveTo>
                      <a:pt x="0" y="957"/>
                    </a:moveTo>
                    <a:lnTo>
                      <a:pt x="374" y="0"/>
                    </a:lnTo>
                    <a:lnTo>
                      <a:pt x="748" y="957"/>
                    </a:lnTo>
                    <a:lnTo>
                      <a:pt x="0" y="957"/>
                    </a:lnTo>
                    <a:close/>
                  </a:path>
                </a:pathLst>
              </a:custGeom>
              <a:solidFill>
                <a:srgbClr val="01B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2" name="Freeform 14"/>
              <p:cNvSpPr/>
              <p:nvPr/>
            </p:nvSpPr>
            <p:spPr bwMode="auto">
              <a:xfrm>
                <a:off x="1484313" y="3192463"/>
                <a:ext cx="1606550" cy="884237"/>
              </a:xfrm>
              <a:custGeom>
                <a:avLst/>
                <a:gdLst>
                  <a:gd name="T0" fmla="*/ 0 w 1012"/>
                  <a:gd name="T1" fmla="*/ 2147483646 h 557"/>
                  <a:gd name="T2" fmla="*/ 2147483646 w 1012"/>
                  <a:gd name="T3" fmla="*/ 0 h 557"/>
                  <a:gd name="T4" fmla="*/ 2147483646 w 1012"/>
                  <a:gd name="T5" fmla="*/ 2147483646 h 557"/>
                  <a:gd name="T6" fmla="*/ 2147483646 w 1012"/>
                  <a:gd name="T7" fmla="*/ 2147483646 h 557"/>
                  <a:gd name="T8" fmla="*/ 0 w 1012"/>
                  <a:gd name="T9" fmla="*/ 2147483646 h 55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12"/>
                  <a:gd name="T16" fmla="*/ 0 h 557"/>
                  <a:gd name="T17" fmla="*/ 1012 w 1012"/>
                  <a:gd name="T18" fmla="*/ 557 h 55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12" h="557">
                    <a:moveTo>
                      <a:pt x="0" y="557"/>
                    </a:moveTo>
                    <a:lnTo>
                      <a:pt x="643" y="0"/>
                    </a:lnTo>
                    <a:lnTo>
                      <a:pt x="1012" y="557"/>
                    </a:lnTo>
                    <a:lnTo>
                      <a:pt x="243" y="557"/>
                    </a:lnTo>
                    <a:lnTo>
                      <a:pt x="0" y="557"/>
                    </a:lnTo>
                    <a:close/>
                  </a:path>
                </a:pathLst>
              </a:custGeom>
              <a:solidFill>
                <a:srgbClr val="FF3B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8" name="泪滴形 7"/>
            <p:cNvSpPr/>
            <p:nvPr/>
          </p:nvSpPr>
          <p:spPr>
            <a:xfrm rot="8098730">
              <a:off x="954888" y="1835317"/>
              <a:ext cx="992654" cy="992654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1055440" y="2133504"/>
              <a:ext cx="123863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优势</a:t>
              </a:r>
              <a:endPara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泪滴形 9"/>
            <p:cNvSpPr/>
            <p:nvPr/>
          </p:nvSpPr>
          <p:spPr>
            <a:xfrm rot="8098730">
              <a:off x="4470648" y="1293590"/>
              <a:ext cx="992654" cy="992654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" name="文本框 10"/>
            <p:cNvSpPr txBox="1"/>
            <p:nvPr/>
          </p:nvSpPr>
          <p:spPr>
            <a:xfrm>
              <a:off x="4571200" y="1591777"/>
              <a:ext cx="123863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优势</a:t>
              </a:r>
              <a:endPara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泪滴形 11"/>
            <p:cNvSpPr/>
            <p:nvPr/>
          </p:nvSpPr>
          <p:spPr>
            <a:xfrm rot="8098730">
              <a:off x="2360323" y="3012742"/>
              <a:ext cx="992654" cy="992654"/>
            </a:xfrm>
            <a:prstGeom prst="teardrop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2460875" y="3310929"/>
              <a:ext cx="123863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4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劣势</a:t>
              </a:r>
              <a:endParaRPr lang="zh-CN" altLang="en-US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泪滴形 13"/>
            <p:cNvSpPr/>
            <p:nvPr/>
          </p:nvSpPr>
          <p:spPr>
            <a:xfrm rot="8098730">
              <a:off x="5735133" y="2586001"/>
              <a:ext cx="992654" cy="992654"/>
            </a:xfrm>
            <a:prstGeom prst="teardrop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5" name="文本框 14"/>
            <p:cNvSpPr txBox="1"/>
            <p:nvPr/>
          </p:nvSpPr>
          <p:spPr>
            <a:xfrm>
              <a:off x="5835685" y="2884188"/>
              <a:ext cx="123863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4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劣势</a:t>
              </a:r>
              <a:endParaRPr lang="zh-CN" altLang="en-US" sz="24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文本框 15"/>
            <p:cNvSpPr txBox="1"/>
            <p:nvPr/>
          </p:nvSpPr>
          <p:spPr>
            <a:xfrm>
              <a:off x="8493106" y="3772594"/>
              <a:ext cx="3128982" cy="23083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  <a:endPara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工作室致力于专业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623392" y="1772816"/>
            <a:ext cx="10873208" cy="4176464"/>
            <a:chOff x="314377" y="1484784"/>
            <a:chExt cx="10873208" cy="4176464"/>
          </a:xfrm>
        </p:grpSpPr>
        <p:sp>
          <p:nvSpPr>
            <p:cNvPr id="7" name="Freeform 10"/>
            <p:cNvSpPr>
              <a:spLocks noEditPoints="1"/>
            </p:cNvSpPr>
            <p:nvPr/>
          </p:nvSpPr>
          <p:spPr bwMode="auto">
            <a:xfrm>
              <a:off x="1991544" y="1484784"/>
              <a:ext cx="8280920" cy="4176464"/>
            </a:xfrm>
            <a:custGeom>
              <a:avLst/>
              <a:gdLst>
                <a:gd name="T0" fmla="*/ 295 w 790"/>
                <a:gd name="T1" fmla="*/ 14 h 401"/>
                <a:gd name="T2" fmla="*/ 240 w 790"/>
                <a:gd name="T3" fmla="*/ 23 h 401"/>
                <a:gd name="T4" fmla="*/ 249 w 790"/>
                <a:gd name="T5" fmla="*/ 83 h 401"/>
                <a:gd name="T6" fmla="*/ 291 w 790"/>
                <a:gd name="T7" fmla="*/ 93 h 401"/>
                <a:gd name="T8" fmla="*/ 303 w 790"/>
                <a:gd name="T9" fmla="*/ 43 h 401"/>
                <a:gd name="T10" fmla="*/ 641 w 790"/>
                <a:gd name="T11" fmla="*/ 291 h 401"/>
                <a:gd name="T12" fmla="*/ 579 w 790"/>
                <a:gd name="T13" fmla="*/ 262 h 401"/>
                <a:gd name="T14" fmla="*/ 333 w 790"/>
                <a:gd name="T15" fmla="*/ 108 h 401"/>
                <a:gd name="T16" fmla="*/ 487 w 790"/>
                <a:gd name="T17" fmla="*/ 253 h 401"/>
                <a:gd name="T18" fmla="*/ 398 w 790"/>
                <a:gd name="T19" fmla="*/ 202 h 401"/>
                <a:gd name="T20" fmla="*/ 402 w 790"/>
                <a:gd name="T21" fmla="*/ 294 h 401"/>
                <a:gd name="T22" fmla="*/ 468 w 790"/>
                <a:gd name="T23" fmla="*/ 277 h 401"/>
                <a:gd name="T24" fmla="*/ 623 w 790"/>
                <a:gd name="T25" fmla="*/ 260 h 401"/>
                <a:gd name="T26" fmla="*/ 617 w 790"/>
                <a:gd name="T27" fmla="*/ 323 h 401"/>
                <a:gd name="T28" fmla="*/ 746 w 790"/>
                <a:gd name="T29" fmla="*/ 369 h 401"/>
                <a:gd name="T30" fmla="*/ 677 w 790"/>
                <a:gd name="T31" fmla="*/ 178 h 401"/>
                <a:gd name="T32" fmla="*/ 767 w 790"/>
                <a:gd name="T33" fmla="*/ 92 h 401"/>
                <a:gd name="T34" fmla="*/ 694 w 790"/>
                <a:gd name="T35" fmla="*/ 74 h 401"/>
                <a:gd name="T36" fmla="*/ 622 w 790"/>
                <a:gd name="T37" fmla="*/ 61 h 401"/>
                <a:gd name="T38" fmla="*/ 590 w 790"/>
                <a:gd name="T39" fmla="*/ 44 h 401"/>
                <a:gd name="T40" fmla="*/ 540 w 790"/>
                <a:gd name="T41" fmla="*/ 75 h 401"/>
                <a:gd name="T42" fmla="*/ 534 w 790"/>
                <a:gd name="T43" fmla="*/ 72 h 401"/>
                <a:gd name="T44" fmla="*/ 477 w 790"/>
                <a:gd name="T45" fmla="*/ 99 h 401"/>
                <a:gd name="T46" fmla="*/ 440 w 790"/>
                <a:gd name="T47" fmla="*/ 87 h 401"/>
                <a:gd name="T48" fmla="*/ 390 w 790"/>
                <a:gd name="T49" fmla="*/ 119 h 401"/>
                <a:gd name="T50" fmla="*/ 419 w 790"/>
                <a:gd name="T51" fmla="*/ 117 h 401"/>
                <a:gd name="T52" fmla="*/ 420 w 790"/>
                <a:gd name="T53" fmla="*/ 142 h 401"/>
                <a:gd name="T54" fmla="*/ 372 w 790"/>
                <a:gd name="T55" fmla="*/ 165 h 401"/>
                <a:gd name="T56" fmla="*/ 379 w 790"/>
                <a:gd name="T57" fmla="*/ 189 h 401"/>
                <a:gd name="T58" fmla="*/ 411 w 790"/>
                <a:gd name="T59" fmla="*/ 196 h 401"/>
                <a:gd name="T60" fmla="*/ 419 w 790"/>
                <a:gd name="T61" fmla="*/ 194 h 401"/>
                <a:gd name="T62" fmla="*/ 453 w 790"/>
                <a:gd name="T63" fmla="*/ 221 h 401"/>
                <a:gd name="T64" fmla="*/ 488 w 790"/>
                <a:gd name="T65" fmla="*/ 219 h 401"/>
                <a:gd name="T66" fmla="*/ 552 w 790"/>
                <a:gd name="T67" fmla="*/ 243 h 401"/>
                <a:gd name="T68" fmla="*/ 594 w 790"/>
                <a:gd name="T69" fmla="*/ 257 h 401"/>
                <a:gd name="T70" fmla="*/ 641 w 790"/>
                <a:gd name="T71" fmla="*/ 214 h 401"/>
                <a:gd name="T72" fmla="*/ 657 w 790"/>
                <a:gd name="T73" fmla="*/ 190 h 401"/>
                <a:gd name="T74" fmla="*/ 712 w 790"/>
                <a:gd name="T75" fmla="*/ 133 h 401"/>
                <a:gd name="T76" fmla="*/ 729 w 790"/>
                <a:gd name="T77" fmla="*/ 136 h 401"/>
                <a:gd name="T78" fmla="*/ 701 w 790"/>
                <a:gd name="T79" fmla="*/ 279 h 401"/>
                <a:gd name="T80" fmla="*/ 668 w 790"/>
                <a:gd name="T81" fmla="*/ 283 h 401"/>
                <a:gd name="T82" fmla="*/ 640 w 790"/>
                <a:gd name="T83" fmla="*/ 271 h 401"/>
                <a:gd name="T84" fmla="*/ 393 w 790"/>
                <a:gd name="T85" fmla="*/ 40 h 401"/>
                <a:gd name="T86" fmla="*/ 193 w 790"/>
                <a:gd name="T87" fmla="*/ 228 h 401"/>
                <a:gd name="T88" fmla="*/ 521 w 790"/>
                <a:gd name="T89" fmla="*/ 42 h 401"/>
                <a:gd name="T90" fmla="*/ 362 w 790"/>
                <a:gd name="T91" fmla="*/ 156 h 401"/>
                <a:gd name="T92" fmla="*/ 246 w 790"/>
                <a:gd name="T93" fmla="*/ 390 h 401"/>
                <a:gd name="T94" fmla="*/ 191 w 790"/>
                <a:gd name="T95" fmla="*/ 53 h 401"/>
                <a:gd name="T96" fmla="*/ 183 w 790"/>
                <a:gd name="T97" fmla="*/ 21 h 401"/>
                <a:gd name="T98" fmla="*/ 206 w 790"/>
                <a:gd name="T99" fmla="*/ 255 h 401"/>
                <a:gd name="T100" fmla="*/ 198 w 790"/>
                <a:gd name="T101" fmla="*/ 226 h 401"/>
                <a:gd name="T102" fmla="*/ 228 w 790"/>
                <a:gd name="T103" fmla="*/ 166 h 401"/>
                <a:gd name="T104" fmla="*/ 210 w 790"/>
                <a:gd name="T105" fmla="*/ 121 h 401"/>
                <a:gd name="T106" fmla="*/ 186 w 790"/>
                <a:gd name="T107" fmla="*/ 121 h 401"/>
                <a:gd name="T108" fmla="*/ 167 w 790"/>
                <a:gd name="T109" fmla="*/ 97 h 401"/>
                <a:gd name="T110" fmla="*/ 9 w 790"/>
                <a:gd name="T111" fmla="*/ 107 h 401"/>
                <a:gd name="T112" fmla="*/ 37 w 790"/>
                <a:gd name="T113" fmla="*/ 141 h 401"/>
                <a:gd name="T114" fmla="*/ 116 w 790"/>
                <a:gd name="T115" fmla="*/ 209 h 401"/>
                <a:gd name="T116" fmla="*/ 194 w 790"/>
                <a:gd name="T117" fmla="*/ 261 h 401"/>
                <a:gd name="T118" fmla="*/ 221 w 790"/>
                <a:gd name="T119" fmla="*/ 400 h 401"/>
                <a:gd name="T120" fmla="*/ 216 w 790"/>
                <a:gd name="T121" fmla="*/ 241 h 401"/>
                <a:gd name="T122" fmla="*/ 231 w 790"/>
                <a:gd name="T123" fmla="*/ 93 h 401"/>
                <a:gd name="T124" fmla="*/ 159 w 790"/>
                <a:gd name="T125" fmla="*/ 76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90" h="401">
                  <a:moveTo>
                    <a:pt x="756" y="81"/>
                  </a:moveTo>
                  <a:cubicBezTo>
                    <a:pt x="756" y="81"/>
                    <a:pt x="756" y="81"/>
                    <a:pt x="756" y="81"/>
                  </a:cubicBezTo>
                  <a:cubicBezTo>
                    <a:pt x="757" y="82"/>
                    <a:pt x="757" y="82"/>
                    <a:pt x="757" y="82"/>
                  </a:cubicBezTo>
                  <a:cubicBezTo>
                    <a:pt x="757" y="84"/>
                    <a:pt x="761" y="83"/>
                    <a:pt x="760" y="81"/>
                  </a:cubicBezTo>
                  <a:cubicBezTo>
                    <a:pt x="759" y="79"/>
                    <a:pt x="756" y="77"/>
                    <a:pt x="756" y="80"/>
                  </a:cubicBezTo>
                  <a:cubicBezTo>
                    <a:pt x="756" y="81"/>
                    <a:pt x="756" y="81"/>
                    <a:pt x="756" y="81"/>
                  </a:cubicBezTo>
                  <a:close/>
                  <a:moveTo>
                    <a:pt x="311" y="23"/>
                  </a:moveTo>
                  <a:cubicBezTo>
                    <a:pt x="311" y="23"/>
                    <a:pt x="309" y="22"/>
                    <a:pt x="308" y="22"/>
                  </a:cubicBezTo>
                  <a:cubicBezTo>
                    <a:pt x="308" y="22"/>
                    <a:pt x="308" y="23"/>
                    <a:pt x="307" y="23"/>
                  </a:cubicBezTo>
                  <a:cubicBezTo>
                    <a:pt x="305" y="22"/>
                    <a:pt x="305" y="23"/>
                    <a:pt x="304" y="23"/>
                  </a:cubicBezTo>
                  <a:cubicBezTo>
                    <a:pt x="304" y="23"/>
                    <a:pt x="304" y="26"/>
                    <a:pt x="303" y="25"/>
                  </a:cubicBezTo>
                  <a:cubicBezTo>
                    <a:pt x="303" y="25"/>
                    <a:pt x="302" y="27"/>
                    <a:pt x="302" y="26"/>
                  </a:cubicBezTo>
                  <a:cubicBezTo>
                    <a:pt x="302" y="26"/>
                    <a:pt x="301" y="24"/>
                    <a:pt x="300" y="24"/>
                  </a:cubicBezTo>
                  <a:cubicBezTo>
                    <a:pt x="299" y="24"/>
                    <a:pt x="300" y="26"/>
                    <a:pt x="299" y="25"/>
                  </a:cubicBezTo>
                  <a:cubicBezTo>
                    <a:pt x="299" y="25"/>
                    <a:pt x="298" y="28"/>
                    <a:pt x="297" y="30"/>
                  </a:cubicBezTo>
                  <a:cubicBezTo>
                    <a:pt x="296" y="31"/>
                    <a:pt x="296" y="34"/>
                    <a:pt x="294" y="33"/>
                  </a:cubicBezTo>
                  <a:cubicBezTo>
                    <a:pt x="294" y="33"/>
                    <a:pt x="294" y="30"/>
                    <a:pt x="295" y="29"/>
                  </a:cubicBezTo>
                  <a:cubicBezTo>
                    <a:pt x="296" y="27"/>
                    <a:pt x="298" y="25"/>
                    <a:pt x="298" y="24"/>
                  </a:cubicBezTo>
                  <a:cubicBezTo>
                    <a:pt x="298" y="23"/>
                    <a:pt x="298" y="22"/>
                    <a:pt x="297" y="22"/>
                  </a:cubicBezTo>
                  <a:cubicBezTo>
                    <a:pt x="297" y="22"/>
                    <a:pt x="296" y="20"/>
                    <a:pt x="295" y="21"/>
                  </a:cubicBezTo>
                  <a:cubicBezTo>
                    <a:pt x="295" y="21"/>
                    <a:pt x="295" y="23"/>
                    <a:pt x="294" y="23"/>
                  </a:cubicBezTo>
                  <a:cubicBezTo>
                    <a:pt x="293" y="24"/>
                    <a:pt x="293" y="24"/>
                    <a:pt x="293" y="24"/>
                  </a:cubicBezTo>
                  <a:cubicBezTo>
                    <a:pt x="293" y="24"/>
                    <a:pt x="293" y="25"/>
                    <a:pt x="292" y="25"/>
                  </a:cubicBezTo>
                  <a:cubicBezTo>
                    <a:pt x="292" y="22"/>
                    <a:pt x="292" y="22"/>
                    <a:pt x="292" y="22"/>
                  </a:cubicBezTo>
                  <a:cubicBezTo>
                    <a:pt x="292" y="22"/>
                    <a:pt x="292" y="23"/>
                    <a:pt x="291" y="22"/>
                  </a:cubicBezTo>
                  <a:cubicBezTo>
                    <a:pt x="290" y="22"/>
                    <a:pt x="290" y="22"/>
                    <a:pt x="290" y="22"/>
                  </a:cubicBezTo>
                  <a:cubicBezTo>
                    <a:pt x="288" y="22"/>
                    <a:pt x="288" y="22"/>
                    <a:pt x="288" y="22"/>
                  </a:cubicBezTo>
                  <a:cubicBezTo>
                    <a:pt x="288" y="22"/>
                    <a:pt x="287" y="22"/>
                    <a:pt x="286" y="22"/>
                  </a:cubicBezTo>
                  <a:cubicBezTo>
                    <a:pt x="285" y="23"/>
                    <a:pt x="285" y="23"/>
                    <a:pt x="284" y="23"/>
                  </a:cubicBezTo>
                  <a:cubicBezTo>
                    <a:pt x="284" y="23"/>
                    <a:pt x="283" y="24"/>
                    <a:pt x="283" y="24"/>
                  </a:cubicBezTo>
                  <a:cubicBezTo>
                    <a:pt x="282" y="24"/>
                    <a:pt x="282" y="24"/>
                    <a:pt x="282" y="24"/>
                  </a:cubicBezTo>
                  <a:cubicBezTo>
                    <a:pt x="282" y="25"/>
                    <a:pt x="281" y="24"/>
                    <a:pt x="281" y="24"/>
                  </a:cubicBezTo>
                  <a:cubicBezTo>
                    <a:pt x="280" y="24"/>
                    <a:pt x="281" y="23"/>
                    <a:pt x="281" y="23"/>
                  </a:cubicBezTo>
                  <a:cubicBezTo>
                    <a:pt x="281" y="23"/>
                    <a:pt x="283" y="22"/>
                    <a:pt x="284" y="22"/>
                  </a:cubicBezTo>
                  <a:cubicBezTo>
                    <a:pt x="284" y="22"/>
                    <a:pt x="288" y="21"/>
                    <a:pt x="288" y="21"/>
                  </a:cubicBezTo>
                  <a:cubicBezTo>
                    <a:pt x="288" y="21"/>
                    <a:pt x="290" y="21"/>
                    <a:pt x="292" y="21"/>
                  </a:cubicBezTo>
                  <a:cubicBezTo>
                    <a:pt x="294" y="21"/>
                    <a:pt x="295" y="21"/>
                    <a:pt x="295" y="21"/>
                  </a:cubicBezTo>
                  <a:cubicBezTo>
                    <a:pt x="294" y="20"/>
                    <a:pt x="297" y="20"/>
                    <a:pt x="297" y="19"/>
                  </a:cubicBezTo>
                  <a:cubicBezTo>
                    <a:pt x="298" y="18"/>
                    <a:pt x="298" y="18"/>
                    <a:pt x="298" y="18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8" y="16"/>
                    <a:pt x="298" y="16"/>
                    <a:pt x="298" y="16"/>
                  </a:cubicBezTo>
                  <a:cubicBezTo>
                    <a:pt x="297" y="15"/>
                    <a:pt x="297" y="15"/>
                    <a:pt x="296" y="15"/>
                  </a:cubicBezTo>
                  <a:cubicBezTo>
                    <a:pt x="296" y="14"/>
                    <a:pt x="296" y="14"/>
                    <a:pt x="295" y="14"/>
                  </a:cubicBezTo>
                  <a:cubicBezTo>
                    <a:pt x="293" y="14"/>
                    <a:pt x="295" y="11"/>
                    <a:pt x="294" y="11"/>
                  </a:cubicBezTo>
                  <a:cubicBezTo>
                    <a:pt x="294" y="10"/>
                    <a:pt x="293" y="11"/>
                    <a:pt x="292" y="10"/>
                  </a:cubicBezTo>
                  <a:cubicBezTo>
                    <a:pt x="291" y="10"/>
                    <a:pt x="295" y="10"/>
                    <a:pt x="295" y="9"/>
                  </a:cubicBezTo>
                  <a:cubicBezTo>
                    <a:pt x="294" y="7"/>
                    <a:pt x="290" y="8"/>
                    <a:pt x="289" y="8"/>
                  </a:cubicBezTo>
                  <a:cubicBezTo>
                    <a:pt x="288" y="8"/>
                    <a:pt x="295" y="4"/>
                    <a:pt x="291" y="4"/>
                  </a:cubicBezTo>
                  <a:cubicBezTo>
                    <a:pt x="290" y="4"/>
                    <a:pt x="284" y="7"/>
                    <a:pt x="283" y="6"/>
                  </a:cubicBezTo>
                  <a:cubicBezTo>
                    <a:pt x="281" y="6"/>
                    <a:pt x="280" y="5"/>
                    <a:pt x="278" y="4"/>
                  </a:cubicBezTo>
                  <a:cubicBezTo>
                    <a:pt x="277" y="4"/>
                    <a:pt x="279" y="6"/>
                    <a:pt x="278" y="6"/>
                  </a:cubicBezTo>
                  <a:cubicBezTo>
                    <a:pt x="276" y="6"/>
                    <a:pt x="276" y="7"/>
                    <a:pt x="275" y="7"/>
                  </a:cubicBezTo>
                  <a:cubicBezTo>
                    <a:pt x="274" y="7"/>
                    <a:pt x="275" y="7"/>
                    <a:pt x="274" y="7"/>
                  </a:cubicBezTo>
                  <a:cubicBezTo>
                    <a:pt x="273" y="7"/>
                    <a:pt x="272" y="5"/>
                    <a:pt x="271" y="6"/>
                  </a:cubicBezTo>
                  <a:cubicBezTo>
                    <a:pt x="271" y="6"/>
                    <a:pt x="271" y="8"/>
                    <a:pt x="270" y="9"/>
                  </a:cubicBezTo>
                  <a:cubicBezTo>
                    <a:pt x="269" y="9"/>
                    <a:pt x="269" y="10"/>
                    <a:pt x="268" y="8"/>
                  </a:cubicBezTo>
                  <a:cubicBezTo>
                    <a:pt x="268" y="8"/>
                    <a:pt x="267" y="5"/>
                    <a:pt x="266" y="5"/>
                  </a:cubicBezTo>
                  <a:cubicBezTo>
                    <a:pt x="266" y="5"/>
                    <a:pt x="265" y="8"/>
                    <a:pt x="263" y="7"/>
                  </a:cubicBezTo>
                  <a:cubicBezTo>
                    <a:pt x="262" y="6"/>
                    <a:pt x="261" y="11"/>
                    <a:pt x="260" y="11"/>
                  </a:cubicBezTo>
                  <a:cubicBezTo>
                    <a:pt x="260" y="11"/>
                    <a:pt x="261" y="12"/>
                    <a:pt x="260" y="12"/>
                  </a:cubicBezTo>
                  <a:cubicBezTo>
                    <a:pt x="259" y="12"/>
                    <a:pt x="259" y="12"/>
                    <a:pt x="259" y="12"/>
                  </a:cubicBezTo>
                  <a:cubicBezTo>
                    <a:pt x="259" y="12"/>
                    <a:pt x="259" y="13"/>
                    <a:pt x="258" y="13"/>
                  </a:cubicBezTo>
                  <a:cubicBezTo>
                    <a:pt x="257" y="14"/>
                    <a:pt x="256" y="14"/>
                    <a:pt x="256" y="14"/>
                  </a:cubicBezTo>
                  <a:cubicBezTo>
                    <a:pt x="256" y="15"/>
                    <a:pt x="257" y="15"/>
                    <a:pt x="257" y="15"/>
                  </a:cubicBezTo>
                  <a:cubicBezTo>
                    <a:pt x="257" y="16"/>
                    <a:pt x="259" y="15"/>
                    <a:pt x="259" y="15"/>
                  </a:cubicBezTo>
                  <a:cubicBezTo>
                    <a:pt x="261" y="15"/>
                    <a:pt x="263" y="17"/>
                    <a:pt x="263" y="17"/>
                  </a:cubicBezTo>
                  <a:cubicBezTo>
                    <a:pt x="263" y="18"/>
                    <a:pt x="264" y="18"/>
                    <a:pt x="264" y="19"/>
                  </a:cubicBezTo>
                  <a:cubicBezTo>
                    <a:pt x="264" y="20"/>
                    <a:pt x="261" y="19"/>
                    <a:pt x="261" y="19"/>
                  </a:cubicBezTo>
                  <a:cubicBezTo>
                    <a:pt x="260" y="19"/>
                    <a:pt x="263" y="20"/>
                    <a:pt x="263" y="21"/>
                  </a:cubicBezTo>
                  <a:cubicBezTo>
                    <a:pt x="263" y="22"/>
                    <a:pt x="263" y="22"/>
                    <a:pt x="263" y="22"/>
                  </a:cubicBezTo>
                  <a:cubicBezTo>
                    <a:pt x="263" y="22"/>
                    <a:pt x="262" y="24"/>
                    <a:pt x="262" y="23"/>
                  </a:cubicBezTo>
                  <a:cubicBezTo>
                    <a:pt x="261" y="22"/>
                    <a:pt x="262" y="21"/>
                    <a:pt x="261" y="21"/>
                  </a:cubicBezTo>
                  <a:cubicBezTo>
                    <a:pt x="259" y="21"/>
                    <a:pt x="259" y="21"/>
                    <a:pt x="259" y="20"/>
                  </a:cubicBezTo>
                  <a:cubicBezTo>
                    <a:pt x="258" y="20"/>
                    <a:pt x="259" y="19"/>
                    <a:pt x="259" y="19"/>
                  </a:cubicBezTo>
                  <a:cubicBezTo>
                    <a:pt x="258" y="18"/>
                    <a:pt x="259" y="18"/>
                    <a:pt x="258" y="17"/>
                  </a:cubicBezTo>
                  <a:cubicBezTo>
                    <a:pt x="257" y="17"/>
                    <a:pt x="255" y="16"/>
                    <a:pt x="254" y="17"/>
                  </a:cubicBezTo>
                  <a:cubicBezTo>
                    <a:pt x="253" y="18"/>
                    <a:pt x="255" y="19"/>
                    <a:pt x="254" y="19"/>
                  </a:cubicBezTo>
                  <a:cubicBezTo>
                    <a:pt x="253" y="20"/>
                    <a:pt x="256" y="21"/>
                    <a:pt x="255" y="21"/>
                  </a:cubicBezTo>
                  <a:cubicBezTo>
                    <a:pt x="254" y="21"/>
                    <a:pt x="255" y="22"/>
                    <a:pt x="255" y="23"/>
                  </a:cubicBezTo>
                  <a:cubicBezTo>
                    <a:pt x="255" y="23"/>
                    <a:pt x="254" y="22"/>
                    <a:pt x="253" y="22"/>
                  </a:cubicBezTo>
                  <a:cubicBezTo>
                    <a:pt x="253" y="22"/>
                    <a:pt x="253" y="21"/>
                    <a:pt x="253" y="21"/>
                  </a:cubicBezTo>
                  <a:cubicBezTo>
                    <a:pt x="252" y="20"/>
                    <a:pt x="253" y="20"/>
                    <a:pt x="252" y="19"/>
                  </a:cubicBezTo>
                  <a:cubicBezTo>
                    <a:pt x="251" y="19"/>
                    <a:pt x="250" y="19"/>
                    <a:pt x="249" y="19"/>
                  </a:cubicBezTo>
                  <a:cubicBezTo>
                    <a:pt x="248" y="19"/>
                    <a:pt x="247" y="19"/>
                    <a:pt x="246" y="20"/>
                  </a:cubicBezTo>
                  <a:cubicBezTo>
                    <a:pt x="245" y="20"/>
                    <a:pt x="245" y="20"/>
                    <a:pt x="244" y="20"/>
                  </a:cubicBezTo>
                  <a:cubicBezTo>
                    <a:pt x="243" y="21"/>
                    <a:pt x="241" y="22"/>
                    <a:pt x="240" y="23"/>
                  </a:cubicBezTo>
                  <a:cubicBezTo>
                    <a:pt x="239" y="23"/>
                    <a:pt x="239" y="23"/>
                    <a:pt x="238" y="24"/>
                  </a:cubicBezTo>
                  <a:cubicBezTo>
                    <a:pt x="239" y="26"/>
                    <a:pt x="239" y="26"/>
                    <a:pt x="239" y="26"/>
                  </a:cubicBezTo>
                  <a:cubicBezTo>
                    <a:pt x="239" y="26"/>
                    <a:pt x="239" y="26"/>
                    <a:pt x="239" y="27"/>
                  </a:cubicBezTo>
                  <a:cubicBezTo>
                    <a:pt x="238" y="28"/>
                    <a:pt x="241" y="29"/>
                    <a:pt x="236" y="29"/>
                  </a:cubicBezTo>
                  <a:cubicBezTo>
                    <a:pt x="235" y="30"/>
                    <a:pt x="234" y="30"/>
                    <a:pt x="234" y="31"/>
                  </a:cubicBezTo>
                  <a:cubicBezTo>
                    <a:pt x="233" y="31"/>
                    <a:pt x="235" y="32"/>
                    <a:pt x="233" y="33"/>
                  </a:cubicBezTo>
                  <a:cubicBezTo>
                    <a:pt x="231" y="33"/>
                    <a:pt x="232" y="34"/>
                    <a:pt x="231" y="34"/>
                  </a:cubicBezTo>
                  <a:cubicBezTo>
                    <a:pt x="231" y="34"/>
                    <a:pt x="230" y="33"/>
                    <a:pt x="230" y="34"/>
                  </a:cubicBezTo>
                  <a:cubicBezTo>
                    <a:pt x="226" y="38"/>
                    <a:pt x="231" y="38"/>
                    <a:pt x="231" y="38"/>
                  </a:cubicBezTo>
                  <a:cubicBezTo>
                    <a:pt x="232" y="38"/>
                    <a:pt x="233" y="38"/>
                    <a:pt x="233" y="38"/>
                  </a:cubicBezTo>
                  <a:cubicBezTo>
                    <a:pt x="234" y="38"/>
                    <a:pt x="232" y="39"/>
                    <a:pt x="232" y="39"/>
                  </a:cubicBezTo>
                  <a:cubicBezTo>
                    <a:pt x="232" y="40"/>
                    <a:pt x="234" y="39"/>
                    <a:pt x="233" y="39"/>
                  </a:cubicBezTo>
                  <a:cubicBezTo>
                    <a:pt x="233" y="40"/>
                    <a:pt x="234" y="41"/>
                    <a:pt x="233" y="41"/>
                  </a:cubicBezTo>
                  <a:cubicBezTo>
                    <a:pt x="233" y="42"/>
                    <a:pt x="233" y="42"/>
                    <a:pt x="232" y="43"/>
                  </a:cubicBezTo>
                  <a:cubicBezTo>
                    <a:pt x="232" y="43"/>
                    <a:pt x="231" y="43"/>
                    <a:pt x="230" y="43"/>
                  </a:cubicBezTo>
                  <a:cubicBezTo>
                    <a:pt x="230" y="44"/>
                    <a:pt x="229" y="44"/>
                    <a:pt x="228" y="44"/>
                  </a:cubicBezTo>
                  <a:cubicBezTo>
                    <a:pt x="228" y="45"/>
                    <a:pt x="227" y="45"/>
                    <a:pt x="226" y="45"/>
                  </a:cubicBezTo>
                  <a:cubicBezTo>
                    <a:pt x="225" y="46"/>
                    <a:pt x="225" y="46"/>
                    <a:pt x="224" y="47"/>
                  </a:cubicBezTo>
                  <a:cubicBezTo>
                    <a:pt x="224" y="47"/>
                    <a:pt x="224" y="47"/>
                    <a:pt x="224" y="48"/>
                  </a:cubicBezTo>
                  <a:cubicBezTo>
                    <a:pt x="223" y="49"/>
                    <a:pt x="223" y="50"/>
                    <a:pt x="223" y="50"/>
                  </a:cubicBezTo>
                  <a:cubicBezTo>
                    <a:pt x="223" y="50"/>
                    <a:pt x="223" y="52"/>
                    <a:pt x="223" y="52"/>
                  </a:cubicBezTo>
                  <a:cubicBezTo>
                    <a:pt x="224" y="53"/>
                    <a:pt x="226" y="53"/>
                    <a:pt x="226" y="54"/>
                  </a:cubicBezTo>
                  <a:cubicBezTo>
                    <a:pt x="226" y="54"/>
                    <a:pt x="227" y="54"/>
                    <a:pt x="229" y="54"/>
                  </a:cubicBezTo>
                  <a:cubicBezTo>
                    <a:pt x="230" y="54"/>
                    <a:pt x="229" y="54"/>
                    <a:pt x="229" y="55"/>
                  </a:cubicBezTo>
                  <a:cubicBezTo>
                    <a:pt x="229" y="55"/>
                    <a:pt x="230" y="55"/>
                    <a:pt x="228" y="55"/>
                  </a:cubicBezTo>
                  <a:cubicBezTo>
                    <a:pt x="227" y="55"/>
                    <a:pt x="225" y="54"/>
                    <a:pt x="224" y="55"/>
                  </a:cubicBezTo>
                  <a:cubicBezTo>
                    <a:pt x="223" y="55"/>
                    <a:pt x="223" y="56"/>
                    <a:pt x="224" y="56"/>
                  </a:cubicBezTo>
                  <a:cubicBezTo>
                    <a:pt x="224" y="57"/>
                    <a:pt x="225" y="58"/>
                    <a:pt x="225" y="58"/>
                  </a:cubicBezTo>
                  <a:cubicBezTo>
                    <a:pt x="226" y="59"/>
                    <a:pt x="227" y="60"/>
                    <a:pt x="227" y="61"/>
                  </a:cubicBezTo>
                  <a:cubicBezTo>
                    <a:pt x="227" y="61"/>
                    <a:pt x="228" y="62"/>
                    <a:pt x="228" y="62"/>
                  </a:cubicBezTo>
                  <a:cubicBezTo>
                    <a:pt x="229" y="63"/>
                    <a:pt x="230" y="63"/>
                    <a:pt x="230" y="63"/>
                  </a:cubicBezTo>
                  <a:cubicBezTo>
                    <a:pt x="231" y="63"/>
                    <a:pt x="233" y="63"/>
                    <a:pt x="233" y="63"/>
                  </a:cubicBezTo>
                  <a:cubicBezTo>
                    <a:pt x="234" y="63"/>
                    <a:pt x="235" y="62"/>
                    <a:pt x="236" y="62"/>
                  </a:cubicBezTo>
                  <a:cubicBezTo>
                    <a:pt x="236" y="62"/>
                    <a:pt x="236" y="63"/>
                    <a:pt x="237" y="63"/>
                  </a:cubicBezTo>
                  <a:cubicBezTo>
                    <a:pt x="238" y="63"/>
                    <a:pt x="238" y="62"/>
                    <a:pt x="238" y="62"/>
                  </a:cubicBezTo>
                  <a:cubicBezTo>
                    <a:pt x="239" y="68"/>
                    <a:pt x="239" y="63"/>
                    <a:pt x="240" y="63"/>
                  </a:cubicBezTo>
                  <a:cubicBezTo>
                    <a:pt x="241" y="63"/>
                    <a:pt x="241" y="63"/>
                    <a:pt x="242" y="64"/>
                  </a:cubicBezTo>
                  <a:cubicBezTo>
                    <a:pt x="242" y="64"/>
                    <a:pt x="243" y="64"/>
                    <a:pt x="243" y="64"/>
                  </a:cubicBezTo>
                  <a:cubicBezTo>
                    <a:pt x="244" y="65"/>
                    <a:pt x="245" y="68"/>
                    <a:pt x="245" y="69"/>
                  </a:cubicBezTo>
                  <a:cubicBezTo>
                    <a:pt x="246" y="70"/>
                    <a:pt x="246" y="75"/>
                    <a:pt x="246" y="75"/>
                  </a:cubicBezTo>
                  <a:cubicBezTo>
                    <a:pt x="246" y="75"/>
                    <a:pt x="248" y="77"/>
                    <a:pt x="248" y="77"/>
                  </a:cubicBezTo>
                  <a:cubicBezTo>
                    <a:pt x="248" y="78"/>
                    <a:pt x="247" y="80"/>
                    <a:pt x="248" y="80"/>
                  </a:cubicBezTo>
                  <a:cubicBezTo>
                    <a:pt x="248" y="80"/>
                    <a:pt x="248" y="81"/>
                    <a:pt x="249" y="83"/>
                  </a:cubicBezTo>
                  <a:cubicBezTo>
                    <a:pt x="249" y="83"/>
                    <a:pt x="251" y="83"/>
                    <a:pt x="252" y="84"/>
                  </a:cubicBezTo>
                  <a:cubicBezTo>
                    <a:pt x="252" y="84"/>
                    <a:pt x="252" y="84"/>
                    <a:pt x="252" y="85"/>
                  </a:cubicBezTo>
                  <a:cubicBezTo>
                    <a:pt x="251" y="85"/>
                    <a:pt x="250" y="85"/>
                    <a:pt x="250" y="85"/>
                  </a:cubicBezTo>
                  <a:cubicBezTo>
                    <a:pt x="251" y="86"/>
                    <a:pt x="249" y="86"/>
                    <a:pt x="249" y="86"/>
                  </a:cubicBezTo>
                  <a:cubicBezTo>
                    <a:pt x="250" y="87"/>
                    <a:pt x="249" y="88"/>
                    <a:pt x="249" y="89"/>
                  </a:cubicBezTo>
                  <a:cubicBezTo>
                    <a:pt x="249" y="89"/>
                    <a:pt x="250" y="90"/>
                    <a:pt x="250" y="90"/>
                  </a:cubicBezTo>
                  <a:cubicBezTo>
                    <a:pt x="251" y="91"/>
                    <a:pt x="251" y="91"/>
                    <a:pt x="251" y="90"/>
                  </a:cubicBezTo>
                  <a:cubicBezTo>
                    <a:pt x="252" y="89"/>
                    <a:pt x="253" y="89"/>
                    <a:pt x="253" y="90"/>
                  </a:cubicBezTo>
                  <a:cubicBezTo>
                    <a:pt x="254" y="90"/>
                    <a:pt x="254" y="90"/>
                    <a:pt x="254" y="90"/>
                  </a:cubicBezTo>
                  <a:cubicBezTo>
                    <a:pt x="255" y="90"/>
                    <a:pt x="255" y="90"/>
                    <a:pt x="255" y="90"/>
                  </a:cubicBezTo>
                  <a:cubicBezTo>
                    <a:pt x="255" y="91"/>
                    <a:pt x="253" y="90"/>
                    <a:pt x="253" y="91"/>
                  </a:cubicBezTo>
                  <a:cubicBezTo>
                    <a:pt x="253" y="92"/>
                    <a:pt x="252" y="92"/>
                    <a:pt x="252" y="92"/>
                  </a:cubicBezTo>
                  <a:cubicBezTo>
                    <a:pt x="253" y="93"/>
                    <a:pt x="252" y="94"/>
                    <a:pt x="252" y="95"/>
                  </a:cubicBezTo>
                  <a:cubicBezTo>
                    <a:pt x="252" y="95"/>
                    <a:pt x="250" y="97"/>
                    <a:pt x="250" y="97"/>
                  </a:cubicBezTo>
                  <a:cubicBezTo>
                    <a:pt x="250" y="98"/>
                    <a:pt x="251" y="100"/>
                    <a:pt x="251" y="101"/>
                  </a:cubicBezTo>
                  <a:cubicBezTo>
                    <a:pt x="251" y="101"/>
                    <a:pt x="251" y="101"/>
                    <a:pt x="251" y="102"/>
                  </a:cubicBezTo>
                  <a:cubicBezTo>
                    <a:pt x="251" y="103"/>
                    <a:pt x="253" y="103"/>
                    <a:pt x="253" y="104"/>
                  </a:cubicBezTo>
                  <a:cubicBezTo>
                    <a:pt x="253" y="104"/>
                    <a:pt x="253" y="106"/>
                    <a:pt x="253" y="107"/>
                  </a:cubicBezTo>
                  <a:cubicBezTo>
                    <a:pt x="253" y="107"/>
                    <a:pt x="254" y="109"/>
                    <a:pt x="254" y="109"/>
                  </a:cubicBezTo>
                  <a:cubicBezTo>
                    <a:pt x="254" y="110"/>
                    <a:pt x="255" y="111"/>
                    <a:pt x="255" y="111"/>
                  </a:cubicBezTo>
                  <a:cubicBezTo>
                    <a:pt x="256" y="112"/>
                    <a:pt x="256" y="113"/>
                    <a:pt x="256" y="114"/>
                  </a:cubicBezTo>
                  <a:cubicBezTo>
                    <a:pt x="257" y="116"/>
                    <a:pt x="259" y="116"/>
                    <a:pt x="259" y="116"/>
                  </a:cubicBezTo>
                  <a:cubicBezTo>
                    <a:pt x="260" y="117"/>
                    <a:pt x="261" y="116"/>
                    <a:pt x="261" y="116"/>
                  </a:cubicBezTo>
                  <a:cubicBezTo>
                    <a:pt x="261" y="116"/>
                    <a:pt x="261" y="117"/>
                    <a:pt x="262" y="117"/>
                  </a:cubicBezTo>
                  <a:cubicBezTo>
                    <a:pt x="263" y="118"/>
                    <a:pt x="263" y="118"/>
                    <a:pt x="264" y="118"/>
                  </a:cubicBezTo>
                  <a:cubicBezTo>
                    <a:pt x="265" y="118"/>
                    <a:pt x="266" y="119"/>
                    <a:pt x="266" y="119"/>
                  </a:cubicBezTo>
                  <a:cubicBezTo>
                    <a:pt x="266" y="119"/>
                    <a:pt x="269" y="126"/>
                    <a:pt x="268" y="118"/>
                  </a:cubicBezTo>
                  <a:cubicBezTo>
                    <a:pt x="268" y="118"/>
                    <a:pt x="270" y="117"/>
                    <a:pt x="271" y="116"/>
                  </a:cubicBezTo>
                  <a:cubicBezTo>
                    <a:pt x="271" y="116"/>
                    <a:pt x="268" y="113"/>
                    <a:pt x="269" y="113"/>
                  </a:cubicBezTo>
                  <a:cubicBezTo>
                    <a:pt x="269" y="112"/>
                    <a:pt x="270" y="112"/>
                    <a:pt x="270" y="111"/>
                  </a:cubicBezTo>
                  <a:cubicBezTo>
                    <a:pt x="270" y="110"/>
                    <a:pt x="271" y="110"/>
                    <a:pt x="271" y="109"/>
                  </a:cubicBezTo>
                  <a:cubicBezTo>
                    <a:pt x="271" y="108"/>
                    <a:pt x="270" y="107"/>
                    <a:pt x="271" y="107"/>
                  </a:cubicBezTo>
                  <a:cubicBezTo>
                    <a:pt x="272" y="106"/>
                    <a:pt x="272" y="106"/>
                    <a:pt x="272" y="106"/>
                  </a:cubicBezTo>
                  <a:cubicBezTo>
                    <a:pt x="272" y="105"/>
                    <a:pt x="272" y="104"/>
                    <a:pt x="273" y="103"/>
                  </a:cubicBezTo>
                  <a:cubicBezTo>
                    <a:pt x="273" y="102"/>
                    <a:pt x="274" y="103"/>
                    <a:pt x="275" y="103"/>
                  </a:cubicBezTo>
                  <a:cubicBezTo>
                    <a:pt x="275" y="102"/>
                    <a:pt x="277" y="103"/>
                    <a:pt x="277" y="102"/>
                  </a:cubicBezTo>
                  <a:cubicBezTo>
                    <a:pt x="278" y="101"/>
                    <a:pt x="278" y="101"/>
                    <a:pt x="279" y="100"/>
                  </a:cubicBezTo>
                  <a:cubicBezTo>
                    <a:pt x="280" y="99"/>
                    <a:pt x="281" y="100"/>
                    <a:pt x="282" y="99"/>
                  </a:cubicBezTo>
                  <a:cubicBezTo>
                    <a:pt x="282" y="97"/>
                    <a:pt x="284" y="97"/>
                    <a:pt x="284" y="97"/>
                  </a:cubicBezTo>
                  <a:cubicBezTo>
                    <a:pt x="285" y="96"/>
                    <a:pt x="283" y="95"/>
                    <a:pt x="285" y="94"/>
                  </a:cubicBezTo>
                  <a:cubicBezTo>
                    <a:pt x="285" y="94"/>
                    <a:pt x="287" y="95"/>
                    <a:pt x="287" y="95"/>
                  </a:cubicBezTo>
                  <a:cubicBezTo>
                    <a:pt x="288" y="95"/>
                    <a:pt x="289" y="94"/>
                    <a:pt x="290" y="94"/>
                  </a:cubicBezTo>
                  <a:cubicBezTo>
                    <a:pt x="291" y="93"/>
                    <a:pt x="291" y="93"/>
                    <a:pt x="291" y="93"/>
                  </a:cubicBezTo>
                  <a:cubicBezTo>
                    <a:pt x="291" y="93"/>
                    <a:pt x="292" y="93"/>
                    <a:pt x="292" y="93"/>
                  </a:cubicBezTo>
                  <a:cubicBezTo>
                    <a:pt x="293" y="92"/>
                    <a:pt x="293" y="92"/>
                    <a:pt x="293" y="92"/>
                  </a:cubicBezTo>
                  <a:cubicBezTo>
                    <a:pt x="294" y="91"/>
                    <a:pt x="294" y="91"/>
                    <a:pt x="294" y="91"/>
                  </a:cubicBezTo>
                  <a:cubicBezTo>
                    <a:pt x="294" y="91"/>
                    <a:pt x="295" y="91"/>
                    <a:pt x="295" y="90"/>
                  </a:cubicBezTo>
                  <a:cubicBezTo>
                    <a:pt x="296" y="90"/>
                    <a:pt x="296" y="90"/>
                    <a:pt x="296" y="90"/>
                  </a:cubicBezTo>
                  <a:cubicBezTo>
                    <a:pt x="297" y="89"/>
                    <a:pt x="297" y="89"/>
                    <a:pt x="297" y="89"/>
                  </a:cubicBezTo>
                  <a:cubicBezTo>
                    <a:pt x="297" y="89"/>
                    <a:pt x="298" y="89"/>
                    <a:pt x="297" y="88"/>
                  </a:cubicBezTo>
                  <a:cubicBezTo>
                    <a:pt x="298" y="88"/>
                    <a:pt x="295" y="87"/>
                    <a:pt x="295" y="86"/>
                  </a:cubicBezTo>
                  <a:cubicBezTo>
                    <a:pt x="294" y="86"/>
                    <a:pt x="295" y="85"/>
                    <a:pt x="295" y="85"/>
                  </a:cubicBezTo>
                  <a:cubicBezTo>
                    <a:pt x="296" y="86"/>
                    <a:pt x="296" y="86"/>
                    <a:pt x="296" y="86"/>
                  </a:cubicBezTo>
                  <a:cubicBezTo>
                    <a:pt x="296" y="86"/>
                    <a:pt x="298" y="87"/>
                    <a:pt x="298" y="87"/>
                  </a:cubicBezTo>
                  <a:cubicBezTo>
                    <a:pt x="299" y="87"/>
                    <a:pt x="300" y="86"/>
                    <a:pt x="300" y="84"/>
                  </a:cubicBezTo>
                  <a:cubicBezTo>
                    <a:pt x="300" y="83"/>
                    <a:pt x="300" y="82"/>
                    <a:pt x="300" y="82"/>
                  </a:cubicBezTo>
                  <a:cubicBezTo>
                    <a:pt x="300" y="82"/>
                    <a:pt x="299" y="82"/>
                    <a:pt x="298" y="81"/>
                  </a:cubicBezTo>
                  <a:cubicBezTo>
                    <a:pt x="298" y="81"/>
                    <a:pt x="296" y="80"/>
                    <a:pt x="297" y="79"/>
                  </a:cubicBezTo>
                  <a:cubicBezTo>
                    <a:pt x="298" y="79"/>
                    <a:pt x="298" y="79"/>
                    <a:pt x="298" y="79"/>
                  </a:cubicBezTo>
                  <a:cubicBezTo>
                    <a:pt x="299" y="78"/>
                    <a:pt x="300" y="77"/>
                    <a:pt x="299" y="77"/>
                  </a:cubicBezTo>
                  <a:cubicBezTo>
                    <a:pt x="297" y="75"/>
                    <a:pt x="297" y="75"/>
                    <a:pt x="297" y="75"/>
                  </a:cubicBezTo>
                  <a:cubicBezTo>
                    <a:pt x="298" y="75"/>
                    <a:pt x="300" y="76"/>
                    <a:pt x="300" y="75"/>
                  </a:cubicBezTo>
                  <a:cubicBezTo>
                    <a:pt x="300" y="75"/>
                    <a:pt x="301" y="75"/>
                    <a:pt x="301" y="74"/>
                  </a:cubicBezTo>
                  <a:cubicBezTo>
                    <a:pt x="301" y="71"/>
                    <a:pt x="302" y="72"/>
                    <a:pt x="302" y="71"/>
                  </a:cubicBezTo>
                  <a:cubicBezTo>
                    <a:pt x="302" y="70"/>
                    <a:pt x="304" y="70"/>
                    <a:pt x="304" y="69"/>
                  </a:cubicBezTo>
                  <a:cubicBezTo>
                    <a:pt x="305" y="69"/>
                    <a:pt x="301" y="68"/>
                    <a:pt x="302" y="68"/>
                  </a:cubicBezTo>
                  <a:cubicBezTo>
                    <a:pt x="303" y="67"/>
                    <a:pt x="305" y="69"/>
                    <a:pt x="305" y="68"/>
                  </a:cubicBezTo>
                  <a:cubicBezTo>
                    <a:pt x="306" y="67"/>
                    <a:pt x="305" y="67"/>
                    <a:pt x="306" y="67"/>
                  </a:cubicBezTo>
                  <a:cubicBezTo>
                    <a:pt x="306" y="67"/>
                    <a:pt x="305" y="65"/>
                    <a:pt x="304" y="65"/>
                  </a:cubicBezTo>
                  <a:cubicBezTo>
                    <a:pt x="304" y="65"/>
                    <a:pt x="303" y="65"/>
                    <a:pt x="303" y="64"/>
                  </a:cubicBezTo>
                  <a:cubicBezTo>
                    <a:pt x="303" y="64"/>
                    <a:pt x="301" y="63"/>
                    <a:pt x="302" y="63"/>
                  </a:cubicBezTo>
                  <a:cubicBezTo>
                    <a:pt x="302" y="62"/>
                    <a:pt x="303" y="63"/>
                    <a:pt x="303" y="63"/>
                  </a:cubicBezTo>
                  <a:cubicBezTo>
                    <a:pt x="304" y="62"/>
                    <a:pt x="305" y="60"/>
                    <a:pt x="304" y="60"/>
                  </a:cubicBezTo>
                  <a:cubicBezTo>
                    <a:pt x="304" y="59"/>
                    <a:pt x="306" y="57"/>
                    <a:pt x="304" y="58"/>
                  </a:cubicBezTo>
                  <a:cubicBezTo>
                    <a:pt x="304" y="58"/>
                    <a:pt x="304" y="57"/>
                    <a:pt x="305" y="57"/>
                  </a:cubicBezTo>
                  <a:cubicBezTo>
                    <a:pt x="305" y="56"/>
                    <a:pt x="305" y="56"/>
                    <a:pt x="304" y="55"/>
                  </a:cubicBezTo>
                  <a:cubicBezTo>
                    <a:pt x="302" y="55"/>
                    <a:pt x="302" y="55"/>
                    <a:pt x="302" y="55"/>
                  </a:cubicBezTo>
                  <a:cubicBezTo>
                    <a:pt x="302" y="55"/>
                    <a:pt x="301" y="55"/>
                    <a:pt x="301" y="54"/>
                  </a:cubicBezTo>
                  <a:cubicBezTo>
                    <a:pt x="302" y="53"/>
                    <a:pt x="304" y="54"/>
                    <a:pt x="304" y="53"/>
                  </a:cubicBezTo>
                  <a:cubicBezTo>
                    <a:pt x="304" y="53"/>
                    <a:pt x="303" y="51"/>
                    <a:pt x="303" y="51"/>
                  </a:cubicBezTo>
                  <a:cubicBezTo>
                    <a:pt x="303" y="50"/>
                    <a:pt x="304" y="50"/>
                    <a:pt x="304" y="49"/>
                  </a:cubicBezTo>
                  <a:cubicBezTo>
                    <a:pt x="304" y="48"/>
                    <a:pt x="305" y="49"/>
                    <a:pt x="305" y="48"/>
                  </a:cubicBezTo>
                  <a:cubicBezTo>
                    <a:pt x="305" y="47"/>
                    <a:pt x="305" y="47"/>
                    <a:pt x="305" y="45"/>
                  </a:cubicBezTo>
                  <a:cubicBezTo>
                    <a:pt x="304" y="45"/>
                    <a:pt x="305" y="45"/>
                    <a:pt x="305" y="44"/>
                  </a:cubicBezTo>
                  <a:cubicBezTo>
                    <a:pt x="305" y="43"/>
                    <a:pt x="303" y="45"/>
                    <a:pt x="303" y="44"/>
                  </a:cubicBezTo>
                  <a:cubicBezTo>
                    <a:pt x="303" y="43"/>
                    <a:pt x="303" y="44"/>
                    <a:pt x="303" y="43"/>
                  </a:cubicBezTo>
                  <a:cubicBezTo>
                    <a:pt x="303" y="42"/>
                    <a:pt x="302" y="42"/>
                    <a:pt x="302" y="41"/>
                  </a:cubicBezTo>
                  <a:cubicBezTo>
                    <a:pt x="302" y="40"/>
                    <a:pt x="303" y="40"/>
                    <a:pt x="303" y="40"/>
                  </a:cubicBezTo>
                  <a:cubicBezTo>
                    <a:pt x="303" y="40"/>
                    <a:pt x="305" y="40"/>
                    <a:pt x="305" y="39"/>
                  </a:cubicBezTo>
                  <a:cubicBezTo>
                    <a:pt x="305" y="38"/>
                    <a:pt x="304" y="38"/>
                    <a:pt x="304" y="37"/>
                  </a:cubicBezTo>
                  <a:cubicBezTo>
                    <a:pt x="304" y="36"/>
                    <a:pt x="306" y="36"/>
                    <a:pt x="306" y="36"/>
                  </a:cubicBezTo>
                  <a:cubicBezTo>
                    <a:pt x="308" y="35"/>
                    <a:pt x="309" y="34"/>
                    <a:pt x="309" y="33"/>
                  </a:cubicBezTo>
                  <a:cubicBezTo>
                    <a:pt x="308" y="31"/>
                    <a:pt x="308" y="31"/>
                    <a:pt x="310" y="31"/>
                  </a:cubicBezTo>
                  <a:cubicBezTo>
                    <a:pt x="312" y="30"/>
                    <a:pt x="314" y="26"/>
                    <a:pt x="313" y="25"/>
                  </a:cubicBezTo>
                  <a:cubicBezTo>
                    <a:pt x="313" y="24"/>
                    <a:pt x="312" y="24"/>
                    <a:pt x="311" y="23"/>
                  </a:cubicBezTo>
                  <a:close/>
                  <a:moveTo>
                    <a:pt x="632" y="254"/>
                  </a:moveTo>
                  <a:cubicBezTo>
                    <a:pt x="633" y="255"/>
                    <a:pt x="636" y="254"/>
                    <a:pt x="636" y="254"/>
                  </a:cubicBezTo>
                  <a:cubicBezTo>
                    <a:pt x="636" y="256"/>
                    <a:pt x="638" y="254"/>
                    <a:pt x="638" y="255"/>
                  </a:cubicBezTo>
                  <a:cubicBezTo>
                    <a:pt x="639" y="256"/>
                    <a:pt x="636" y="260"/>
                    <a:pt x="638" y="261"/>
                  </a:cubicBezTo>
                  <a:cubicBezTo>
                    <a:pt x="639" y="261"/>
                    <a:pt x="641" y="260"/>
                    <a:pt x="641" y="261"/>
                  </a:cubicBezTo>
                  <a:cubicBezTo>
                    <a:pt x="641" y="261"/>
                    <a:pt x="642" y="263"/>
                    <a:pt x="643" y="263"/>
                  </a:cubicBezTo>
                  <a:cubicBezTo>
                    <a:pt x="643" y="264"/>
                    <a:pt x="644" y="264"/>
                    <a:pt x="644" y="264"/>
                  </a:cubicBezTo>
                  <a:cubicBezTo>
                    <a:pt x="645" y="264"/>
                    <a:pt x="646" y="263"/>
                    <a:pt x="647" y="263"/>
                  </a:cubicBezTo>
                  <a:cubicBezTo>
                    <a:pt x="647" y="264"/>
                    <a:pt x="649" y="262"/>
                    <a:pt x="649" y="262"/>
                  </a:cubicBezTo>
                  <a:cubicBezTo>
                    <a:pt x="650" y="262"/>
                    <a:pt x="653" y="264"/>
                    <a:pt x="654" y="263"/>
                  </a:cubicBezTo>
                  <a:cubicBezTo>
                    <a:pt x="656" y="262"/>
                    <a:pt x="652" y="262"/>
                    <a:pt x="653" y="259"/>
                  </a:cubicBezTo>
                  <a:cubicBezTo>
                    <a:pt x="653" y="259"/>
                    <a:pt x="651" y="259"/>
                    <a:pt x="651" y="258"/>
                  </a:cubicBezTo>
                  <a:cubicBezTo>
                    <a:pt x="651" y="257"/>
                    <a:pt x="649" y="256"/>
                    <a:pt x="649" y="255"/>
                  </a:cubicBezTo>
                  <a:cubicBezTo>
                    <a:pt x="650" y="254"/>
                    <a:pt x="649" y="254"/>
                    <a:pt x="649" y="253"/>
                  </a:cubicBezTo>
                  <a:cubicBezTo>
                    <a:pt x="649" y="252"/>
                    <a:pt x="647" y="251"/>
                    <a:pt x="647" y="250"/>
                  </a:cubicBezTo>
                  <a:cubicBezTo>
                    <a:pt x="647" y="249"/>
                    <a:pt x="649" y="248"/>
                    <a:pt x="648" y="247"/>
                  </a:cubicBezTo>
                  <a:cubicBezTo>
                    <a:pt x="648" y="247"/>
                    <a:pt x="649" y="245"/>
                    <a:pt x="648" y="245"/>
                  </a:cubicBezTo>
                  <a:cubicBezTo>
                    <a:pt x="648" y="244"/>
                    <a:pt x="645" y="244"/>
                    <a:pt x="645" y="243"/>
                  </a:cubicBezTo>
                  <a:cubicBezTo>
                    <a:pt x="646" y="242"/>
                    <a:pt x="646" y="242"/>
                    <a:pt x="646" y="242"/>
                  </a:cubicBezTo>
                  <a:cubicBezTo>
                    <a:pt x="646" y="241"/>
                    <a:pt x="646" y="241"/>
                    <a:pt x="646" y="241"/>
                  </a:cubicBezTo>
                  <a:cubicBezTo>
                    <a:pt x="645" y="239"/>
                    <a:pt x="645" y="239"/>
                    <a:pt x="645" y="239"/>
                  </a:cubicBezTo>
                  <a:cubicBezTo>
                    <a:pt x="644" y="239"/>
                    <a:pt x="645" y="238"/>
                    <a:pt x="644" y="237"/>
                  </a:cubicBezTo>
                  <a:cubicBezTo>
                    <a:pt x="642" y="237"/>
                    <a:pt x="636" y="238"/>
                    <a:pt x="635" y="238"/>
                  </a:cubicBezTo>
                  <a:cubicBezTo>
                    <a:pt x="634" y="239"/>
                    <a:pt x="634" y="239"/>
                    <a:pt x="633" y="240"/>
                  </a:cubicBezTo>
                  <a:cubicBezTo>
                    <a:pt x="633" y="241"/>
                    <a:pt x="636" y="241"/>
                    <a:pt x="635" y="242"/>
                  </a:cubicBezTo>
                  <a:cubicBezTo>
                    <a:pt x="635" y="243"/>
                    <a:pt x="632" y="242"/>
                    <a:pt x="632" y="243"/>
                  </a:cubicBezTo>
                  <a:cubicBezTo>
                    <a:pt x="632" y="244"/>
                    <a:pt x="634" y="247"/>
                    <a:pt x="634" y="248"/>
                  </a:cubicBezTo>
                  <a:cubicBezTo>
                    <a:pt x="634" y="248"/>
                    <a:pt x="633" y="250"/>
                    <a:pt x="633" y="250"/>
                  </a:cubicBezTo>
                  <a:cubicBezTo>
                    <a:pt x="633" y="251"/>
                    <a:pt x="631" y="254"/>
                    <a:pt x="632" y="254"/>
                  </a:cubicBezTo>
                  <a:close/>
                  <a:moveTo>
                    <a:pt x="625" y="292"/>
                  </a:moveTo>
                  <a:cubicBezTo>
                    <a:pt x="625" y="292"/>
                    <a:pt x="626" y="293"/>
                    <a:pt x="627" y="293"/>
                  </a:cubicBezTo>
                  <a:cubicBezTo>
                    <a:pt x="627" y="293"/>
                    <a:pt x="629" y="294"/>
                    <a:pt x="630" y="294"/>
                  </a:cubicBezTo>
                  <a:cubicBezTo>
                    <a:pt x="632" y="294"/>
                    <a:pt x="636" y="293"/>
                    <a:pt x="636" y="293"/>
                  </a:cubicBezTo>
                  <a:cubicBezTo>
                    <a:pt x="638" y="294"/>
                    <a:pt x="640" y="291"/>
                    <a:pt x="641" y="291"/>
                  </a:cubicBezTo>
                  <a:cubicBezTo>
                    <a:pt x="643" y="291"/>
                    <a:pt x="640" y="293"/>
                    <a:pt x="641" y="294"/>
                  </a:cubicBezTo>
                  <a:cubicBezTo>
                    <a:pt x="642" y="295"/>
                    <a:pt x="646" y="296"/>
                    <a:pt x="646" y="296"/>
                  </a:cubicBezTo>
                  <a:cubicBezTo>
                    <a:pt x="646" y="295"/>
                    <a:pt x="646" y="294"/>
                    <a:pt x="650" y="293"/>
                  </a:cubicBezTo>
                  <a:cubicBezTo>
                    <a:pt x="651" y="293"/>
                    <a:pt x="653" y="291"/>
                    <a:pt x="654" y="290"/>
                  </a:cubicBezTo>
                  <a:cubicBezTo>
                    <a:pt x="657" y="289"/>
                    <a:pt x="660" y="289"/>
                    <a:pt x="660" y="288"/>
                  </a:cubicBezTo>
                  <a:cubicBezTo>
                    <a:pt x="660" y="288"/>
                    <a:pt x="659" y="288"/>
                    <a:pt x="658" y="288"/>
                  </a:cubicBezTo>
                  <a:cubicBezTo>
                    <a:pt x="656" y="288"/>
                    <a:pt x="653" y="288"/>
                    <a:pt x="653" y="287"/>
                  </a:cubicBezTo>
                  <a:cubicBezTo>
                    <a:pt x="653" y="287"/>
                    <a:pt x="650" y="287"/>
                    <a:pt x="647" y="287"/>
                  </a:cubicBezTo>
                  <a:cubicBezTo>
                    <a:pt x="645" y="287"/>
                    <a:pt x="643" y="288"/>
                    <a:pt x="642" y="288"/>
                  </a:cubicBezTo>
                  <a:cubicBezTo>
                    <a:pt x="638" y="289"/>
                    <a:pt x="638" y="288"/>
                    <a:pt x="637" y="288"/>
                  </a:cubicBezTo>
                  <a:cubicBezTo>
                    <a:pt x="636" y="288"/>
                    <a:pt x="632" y="290"/>
                    <a:pt x="630" y="289"/>
                  </a:cubicBezTo>
                  <a:cubicBezTo>
                    <a:pt x="630" y="289"/>
                    <a:pt x="630" y="291"/>
                    <a:pt x="628" y="291"/>
                  </a:cubicBezTo>
                  <a:cubicBezTo>
                    <a:pt x="627" y="291"/>
                    <a:pt x="625" y="290"/>
                    <a:pt x="625" y="290"/>
                  </a:cubicBezTo>
                  <a:cubicBezTo>
                    <a:pt x="624" y="289"/>
                    <a:pt x="624" y="289"/>
                    <a:pt x="624" y="288"/>
                  </a:cubicBezTo>
                  <a:cubicBezTo>
                    <a:pt x="623" y="288"/>
                    <a:pt x="623" y="287"/>
                    <a:pt x="623" y="287"/>
                  </a:cubicBezTo>
                  <a:cubicBezTo>
                    <a:pt x="622" y="287"/>
                    <a:pt x="621" y="288"/>
                    <a:pt x="620" y="288"/>
                  </a:cubicBezTo>
                  <a:cubicBezTo>
                    <a:pt x="619" y="287"/>
                    <a:pt x="617" y="287"/>
                    <a:pt x="617" y="286"/>
                  </a:cubicBezTo>
                  <a:cubicBezTo>
                    <a:pt x="616" y="286"/>
                    <a:pt x="615" y="285"/>
                    <a:pt x="613" y="285"/>
                  </a:cubicBezTo>
                  <a:cubicBezTo>
                    <a:pt x="613" y="285"/>
                    <a:pt x="611" y="286"/>
                    <a:pt x="610" y="286"/>
                  </a:cubicBezTo>
                  <a:cubicBezTo>
                    <a:pt x="610" y="286"/>
                    <a:pt x="608" y="285"/>
                    <a:pt x="606" y="285"/>
                  </a:cubicBezTo>
                  <a:cubicBezTo>
                    <a:pt x="605" y="284"/>
                    <a:pt x="605" y="284"/>
                    <a:pt x="605" y="283"/>
                  </a:cubicBezTo>
                  <a:cubicBezTo>
                    <a:pt x="605" y="283"/>
                    <a:pt x="605" y="283"/>
                    <a:pt x="607" y="282"/>
                  </a:cubicBezTo>
                  <a:cubicBezTo>
                    <a:pt x="609" y="282"/>
                    <a:pt x="609" y="282"/>
                    <a:pt x="610" y="281"/>
                  </a:cubicBezTo>
                  <a:cubicBezTo>
                    <a:pt x="610" y="281"/>
                    <a:pt x="609" y="280"/>
                    <a:pt x="608" y="280"/>
                  </a:cubicBezTo>
                  <a:cubicBezTo>
                    <a:pt x="607" y="278"/>
                    <a:pt x="607" y="278"/>
                    <a:pt x="607" y="278"/>
                  </a:cubicBezTo>
                  <a:cubicBezTo>
                    <a:pt x="606" y="278"/>
                    <a:pt x="605" y="279"/>
                    <a:pt x="605" y="278"/>
                  </a:cubicBezTo>
                  <a:cubicBezTo>
                    <a:pt x="604" y="278"/>
                    <a:pt x="603" y="278"/>
                    <a:pt x="603" y="277"/>
                  </a:cubicBezTo>
                  <a:cubicBezTo>
                    <a:pt x="602" y="277"/>
                    <a:pt x="602" y="276"/>
                    <a:pt x="602" y="276"/>
                  </a:cubicBezTo>
                  <a:cubicBezTo>
                    <a:pt x="601" y="276"/>
                    <a:pt x="604" y="275"/>
                    <a:pt x="603" y="275"/>
                  </a:cubicBezTo>
                  <a:cubicBezTo>
                    <a:pt x="603" y="274"/>
                    <a:pt x="603" y="273"/>
                    <a:pt x="601" y="274"/>
                  </a:cubicBezTo>
                  <a:cubicBezTo>
                    <a:pt x="600" y="274"/>
                    <a:pt x="600" y="274"/>
                    <a:pt x="600" y="274"/>
                  </a:cubicBezTo>
                  <a:cubicBezTo>
                    <a:pt x="599" y="274"/>
                    <a:pt x="599" y="273"/>
                    <a:pt x="598" y="273"/>
                  </a:cubicBezTo>
                  <a:cubicBezTo>
                    <a:pt x="598" y="273"/>
                    <a:pt x="598" y="273"/>
                    <a:pt x="597" y="273"/>
                  </a:cubicBezTo>
                  <a:cubicBezTo>
                    <a:pt x="597" y="273"/>
                    <a:pt x="597" y="272"/>
                    <a:pt x="596" y="272"/>
                  </a:cubicBezTo>
                  <a:cubicBezTo>
                    <a:pt x="595" y="272"/>
                    <a:pt x="595" y="272"/>
                    <a:pt x="594" y="271"/>
                  </a:cubicBezTo>
                  <a:cubicBezTo>
                    <a:pt x="593" y="272"/>
                    <a:pt x="593" y="272"/>
                    <a:pt x="593" y="272"/>
                  </a:cubicBezTo>
                  <a:cubicBezTo>
                    <a:pt x="593" y="271"/>
                    <a:pt x="593" y="269"/>
                    <a:pt x="592" y="269"/>
                  </a:cubicBezTo>
                  <a:cubicBezTo>
                    <a:pt x="591" y="269"/>
                    <a:pt x="591" y="269"/>
                    <a:pt x="590" y="269"/>
                  </a:cubicBezTo>
                  <a:cubicBezTo>
                    <a:pt x="590" y="269"/>
                    <a:pt x="589" y="268"/>
                    <a:pt x="589" y="267"/>
                  </a:cubicBezTo>
                  <a:cubicBezTo>
                    <a:pt x="588" y="267"/>
                    <a:pt x="587" y="266"/>
                    <a:pt x="587" y="266"/>
                  </a:cubicBezTo>
                  <a:cubicBezTo>
                    <a:pt x="586" y="265"/>
                    <a:pt x="585" y="265"/>
                    <a:pt x="585" y="265"/>
                  </a:cubicBezTo>
                  <a:cubicBezTo>
                    <a:pt x="583" y="265"/>
                    <a:pt x="583" y="261"/>
                    <a:pt x="582" y="261"/>
                  </a:cubicBezTo>
                  <a:cubicBezTo>
                    <a:pt x="581" y="260"/>
                    <a:pt x="579" y="261"/>
                    <a:pt x="579" y="262"/>
                  </a:cubicBezTo>
                  <a:cubicBezTo>
                    <a:pt x="579" y="262"/>
                    <a:pt x="579" y="263"/>
                    <a:pt x="579" y="264"/>
                  </a:cubicBezTo>
                  <a:cubicBezTo>
                    <a:pt x="580" y="265"/>
                    <a:pt x="579" y="266"/>
                    <a:pt x="579" y="266"/>
                  </a:cubicBezTo>
                  <a:cubicBezTo>
                    <a:pt x="579" y="266"/>
                    <a:pt x="579" y="268"/>
                    <a:pt x="579" y="269"/>
                  </a:cubicBezTo>
                  <a:cubicBezTo>
                    <a:pt x="579" y="269"/>
                    <a:pt x="581" y="270"/>
                    <a:pt x="582" y="271"/>
                  </a:cubicBezTo>
                  <a:cubicBezTo>
                    <a:pt x="582" y="271"/>
                    <a:pt x="583" y="272"/>
                    <a:pt x="584" y="273"/>
                  </a:cubicBezTo>
                  <a:cubicBezTo>
                    <a:pt x="586" y="275"/>
                    <a:pt x="586" y="275"/>
                    <a:pt x="586" y="275"/>
                  </a:cubicBezTo>
                  <a:cubicBezTo>
                    <a:pt x="586" y="275"/>
                    <a:pt x="584" y="275"/>
                    <a:pt x="585" y="276"/>
                  </a:cubicBezTo>
                  <a:cubicBezTo>
                    <a:pt x="587" y="278"/>
                    <a:pt x="587" y="278"/>
                    <a:pt x="587" y="278"/>
                  </a:cubicBezTo>
                  <a:cubicBezTo>
                    <a:pt x="587" y="279"/>
                    <a:pt x="589" y="278"/>
                    <a:pt x="589" y="279"/>
                  </a:cubicBezTo>
                  <a:cubicBezTo>
                    <a:pt x="590" y="279"/>
                    <a:pt x="589" y="280"/>
                    <a:pt x="590" y="280"/>
                  </a:cubicBezTo>
                  <a:cubicBezTo>
                    <a:pt x="591" y="281"/>
                    <a:pt x="589" y="284"/>
                    <a:pt x="590" y="285"/>
                  </a:cubicBezTo>
                  <a:cubicBezTo>
                    <a:pt x="590" y="285"/>
                    <a:pt x="591" y="284"/>
                    <a:pt x="591" y="285"/>
                  </a:cubicBezTo>
                  <a:cubicBezTo>
                    <a:pt x="592" y="285"/>
                    <a:pt x="592" y="280"/>
                    <a:pt x="593" y="281"/>
                  </a:cubicBezTo>
                  <a:cubicBezTo>
                    <a:pt x="593" y="282"/>
                    <a:pt x="594" y="283"/>
                    <a:pt x="595" y="283"/>
                  </a:cubicBezTo>
                  <a:cubicBezTo>
                    <a:pt x="595" y="284"/>
                    <a:pt x="597" y="284"/>
                    <a:pt x="597" y="284"/>
                  </a:cubicBezTo>
                  <a:cubicBezTo>
                    <a:pt x="598" y="285"/>
                    <a:pt x="599" y="285"/>
                    <a:pt x="600" y="285"/>
                  </a:cubicBezTo>
                  <a:cubicBezTo>
                    <a:pt x="600" y="286"/>
                    <a:pt x="600" y="287"/>
                    <a:pt x="601" y="287"/>
                  </a:cubicBezTo>
                  <a:cubicBezTo>
                    <a:pt x="602" y="288"/>
                    <a:pt x="603" y="288"/>
                    <a:pt x="604" y="288"/>
                  </a:cubicBezTo>
                  <a:cubicBezTo>
                    <a:pt x="605" y="289"/>
                    <a:pt x="606" y="289"/>
                    <a:pt x="607" y="289"/>
                  </a:cubicBezTo>
                  <a:cubicBezTo>
                    <a:pt x="608" y="290"/>
                    <a:pt x="610" y="291"/>
                    <a:pt x="611" y="291"/>
                  </a:cubicBezTo>
                  <a:cubicBezTo>
                    <a:pt x="612" y="292"/>
                    <a:pt x="613" y="290"/>
                    <a:pt x="614" y="290"/>
                  </a:cubicBezTo>
                  <a:cubicBezTo>
                    <a:pt x="615" y="291"/>
                    <a:pt x="620" y="291"/>
                    <a:pt x="621" y="291"/>
                  </a:cubicBezTo>
                  <a:cubicBezTo>
                    <a:pt x="622" y="292"/>
                    <a:pt x="624" y="292"/>
                    <a:pt x="625" y="292"/>
                  </a:cubicBezTo>
                  <a:close/>
                  <a:moveTo>
                    <a:pt x="637" y="231"/>
                  </a:moveTo>
                  <a:cubicBezTo>
                    <a:pt x="638" y="231"/>
                    <a:pt x="639" y="230"/>
                    <a:pt x="639" y="228"/>
                  </a:cubicBezTo>
                  <a:cubicBezTo>
                    <a:pt x="639" y="226"/>
                    <a:pt x="638" y="224"/>
                    <a:pt x="637" y="224"/>
                  </a:cubicBezTo>
                  <a:cubicBezTo>
                    <a:pt x="636" y="224"/>
                    <a:pt x="633" y="227"/>
                    <a:pt x="633" y="229"/>
                  </a:cubicBezTo>
                  <a:cubicBezTo>
                    <a:pt x="633" y="232"/>
                    <a:pt x="636" y="231"/>
                    <a:pt x="637" y="231"/>
                  </a:cubicBezTo>
                  <a:close/>
                  <a:moveTo>
                    <a:pt x="550" y="256"/>
                  </a:moveTo>
                  <a:cubicBezTo>
                    <a:pt x="549" y="256"/>
                    <a:pt x="547" y="258"/>
                    <a:pt x="548" y="260"/>
                  </a:cubicBezTo>
                  <a:cubicBezTo>
                    <a:pt x="549" y="262"/>
                    <a:pt x="548" y="263"/>
                    <a:pt x="549" y="263"/>
                  </a:cubicBezTo>
                  <a:cubicBezTo>
                    <a:pt x="551" y="263"/>
                    <a:pt x="551" y="261"/>
                    <a:pt x="551" y="259"/>
                  </a:cubicBezTo>
                  <a:cubicBezTo>
                    <a:pt x="551" y="258"/>
                    <a:pt x="552" y="256"/>
                    <a:pt x="550" y="256"/>
                  </a:cubicBezTo>
                  <a:close/>
                  <a:moveTo>
                    <a:pt x="337" y="116"/>
                  </a:moveTo>
                  <a:cubicBezTo>
                    <a:pt x="338" y="116"/>
                    <a:pt x="338" y="116"/>
                    <a:pt x="338" y="116"/>
                  </a:cubicBezTo>
                  <a:cubicBezTo>
                    <a:pt x="340" y="115"/>
                    <a:pt x="340" y="116"/>
                    <a:pt x="341" y="116"/>
                  </a:cubicBezTo>
                  <a:cubicBezTo>
                    <a:pt x="341" y="115"/>
                    <a:pt x="341" y="115"/>
                    <a:pt x="341" y="115"/>
                  </a:cubicBezTo>
                  <a:cubicBezTo>
                    <a:pt x="342" y="114"/>
                    <a:pt x="342" y="114"/>
                    <a:pt x="342" y="114"/>
                  </a:cubicBezTo>
                  <a:cubicBezTo>
                    <a:pt x="342" y="110"/>
                    <a:pt x="342" y="110"/>
                    <a:pt x="342" y="110"/>
                  </a:cubicBezTo>
                  <a:cubicBezTo>
                    <a:pt x="342" y="110"/>
                    <a:pt x="341" y="108"/>
                    <a:pt x="340" y="107"/>
                  </a:cubicBezTo>
                  <a:cubicBezTo>
                    <a:pt x="338" y="106"/>
                    <a:pt x="338" y="106"/>
                    <a:pt x="338" y="106"/>
                  </a:cubicBezTo>
                  <a:cubicBezTo>
                    <a:pt x="337" y="105"/>
                    <a:pt x="337" y="107"/>
                    <a:pt x="336" y="107"/>
                  </a:cubicBezTo>
                  <a:cubicBezTo>
                    <a:pt x="335" y="107"/>
                    <a:pt x="334" y="108"/>
                    <a:pt x="333" y="108"/>
                  </a:cubicBezTo>
                  <a:cubicBezTo>
                    <a:pt x="333" y="108"/>
                    <a:pt x="332" y="107"/>
                    <a:pt x="330" y="107"/>
                  </a:cubicBezTo>
                  <a:cubicBezTo>
                    <a:pt x="329" y="107"/>
                    <a:pt x="329" y="107"/>
                    <a:pt x="328" y="108"/>
                  </a:cubicBezTo>
                  <a:cubicBezTo>
                    <a:pt x="327" y="108"/>
                    <a:pt x="325" y="106"/>
                    <a:pt x="325" y="107"/>
                  </a:cubicBezTo>
                  <a:cubicBezTo>
                    <a:pt x="324" y="107"/>
                    <a:pt x="324" y="105"/>
                    <a:pt x="323" y="105"/>
                  </a:cubicBezTo>
                  <a:cubicBezTo>
                    <a:pt x="322" y="105"/>
                    <a:pt x="322" y="107"/>
                    <a:pt x="322" y="107"/>
                  </a:cubicBezTo>
                  <a:cubicBezTo>
                    <a:pt x="320" y="108"/>
                    <a:pt x="320" y="108"/>
                    <a:pt x="320" y="108"/>
                  </a:cubicBezTo>
                  <a:cubicBezTo>
                    <a:pt x="320" y="108"/>
                    <a:pt x="318" y="110"/>
                    <a:pt x="321" y="111"/>
                  </a:cubicBezTo>
                  <a:cubicBezTo>
                    <a:pt x="322" y="111"/>
                    <a:pt x="322" y="111"/>
                    <a:pt x="322" y="111"/>
                  </a:cubicBezTo>
                  <a:cubicBezTo>
                    <a:pt x="322" y="112"/>
                    <a:pt x="323" y="111"/>
                    <a:pt x="323" y="112"/>
                  </a:cubicBezTo>
                  <a:cubicBezTo>
                    <a:pt x="324" y="113"/>
                    <a:pt x="319" y="112"/>
                    <a:pt x="319" y="114"/>
                  </a:cubicBezTo>
                  <a:cubicBezTo>
                    <a:pt x="319" y="114"/>
                    <a:pt x="319" y="114"/>
                    <a:pt x="320" y="114"/>
                  </a:cubicBezTo>
                  <a:cubicBezTo>
                    <a:pt x="321" y="115"/>
                    <a:pt x="322" y="114"/>
                    <a:pt x="323" y="114"/>
                  </a:cubicBezTo>
                  <a:cubicBezTo>
                    <a:pt x="323" y="114"/>
                    <a:pt x="323" y="115"/>
                    <a:pt x="323" y="116"/>
                  </a:cubicBezTo>
                  <a:cubicBezTo>
                    <a:pt x="324" y="117"/>
                    <a:pt x="322" y="119"/>
                    <a:pt x="323" y="119"/>
                  </a:cubicBezTo>
                  <a:cubicBezTo>
                    <a:pt x="323" y="120"/>
                    <a:pt x="325" y="118"/>
                    <a:pt x="326" y="118"/>
                  </a:cubicBezTo>
                  <a:cubicBezTo>
                    <a:pt x="326" y="118"/>
                    <a:pt x="327" y="117"/>
                    <a:pt x="327" y="119"/>
                  </a:cubicBezTo>
                  <a:cubicBezTo>
                    <a:pt x="327" y="120"/>
                    <a:pt x="329" y="120"/>
                    <a:pt x="330" y="120"/>
                  </a:cubicBezTo>
                  <a:cubicBezTo>
                    <a:pt x="330" y="120"/>
                    <a:pt x="331" y="120"/>
                    <a:pt x="332" y="120"/>
                  </a:cubicBezTo>
                  <a:cubicBezTo>
                    <a:pt x="334" y="120"/>
                    <a:pt x="335" y="118"/>
                    <a:pt x="336" y="118"/>
                  </a:cubicBezTo>
                  <a:cubicBezTo>
                    <a:pt x="337" y="118"/>
                    <a:pt x="336" y="117"/>
                    <a:pt x="337" y="116"/>
                  </a:cubicBezTo>
                  <a:close/>
                  <a:moveTo>
                    <a:pt x="483" y="297"/>
                  </a:moveTo>
                  <a:cubicBezTo>
                    <a:pt x="483" y="296"/>
                    <a:pt x="481" y="294"/>
                    <a:pt x="480" y="294"/>
                  </a:cubicBezTo>
                  <a:cubicBezTo>
                    <a:pt x="479" y="294"/>
                    <a:pt x="477" y="298"/>
                    <a:pt x="477" y="299"/>
                  </a:cubicBezTo>
                  <a:cubicBezTo>
                    <a:pt x="476" y="300"/>
                    <a:pt x="474" y="303"/>
                    <a:pt x="474" y="304"/>
                  </a:cubicBezTo>
                  <a:cubicBezTo>
                    <a:pt x="473" y="306"/>
                    <a:pt x="471" y="302"/>
                    <a:pt x="471" y="304"/>
                  </a:cubicBezTo>
                  <a:cubicBezTo>
                    <a:pt x="471" y="305"/>
                    <a:pt x="468" y="305"/>
                    <a:pt x="468" y="306"/>
                  </a:cubicBezTo>
                  <a:cubicBezTo>
                    <a:pt x="468" y="306"/>
                    <a:pt x="467" y="308"/>
                    <a:pt x="467" y="309"/>
                  </a:cubicBezTo>
                  <a:cubicBezTo>
                    <a:pt x="467" y="311"/>
                    <a:pt x="468" y="312"/>
                    <a:pt x="469" y="313"/>
                  </a:cubicBezTo>
                  <a:cubicBezTo>
                    <a:pt x="469" y="314"/>
                    <a:pt x="466" y="316"/>
                    <a:pt x="466" y="316"/>
                  </a:cubicBezTo>
                  <a:cubicBezTo>
                    <a:pt x="466" y="318"/>
                    <a:pt x="466" y="321"/>
                    <a:pt x="467" y="322"/>
                  </a:cubicBezTo>
                  <a:cubicBezTo>
                    <a:pt x="468" y="325"/>
                    <a:pt x="466" y="326"/>
                    <a:pt x="468" y="326"/>
                  </a:cubicBezTo>
                  <a:cubicBezTo>
                    <a:pt x="469" y="326"/>
                    <a:pt x="471" y="327"/>
                    <a:pt x="472" y="325"/>
                  </a:cubicBezTo>
                  <a:cubicBezTo>
                    <a:pt x="472" y="325"/>
                    <a:pt x="475" y="323"/>
                    <a:pt x="475" y="323"/>
                  </a:cubicBezTo>
                  <a:cubicBezTo>
                    <a:pt x="476" y="321"/>
                    <a:pt x="477" y="321"/>
                    <a:pt x="477" y="319"/>
                  </a:cubicBezTo>
                  <a:cubicBezTo>
                    <a:pt x="477" y="318"/>
                    <a:pt x="478" y="317"/>
                    <a:pt x="478" y="315"/>
                  </a:cubicBezTo>
                  <a:cubicBezTo>
                    <a:pt x="479" y="311"/>
                    <a:pt x="479" y="311"/>
                    <a:pt x="479" y="311"/>
                  </a:cubicBezTo>
                  <a:cubicBezTo>
                    <a:pt x="479" y="310"/>
                    <a:pt x="480" y="309"/>
                    <a:pt x="480" y="308"/>
                  </a:cubicBezTo>
                  <a:cubicBezTo>
                    <a:pt x="480" y="307"/>
                    <a:pt x="482" y="307"/>
                    <a:pt x="482" y="306"/>
                  </a:cubicBezTo>
                  <a:cubicBezTo>
                    <a:pt x="482" y="305"/>
                    <a:pt x="482" y="304"/>
                    <a:pt x="482" y="303"/>
                  </a:cubicBezTo>
                  <a:cubicBezTo>
                    <a:pt x="481" y="302"/>
                    <a:pt x="483" y="303"/>
                    <a:pt x="483" y="302"/>
                  </a:cubicBezTo>
                  <a:cubicBezTo>
                    <a:pt x="482" y="301"/>
                    <a:pt x="483" y="299"/>
                    <a:pt x="483" y="299"/>
                  </a:cubicBezTo>
                  <a:cubicBezTo>
                    <a:pt x="483" y="298"/>
                    <a:pt x="484" y="297"/>
                    <a:pt x="483" y="297"/>
                  </a:cubicBezTo>
                  <a:close/>
                  <a:moveTo>
                    <a:pt x="487" y="253"/>
                  </a:moveTo>
                  <a:cubicBezTo>
                    <a:pt x="486" y="253"/>
                    <a:pt x="484" y="254"/>
                    <a:pt x="484" y="253"/>
                  </a:cubicBezTo>
                  <a:cubicBezTo>
                    <a:pt x="483" y="253"/>
                    <a:pt x="482" y="255"/>
                    <a:pt x="480" y="254"/>
                  </a:cubicBezTo>
                  <a:cubicBezTo>
                    <a:pt x="477" y="255"/>
                    <a:pt x="477" y="255"/>
                    <a:pt x="477" y="255"/>
                  </a:cubicBezTo>
                  <a:cubicBezTo>
                    <a:pt x="476" y="254"/>
                    <a:pt x="475" y="256"/>
                    <a:pt x="474" y="255"/>
                  </a:cubicBezTo>
                  <a:cubicBezTo>
                    <a:pt x="473" y="255"/>
                    <a:pt x="471" y="255"/>
                    <a:pt x="470" y="255"/>
                  </a:cubicBezTo>
                  <a:cubicBezTo>
                    <a:pt x="470" y="254"/>
                    <a:pt x="468" y="251"/>
                    <a:pt x="467" y="251"/>
                  </a:cubicBezTo>
                  <a:cubicBezTo>
                    <a:pt x="467" y="250"/>
                    <a:pt x="466" y="249"/>
                    <a:pt x="465" y="249"/>
                  </a:cubicBezTo>
                  <a:cubicBezTo>
                    <a:pt x="465" y="249"/>
                    <a:pt x="464" y="248"/>
                    <a:pt x="463" y="247"/>
                  </a:cubicBezTo>
                  <a:cubicBezTo>
                    <a:pt x="463" y="246"/>
                    <a:pt x="463" y="246"/>
                    <a:pt x="463" y="246"/>
                  </a:cubicBezTo>
                  <a:cubicBezTo>
                    <a:pt x="464" y="243"/>
                    <a:pt x="461" y="244"/>
                    <a:pt x="460" y="243"/>
                  </a:cubicBezTo>
                  <a:cubicBezTo>
                    <a:pt x="459" y="243"/>
                    <a:pt x="459" y="241"/>
                    <a:pt x="458" y="241"/>
                  </a:cubicBezTo>
                  <a:cubicBezTo>
                    <a:pt x="457" y="241"/>
                    <a:pt x="457" y="239"/>
                    <a:pt x="457" y="239"/>
                  </a:cubicBezTo>
                  <a:cubicBezTo>
                    <a:pt x="457" y="239"/>
                    <a:pt x="457" y="236"/>
                    <a:pt x="457" y="235"/>
                  </a:cubicBezTo>
                  <a:cubicBezTo>
                    <a:pt x="457" y="234"/>
                    <a:pt x="456" y="234"/>
                    <a:pt x="455" y="233"/>
                  </a:cubicBezTo>
                  <a:cubicBezTo>
                    <a:pt x="454" y="233"/>
                    <a:pt x="454" y="233"/>
                    <a:pt x="454" y="233"/>
                  </a:cubicBezTo>
                  <a:cubicBezTo>
                    <a:pt x="454" y="232"/>
                    <a:pt x="454" y="232"/>
                    <a:pt x="453" y="231"/>
                  </a:cubicBezTo>
                  <a:cubicBezTo>
                    <a:pt x="453" y="231"/>
                    <a:pt x="452" y="229"/>
                    <a:pt x="452" y="228"/>
                  </a:cubicBezTo>
                  <a:cubicBezTo>
                    <a:pt x="452" y="228"/>
                    <a:pt x="452" y="227"/>
                    <a:pt x="452" y="227"/>
                  </a:cubicBezTo>
                  <a:cubicBezTo>
                    <a:pt x="452" y="226"/>
                    <a:pt x="452" y="226"/>
                    <a:pt x="452" y="226"/>
                  </a:cubicBezTo>
                  <a:cubicBezTo>
                    <a:pt x="451" y="226"/>
                    <a:pt x="452" y="225"/>
                    <a:pt x="451" y="225"/>
                  </a:cubicBezTo>
                  <a:cubicBezTo>
                    <a:pt x="451" y="225"/>
                    <a:pt x="451" y="225"/>
                    <a:pt x="448" y="221"/>
                  </a:cubicBezTo>
                  <a:cubicBezTo>
                    <a:pt x="447" y="221"/>
                    <a:pt x="445" y="214"/>
                    <a:pt x="444" y="214"/>
                  </a:cubicBezTo>
                  <a:cubicBezTo>
                    <a:pt x="443" y="213"/>
                    <a:pt x="442" y="213"/>
                    <a:pt x="441" y="213"/>
                  </a:cubicBezTo>
                  <a:cubicBezTo>
                    <a:pt x="440" y="213"/>
                    <a:pt x="440" y="215"/>
                    <a:pt x="439" y="214"/>
                  </a:cubicBezTo>
                  <a:cubicBezTo>
                    <a:pt x="438" y="214"/>
                    <a:pt x="436" y="214"/>
                    <a:pt x="435" y="214"/>
                  </a:cubicBezTo>
                  <a:cubicBezTo>
                    <a:pt x="434" y="214"/>
                    <a:pt x="432" y="213"/>
                    <a:pt x="432" y="213"/>
                  </a:cubicBezTo>
                  <a:cubicBezTo>
                    <a:pt x="430" y="213"/>
                    <a:pt x="430" y="213"/>
                    <a:pt x="429" y="213"/>
                  </a:cubicBezTo>
                  <a:cubicBezTo>
                    <a:pt x="428" y="212"/>
                    <a:pt x="427" y="211"/>
                    <a:pt x="426" y="211"/>
                  </a:cubicBezTo>
                  <a:cubicBezTo>
                    <a:pt x="425" y="211"/>
                    <a:pt x="423" y="210"/>
                    <a:pt x="422" y="210"/>
                  </a:cubicBezTo>
                  <a:cubicBezTo>
                    <a:pt x="421" y="210"/>
                    <a:pt x="422" y="211"/>
                    <a:pt x="421" y="211"/>
                  </a:cubicBezTo>
                  <a:cubicBezTo>
                    <a:pt x="419" y="210"/>
                    <a:pt x="420" y="211"/>
                    <a:pt x="418" y="212"/>
                  </a:cubicBezTo>
                  <a:cubicBezTo>
                    <a:pt x="418" y="212"/>
                    <a:pt x="417" y="212"/>
                    <a:pt x="418" y="213"/>
                  </a:cubicBezTo>
                  <a:cubicBezTo>
                    <a:pt x="418" y="214"/>
                    <a:pt x="418" y="214"/>
                    <a:pt x="418" y="214"/>
                  </a:cubicBezTo>
                  <a:cubicBezTo>
                    <a:pt x="417" y="220"/>
                    <a:pt x="415" y="214"/>
                    <a:pt x="413" y="215"/>
                  </a:cubicBezTo>
                  <a:cubicBezTo>
                    <a:pt x="413" y="215"/>
                    <a:pt x="413" y="215"/>
                    <a:pt x="413" y="215"/>
                  </a:cubicBezTo>
                  <a:cubicBezTo>
                    <a:pt x="412" y="215"/>
                    <a:pt x="412" y="215"/>
                    <a:pt x="412" y="215"/>
                  </a:cubicBezTo>
                  <a:cubicBezTo>
                    <a:pt x="412" y="215"/>
                    <a:pt x="411" y="214"/>
                    <a:pt x="410" y="214"/>
                  </a:cubicBezTo>
                  <a:cubicBezTo>
                    <a:pt x="410" y="214"/>
                    <a:pt x="407" y="212"/>
                    <a:pt x="407" y="212"/>
                  </a:cubicBezTo>
                  <a:cubicBezTo>
                    <a:pt x="406" y="212"/>
                    <a:pt x="406" y="212"/>
                    <a:pt x="405" y="212"/>
                  </a:cubicBezTo>
                  <a:cubicBezTo>
                    <a:pt x="404" y="211"/>
                    <a:pt x="403" y="212"/>
                    <a:pt x="403" y="211"/>
                  </a:cubicBezTo>
                  <a:cubicBezTo>
                    <a:pt x="402" y="211"/>
                    <a:pt x="402" y="208"/>
                    <a:pt x="401" y="208"/>
                  </a:cubicBezTo>
                  <a:cubicBezTo>
                    <a:pt x="401" y="208"/>
                    <a:pt x="398" y="206"/>
                    <a:pt x="398" y="206"/>
                  </a:cubicBezTo>
                  <a:cubicBezTo>
                    <a:pt x="397" y="205"/>
                    <a:pt x="399" y="203"/>
                    <a:pt x="398" y="202"/>
                  </a:cubicBezTo>
                  <a:cubicBezTo>
                    <a:pt x="398" y="202"/>
                    <a:pt x="398" y="200"/>
                    <a:pt x="397" y="200"/>
                  </a:cubicBezTo>
                  <a:cubicBezTo>
                    <a:pt x="395" y="199"/>
                    <a:pt x="394" y="201"/>
                    <a:pt x="394" y="200"/>
                  </a:cubicBezTo>
                  <a:cubicBezTo>
                    <a:pt x="392" y="200"/>
                    <a:pt x="390" y="199"/>
                    <a:pt x="389" y="200"/>
                  </a:cubicBezTo>
                  <a:cubicBezTo>
                    <a:pt x="386" y="202"/>
                    <a:pt x="386" y="200"/>
                    <a:pt x="384" y="200"/>
                  </a:cubicBezTo>
                  <a:cubicBezTo>
                    <a:pt x="382" y="201"/>
                    <a:pt x="382" y="200"/>
                    <a:pt x="380" y="201"/>
                  </a:cubicBezTo>
                  <a:cubicBezTo>
                    <a:pt x="378" y="201"/>
                    <a:pt x="378" y="201"/>
                    <a:pt x="376" y="201"/>
                  </a:cubicBezTo>
                  <a:cubicBezTo>
                    <a:pt x="376" y="202"/>
                    <a:pt x="374" y="204"/>
                    <a:pt x="373" y="204"/>
                  </a:cubicBezTo>
                  <a:cubicBezTo>
                    <a:pt x="372" y="205"/>
                    <a:pt x="370" y="206"/>
                    <a:pt x="369" y="204"/>
                  </a:cubicBezTo>
                  <a:cubicBezTo>
                    <a:pt x="367" y="202"/>
                    <a:pt x="367" y="203"/>
                    <a:pt x="366" y="202"/>
                  </a:cubicBezTo>
                  <a:cubicBezTo>
                    <a:pt x="364" y="201"/>
                    <a:pt x="364" y="203"/>
                    <a:pt x="362" y="204"/>
                  </a:cubicBezTo>
                  <a:cubicBezTo>
                    <a:pt x="359" y="205"/>
                    <a:pt x="361" y="206"/>
                    <a:pt x="360" y="207"/>
                  </a:cubicBezTo>
                  <a:cubicBezTo>
                    <a:pt x="359" y="208"/>
                    <a:pt x="358" y="208"/>
                    <a:pt x="356" y="209"/>
                  </a:cubicBezTo>
                  <a:cubicBezTo>
                    <a:pt x="355" y="210"/>
                    <a:pt x="355" y="210"/>
                    <a:pt x="353" y="212"/>
                  </a:cubicBezTo>
                  <a:cubicBezTo>
                    <a:pt x="351" y="214"/>
                    <a:pt x="353" y="218"/>
                    <a:pt x="350" y="219"/>
                  </a:cubicBezTo>
                  <a:cubicBezTo>
                    <a:pt x="348" y="221"/>
                    <a:pt x="347" y="220"/>
                    <a:pt x="346" y="221"/>
                  </a:cubicBezTo>
                  <a:cubicBezTo>
                    <a:pt x="346" y="222"/>
                    <a:pt x="343" y="226"/>
                    <a:pt x="343" y="226"/>
                  </a:cubicBezTo>
                  <a:cubicBezTo>
                    <a:pt x="342" y="227"/>
                    <a:pt x="340" y="229"/>
                    <a:pt x="340" y="230"/>
                  </a:cubicBezTo>
                  <a:cubicBezTo>
                    <a:pt x="339" y="230"/>
                    <a:pt x="339" y="230"/>
                    <a:pt x="339" y="230"/>
                  </a:cubicBezTo>
                  <a:cubicBezTo>
                    <a:pt x="336" y="232"/>
                    <a:pt x="337" y="236"/>
                    <a:pt x="337" y="237"/>
                  </a:cubicBezTo>
                  <a:cubicBezTo>
                    <a:pt x="336" y="238"/>
                    <a:pt x="339" y="239"/>
                    <a:pt x="338" y="243"/>
                  </a:cubicBezTo>
                  <a:cubicBezTo>
                    <a:pt x="338" y="243"/>
                    <a:pt x="335" y="250"/>
                    <a:pt x="336" y="251"/>
                  </a:cubicBezTo>
                  <a:cubicBezTo>
                    <a:pt x="337" y="253"/>
                    <a:pt x="340" y="252"/>
                    <a:pt x="341" y="255"/>
                  </a:cubicBezTo>
                  <a:cubicBezTo>
                    <a:pt x="342" y="257"/>
                    <a:pt x="346" y="256"/>
                    <a:pt x="347" y="261"/>
                  </a:cubicBezTo>
                  <a:cubicBezTo>
                    <a:pt x="346" y="262"/>
                    <a:pt x="351" y="263"/>
                    <a:pt x="351" y="264"/>
                  </a:cubicBezTo>
                  <a:cubicBezTo>
                    <a:pt x="351" y="265"/>
                    <a:pt x="354" y="265"/>
                    <a:pt x="354" y="266"/>
                  </a:cubicBezTo>
                  <a:cubicBezTo>
                    <a:pt x="357" y="270"/>
                    <a:pt x="360" y="267"/>
                    <a:pt x="360" y="267"/>
                  </a:cubicBezTo>
                  <a:cubicBezTo>
                    <a:pt x="361" y="267"/>
                    <a:pt x="362" y="267"/>
                    <a:pt x="362" y="267"/>
                  </a:cubicBezTo>
                  <a:cubicBezTo>
                    <a:pt x="363" y="267"/>
                    <a:pt x="363" y="266"/>
                    <a:pt x="364" y="266"/>
                  </a:cubicBezTo>
                  <a:cubicBezTo>
                    <a:pt x="365" y="266"/>
                    <a:pt x="367" y="265"/>
                    <a:pt x="368" y="266"/>
                  </a:cubicBezTo>
                  <a:cubicBezTo>
                    <a:pt x="370" y="269"/>
                    <a:pt x="369" y="267"/>
                    <a:pt x="371" y="267"/>
                  </a:cubicBezTo>
                  <a:cubicBezTo>
                    <a:pt x="372" y="268"/>
                    <a:pt x="373" y="265"/>
                    <a:pt x="374" y="265"/>
                  </a:cubicBezTo>
                  <a:cubicBezTo>
                    <a:pt x="374" y="266"/>
                    <a:pt x="375" y="264"/>
                    <a:pt x="375" y="265"/>
                  </a:cubicBezTo>
                  <a:cubicBezTo>
                    <a:pt x="376" y="265"/>
                    <a:pt x="379" y="264"/>
                    <a:pt x="379" y="264"/>
                  </a:cubicBezTo>
                  <a:cubicBezTo>
                    <a:pt x="380" y="264"/>
                    <a:pt x="383" y="262"/>
                    <a:pt x="384" y="265"/>
                  </a:cubicBezTo>
                  <a:cubicBezTo>
                    <a:pt x="385" y="266"/>
                    <a:pt x="386" y="267"/>
                    <a:pt x="387" y="268"/>
                  </a:cubicBezTo>
                  <a:cubicBezTo>
                    <a:pt x="389" y="269"/>
                    <a:pt x="390" y="268"/>
                    <a:pt x="391" y="268"/>
                  </a:cubicBezTo>
                  <a:cubicBezTo>
                    <a:pt x="394" y="269"/>
                    <a:pt x="394" y="271"/>
                    <a:pt x="395" y="272"/>
                  </a:cubicBezTo>
                  <a:cubicBezTo>
                    <a:pt x="395" y="273"/>
                    <a:pt x="395" y="274"/>
                    <a:pt x="393" y="276"/>
                  </a:cubicBezTo>
                  <a:cubicBezTo>
                    <a:pt x="393" y="276"/>
                    <a:pt x="393" y="276"/>
                    <a:pt x="393" y="276"/>
                  </a:cubicBezTo>
                  <a:cubicBezTo>
                    <a:pt x="393" y="280"/>
                    <a:pt x="396" y="280"/>
                    <a:pt x="397" y="282"/>
                  </a:cubicBezTo>
                  <a:cubicBezTo>
                    <a:pt x="399" y="284"/>
                    <a:pt x="400" y="286"/>
                    <a:pt x="401" y="288"/>
                  </a:cubicBezTo>
                  <a:cubicBezTo>
                    <a:pt x="401" y="288"/>
                    <a:pt x="402" y="290"/>
                    <a:pt x="402" y="291"/>
                  </a:cubicBezTo>
                  <a:cubicBezTo>
                    <a:pt x="403" y="292"/>
                    <a:pt x="402" y="294"/>
                    <a:pt x="402" y="294"/>
                  </a:cubicBezTo>
                  <a:cubicBezTo>
                    <a:pt x="403" y="295"/>
                    <a:pt x="404" y="296"/>
                    <a:pt x="404" y="297"/>
                  </a:cubicBezTo>
                  <a:cubicBezTo>
                    <a:pt x="405" y="298"/>
                    <a:pt x="404" y="299"/>
                    <a:pt x="403" y="299"/>
                  </a:cubicBezTo>
                  <a:cubicBezTo>
                    <a:pt x="401" y="302"/>
                    <a:pt x="400" y="304"/>
                    <a:pt x="400" y="305"/>
                  </a:cubicBezTo>
                  <a:cubicBezTo>
                    <a:pt x="400" y="306"/>
                    <a:pt x="398" y="309"/>
                    <a:pt x="400" y="310"/>
                  </a:cubicBezTo>
                  <a:cubicBezTo>
                    <a:pt x="404" y="312"/>
                    <a:pt x="402" y="314"/>
                    <a:pt x="403" y="315"/>
                  </a:cubicBezTo>
                  <a:cubicBezTo>
                    <a:pt x="404" y="315"/>
                    <a:pt x="401" y="316"/>
                    <a:pt x="405" y="319"/>
                  </a:cubicBezTo>
                  <a:cubicBezTo>
                    <a:pt x="407" y="320"/>
                    <a:pt x="403" y="322"/>
                    <a:pt x="407" y="324"/>
                  </a:cubicBezTo>
                  <a:cubicBezTo>
                    <a:pt x="408" y="326"/>
                    <a:pt x="407" y="327"/>
                    <a:pt x="408" y="328"/>
                  </a:cubicBezTo>
                  <a:cubicBezTo>
                    <a:pt x="409" y="329"/>
                    <a:pt x="410" y="331"/>
                    <a:pt x="410" y="331"/>
                  </a:cubicBezTo>
                  <a:cubicBezTo>
                    <a:pt x="412" y="332"/>
                    <a:pt x="409" y="333"/>
                    <a:pt x="411" y="334"/>
                  </a:cubicBezTo>
                  <a:cubicBezTo>
                    <a:pt x="412" y="334"/>
                    <a:pt x="409" y="335"/>
                    <a:pt x="413" y="338"/>
                  </a:cubicBezTo>
                  <a:cubicBezTo>
                    <a:pt x="416" y="339"/>
                    <a:pt x="414" y="339"/>
                    <a:pt x="414" y="341"/>
                  </a:cubicBezTo>
                  <a:cubicBezTo>
                    <a:pt x="413" y="342"/>
                    <a:pt x="415" y="343"/>
                    <a:pt x="416" y="343"/>
                  </a:cubicBezTo>
                  <a:cubicBezTo>
                    <a:pt x="417" y="344"/>
                    <a:pt x="417" y="346"/>
                    <a:pt x="419" y="346"/>
                  </a:cubicBezTo>
                  <a:cubicBezTo>
                    <a:pt x="420" y="346"/>
                    <a:pt x="421" y="345"/>
                    <a:pt x="422" y="345"/>
                  </a:cubicBezTo>
                  <a:cubicBezTo>
                    <a:pt x="424" y="345"/>
                    <a:pt x="424" y="342"/>
                    <a:pt x="426" y="344"/>
                  </a:cubicBezTo>
                  <a:cubicBezTo>
                    <a:pt x="428" y="345"/>
                    <a:pt x="429" y="345"/>
                    <a:pt x="431" y="344"/>
                  </a:cubicBezTo>
                  <a:cubicBezTo>
                    <a:pt x="432" y="344"/>
                    <a:pt x="433" y="343"/>
                    <a:pt x="434" y="343"/>
                  </a:cubicBezTo>
                  <a:cubicBezTo>
                    <a:pt x="435" y="343"/>
                    <a:pt x="436" y="342"/>
                    <a:pt x="437" y="340"/>
                  </a:cubicBezTo>
                  <a:cubicBezTo>
                    <a:pt x="437" y="340"/>
                    <a:pt x="438" y="340"/>
                    <a:pt x="440" y="338"/>
                  </a:cubicBezTo>
                  <a:cubicBezTo>
                    <a:pt x="442" y="337"/>
                    <a:pt x="443" y="336"/>
                    <a:pt x="443" y="336"/>
                  </a:cubicBezTo>
                  <a:cubicBezTo>
                    <a:pt x="444" y="336"/>
                    <a:pt x="444" y="335"/>
                    <a:pt x="444" y="334"/>
                  </a:cubicBezTo>
                  <a:cubicBezTo>
                    <a:pt x="444" y="334"/>
                    <a:pt x="444" y="333"/>
                    <a:pt x="444" y="332"/>
                  </a:cubicBezTo>
                  <a:cubicBezTo>
                    <a:pt x="445" y="332"/>
                    <a:pt x="446" y="332"/>
                    <a:pt x="446" y="330"/>
                  </a:cubicBezTo>
                  <a:cubicBezTo>
                    <a:pt x="447" y="328"/>
                    <a:pt x="446" y="326"/>
                    <a:pt x="447" y="325"/>
                  </a:cubicBezTo>
                  <a:cubicBezTo>
                    <a:pt x="447" y="324"/>
                    <a:pt x="450" y="325"/>
                    <a:pt x="451" y="324"/>
                  </a:cubicBezTo>
                  <a:cubicBezTo>
                    <a:pt x="453" y="322"/>
                    <a:pt x="453" y="321"/>
                    <a:pt x="453" y="320"/>
                  </a:cubicBezTo>
                  <a:cubicBezTo>
                    <a:pt x="452" y="319"/>
                    <a:pt x="452" y="315"/>
                    <a:pt x="452" y="314"/>
                  </a:cubicBezTo>
                  <a:cubicBezTo>
                    <a:pt x="453" y="312"/>
                    <a:pt x="453" y="314"/>
                    <a:pt x="454" y="312"/>
                  </a:cubicBezTo>
                  <a:cubicBezTo>
                    <a:pt x="454" y="311"/>
                    <a:pt x="457" y="312"/>
                    <a:pt x="456" y="310"/>
                  </a:cubicBezTo>
                  <a:cubicBezTo>
                    <a:pt x="455" y="308"/>
                    <a:pt x="461" y="309"/>
                    <a:pt x="461" y="308"/>
                  </a:cubicBezTo>
                  <a:cubicBezTo>
                    <a:pt x="461" y="308"/>
                    <a:pt x="462" y="308"/>
                    <a:pt x="462" y="307"/>
                  </a:cubicBezTo>
                  <a:cubicBezTo>
                    <a:pt x="462" y="307"/>
                    <a:pt x="463" y="306"/>
                    <a:pt x="463" y="306"/>
                  </a:cubicBezTo>
                  <a:cubicBezTo>
                    <a:pt x="464" y="305"/>
                    <a:pt x="463" y="303"/>
                    <a:pt x="464" y="303"/>
                  </a:cubicBezTo>
                  <a:cubicBezTo>
                    <a:pt x="464" y="302"/>
                    <a:pt x="462" y="301"/>
                    <a:pt x="464" y="299"/>
                  </a:cubicBezTo>
                  <a:cubicBezTo>
                    <a:pt x="464" y="298"/>
                    <a:pt x="466" y="297"/>
                    <a:pt x="467" y="296"/>
                  </a:cubicBezTo>
                  <a:cubicBezTo>
                    <a:pt x="468" y="295"/>
                    <a:pt x="464" y="295"/>
                    <a:pt x="463" y="294"/>
                  </a:cubicBezTo>
                  <a:cubicBezTo>
                    <a:pt x="461" y="293"/>
                    <a:pt x="460" y="291"/>
                    <a:pt x="461" y="289"/>
                  </a:cubicBezTo>
                  <a:cubicBezTo>
                    <a:pt x="461" y="289"/>
                    <a:pt x="461" y="287"/>
                    <a:pt x="461" y="286"/>
                  </a:cubicBezTo>
                  <a:cubicBezTo>
                    <a:pt x="461" y="286"/>
                    <a:pt x="461" y="284"/>
                    <a:pt x="461" y="284"/>
                  </a:cubicBezTo>
                  <a:cubicBezTo>
                    <a:pt x="463" y="280"/>
                    <a:pt x="463" y="282"/>
                    <a:pt x="463" y="281"/>
                  </a:cubicBezTo>
                  <a:cubicBezTo>
                    <a:pt x="463" y="281"/>
                    <a:pt x="465" y="280"/>
                    <a:pt x="466" y="279"/>
                  </a:cubicBezTo>
                  <a:cubicBezTo>
                    <a:pt x="467" y="279"/>
                    <a:pt x="467" y="277"/>
                    <a:pt x="468" y="277"/>
                  </a:cubicBezTo>
                  <a:cubicBezTo>
                    <a:pt x="469" y="276"/>
                    <a:pt x="470" y="276"/>
                    <a:pt x="470" y="276"/>
                  </a:cubicBezTo>
                  <a:cubicBezTo>
                    <a:pt x="470" y="274"/>
                    <a:pt x="470" y="274"/>
                    <a:pt x="472" y="273"/>
                  </a:cubicBezTo>
                  <a:cubicBezTo>
                    <a:pt x="473" y="271"/>
                    <a:pt x="473" y="272"/>
                    <a:pt x="475" y="271"/>
                  </a:cubicBezTo>
                  <a:cubicBezTo>
                    <a:pt x="477" y="270"/>
                    <a:pt x="476" y="270"/>
                    <a:pt x="476" y="270"/>
                  </a:cubicBezTo>
                  <a:cubicBezTo>
                    <a:pt x="478" y="269"/>
                    <a:pt x="480" y="268"/>
                    <a:pt x="480" y="267"/>
                  </a:cubicBezTo>
                  <a:cubicBezTo>
                    <a:pt x="480" y="266"/>
                    <a:pt x="480" y="265"/>
                    <a:pt x="482" y="264"/>
                  </a:cubicBezTo>
                  <a:cubicBezTo>
                    <a:pt x="483" y="262"/>
                    <a:pt x="483" y="263"/>
                    <a:pt x="484" y="261"/>
                  </a:cubicBezTo>
                  <a:cubicBezTo>
                    <a:pt x="485" y="260"/>
                    <a:pt x="486" y="259"/>
                    <a:pt x="486" y="258"/>
                  </a:cubicBezTo>
                  <a:cubicBezTo>
                    <a:pt x="485" y="258"/>
                    <a:pt x="486" y="257"/>
                    <a:pt x="487" y="256"/>
                  </a:cubicBezTo>
                  <a:cubicBezTo>
                    <a:pt x="489" y="255"/>
                    <a:pt x="490" y="253"/>
                    <a:pt x="487" y="253"/>
                  </a:cubicBezTo>
                  <a:close/>
                  <a:moveTo>
                    <a:pt x="430" y="204"/>
                  </a:moveTo>
                  <a:cubicBezTo>
                    <a:pt x="430" y="203"/>
                    <a:pt x="428" y="203"/>
                    <a:pt x="428" y="203"/>
                  </a:cubicBezTo>
                  <a:cubicBezTo>
                    <a:pt x="428" y="200"/>
                    <a:pt x="424" y="204"/>
                    <a:pt x="424" y="204"/>
                  </a:cubicBezTo>
                  <a:cubicBezTo>
                    <a:pt x="424" y="205"/>
                    <a:pt x="425" y="205"/>
                    <a:pt x="427" y="205"/>
                  </a:cubicBezTo>
                  <a:cubicBezTo>
                    <a:pt x="429" y="205"/>
                    <a:pt x="430" y="205"/>
                    <a:pt x="430" y="204"/>
                  </a:cubicBezTo>
                  <a:close/>
                  <a:moveTo>
                    <a:pt x="649" y="230"/>
                  </a:moveTo>
                  <a:cubicBezTo>
                    <a:pt x="649" y="229"/>
                    <a:pt x="647" y="226"/>
                    <a:pt x="646" y="226"/>
                  </a:cubicBezTo>
                  <a:cubicBezTo>
                    <a:pt x="646" y="227"/>
                    <a:pt x="648" y="229"/>
                    <a:pt x="648" y="229"/>
                  </a:cubicBezTo>
                  <a:cubicBezTo>
                    <a:pt x="648" y="230"/>
                    <a:pt x="648" y="230"/>
                    <a:pt x="648" y="230"/>
                  </a:cubicBezTo>
                  <a:cubicBezTo>
                    <a:pt x="649" y="230"/>
                    <a:pt x="649" y="230"/>
                    <a:pt x="649" y="230"/>
                  </a:cubicBezTo>
                  <a:close/>
                  <a:moveTo>
                    <a:pt x="621" y="265"/>
                  </a:moveTo>
                  <a:cubicBezTo>
                    <a:pt x="620" y="265"/>
                    <a:pt x="619" y="266"/>
                    <a:pt x="619" y="266"/>
                  </a:cubicBezTo>
                  <a:cubicBezTo>
                    <a:pt x="618" y="267"/>
                    <a:pt x="618" y="268"/>
                    <a:pt x="617" y="269"/>
                  </a:cubicBezTo>
                  <a:cubicBezTo>
                    <a:pt x="617" y="269"/>
                    <a:pt x="615" y="269"/>
                    <a:pt x="614" y="270"/>
                  </a:cubicBezTo>
                  <a:cubicBezTo>
                    <a:pt x="614" y="270"/>
                    <a:pt x="614" y="271"/>
                    <a:pt x="614" y="271"/>
                  </a:cubicBezTo>
                  <a:cubicBezTo>
                    <a:pt x="614" y="272"/>
                    <a:pt x="610" y="273"/>
                    <a:pt x="609" y="274"/>
                  </a:cubicBezTo>
                  <a:cubicBezTo>
                    <a:pt x="609" y="275"/>
                    <a:pt x="610" y="276"/>
                    <a:pt x="610" y="276"/>
                  </a:cubicBezTo>
                  <a:cubicBezTo>
                    <a:pt x="611" y="277"/>
                    <a:pt x="612" y="279"/>
                    <a:pt x="612" y="280"/>
                  </a:cubicBezTo>
                  <a:cubicBezTo>
                    <a:pt x="613" y="280"/>
                    <a:pt x="615" y="281"/>
                    <a:pt x="615" y="281"/>
                  </a:cubicBezTo>
                  <a:cubicBezTo>
                    <a:pt x="616" y="281"/>
                    <a:pt x="619" y="283"/>
                    <a:pt x="620" y="284"/>
                  </a:cubicBezTo>
                  <a:cubicBezTo>
                    <a:pt x="621" y="284"/>
                    <a:pt x="622" y="283"/>
                    <a:pt x="623" y="283"/>
                  </a:cubicBezTo>
                  <a:cubicBezTo>
                    <a:pt x="624" y="283"/>
                    <a:pt x="626" y="283"/>
                    <a:pt x="626" y="283"/>
                  </a:cubicBezTo>
                  <a:cubicBezTo>
                    <a:pt x="628" y="283"/>
                    <a:pt x="624" y="279"/>
                    <a:pt x="626" y="279"/>
                  </a:cubicBezTo>
                  <a:cubicBezTo>
                    <a:pt x="626" y="278"/>
                    <a:pt x="627" y="278"/>
                    <a:pt x="628" y="277"/>
                  </a:cubicBezTo>
                  <a:cubicBezTo>
                    <a:pt x="628" y="277"/>
                    <a:pt x="628" y="276"/>
                    <a:pt x="629" y="276"/>
                  </a:cubicBezTo>
                  <a:cubicBezTo>
                    <a:pt x="629" y="276"/>
                    <a:pt x="629" y="274"/>
                    <a:pt x="629" y="273"/>
                  </a:cubicBezTo>
                  <a:cubicBezTo>
                    <a:pt x="629" y="273"/>
                    <a:pt x="631" y="274"/>
                    <a:pt x="631" y="273"/>
                  </a:cubicBezTo>
                  <a:cubicBezTo>
                    <a:pt x="632" y="272"/>
                    <a:pt x="631" y="272"/>
                    <a:pt x="631" y="271"/>
                  </a:cubicBezTo>
                  <a:cubicBezTo>
                    <a:pt x="631" y="269"/>
                    <a:pt x="630" y="269"/>
                    <a:pt x="630" y="268"/>
                  </a:cubicBezTo>
                  <a:cubicBezTo>
                    <a:pt x="629" y="267"/>
                    <a:pt x="634" y="265"/>
                    <a:pt x="633" y="264"/>
                  </a:cubicBezTo>
                  <a:cubicBezTo>
                    <a:pt x="632" y="264"/>
                    <a:pt x="630" y="259"/>
                    <a:pt x="628" y="258"/>
                  </a:cubicBezTo>
                  <a:cubicBezTo>
                    <a:pt x="628" y="258"/>
                    <a:pt x="627" y="258"/>
                    <a:pt x="627" y="258"/>
                  </a:cubicBezTo>
                  <a:cubicBezTo>
                    <a:pt x="626" y="258"/>
                    <a:pt x="624" y="260"/>
                    <a:pt x="623" y="260"/>
                  </a:cubicBezTo>
                  <a:cubicBezTo>
                    <a:pt x="622" y="260"/>
                    <a:pt x="622" y="263"/>
                    <a:pt x="621" y="263"/>
                  </a:cubicBezTo>
                  <a:cubicBezTo>
                    <a:pt x="620" y="263"/>
                    <a:pt x="622" y="265"/>
                    <a:pt x="621" y="265"/>
                  </a:cubicBezTo>
                  <a:close/>
                  <a:moveTo>
                    <a:pt x="706" y="326"/>
                  </a:moveTo>
                  <a:cubicBezTo>
                    <a:pt x="708" y="325"/>
                    <a:pt x="707" y="324"/>
                    <a:pt x="705" y="323"/>
                  </a:cubicBezTo>
                  <a:cubicBezTo>
                    <a:pt x="704" y="322"/>
                    <a:pt x="704" y="322"/>
                    <a:pt x="703" y="321"/>
                  </a:cubicBezTo>
                  <a:cubicBezTo>
                    <a:pt x="703" y="321"/>
                    <a:pt x="703" y="321"/>
                    <a:pt x="703" y="321"/>
                  </a:cubicBezTo>
                  <a:cubicBezTo>
                    <a:pt x="704" y="317"/>
                    <a:pt x="701" y="317"/>
                    <a:pt x="700" y="316"/>
                  </a:cubicBezTo>
                  <a:cubicBezTo>
                    <a:pt x="698" y="315"/>
                    <a:pt x="699" y="313"/>
                    <a:pt x="695" y="312"/>
                  </a:cubicBezTo>
                  <a:cubicBezTo>
                    <a:pt x="694" y="311"/>
                    <a:pt x="693" y="311"/>
                    <a:pt x="691" y="310"/>
                  </a:cubicBezTo>
                  <a:cubicBezTo>
                    <a:pt x="690" y="309"/>
                    <a:pt x="692" y="306"/>
                    <a:pt x="690" y="305"/>
                  </a:cubicBezTo>
                  <a:cubicBezTo>
                    <a:pt x="689" y="304"/>
                    <a:pt x="689" y="301"/>
                    <a:pt x="686" y="300"/>
                  </a:cubicBezTo>
                  <a:cubicBezTo>
                    <a:pt x="685" y="300"/>
                    <a:pt x="685" y="297"/>
                    <a:pt x="684" y="296"/>
                  </a:cubicBezTo>
                  <a:cubicBezTo>
                    <a:pt x="681" y="295"/>
                    <a:pt x="682" y="294"/>
                    <a:pt x="681" y="293"/>
                  </a:cubicBezTo>
                  <a:cubicBezTo>
                    <a:pt x="679" y="292"/>
                    <a:pt x="680" y="298"/>
                    <a:pt x="680" y="298"/>
                  </a:cubicBezTo>
                  <a:cubicBezTo>
                    <a:pt x="681" y="299"/>
                    <a:pt x="679" y="304"/>
                    <a:pt x="680" y="304"/>
                  </a:cubicBezTo>
                  <a:cubicBezTo>
                    <a:pt x="681" y="303"/>
                    <a:pt x="679" y="308"/>
                    <a:pt x="679" y="308"/>
                  </a:cubicBezTo>
                  <a:cubicBezTo>
                    <a:pt x="678" y="310"/>
                    <a:pt x="677" y="306"/>
                    <a:pt x="676" y="305"/>
                  </a:cubicBezTo>
                  <a:cubicBezTo>
                    <a:pt x="675" y="304"/>
                    <a:pt x="673" y="306"/>
                    <a:pt x="673" y="305"/>
                  </a:cubicBezTo>
                  <a:cubicBezTo>
                    <a:pt x="672" y="305"/>
                    <a:pt x="671" y="303"/>
                    <a:pt x="670" y="302"/>
                  </a:cubicBezTo>
                  <a:cubicBezTo>
                    <a:pt x="669" y="302"/>
                    <a:pt x="671" y="300"/>
                    <a:pt x="670" y="300"/>
                  </a:cubicBezTo>
                  <a:cubicBezTo>
                    <a:pt x="669" y="299"/>
                    <a:pt x="672" y="297"/>
                    <a:pt x="671" y="297"/>
                  </a:cubicBezTo>
                  <a:cubicBezTo>
                    <a:pt x="670" y="297"/>
                    <a:pt x="671" y="294"/>
                    <a:pt x="670" y="294"/>
                  </a:cubicBezTo>
                  <a:cubicBezTo>
                    <a:pt x="669" y="294"/>
                    <a:pt x="666" y="297"/>
                    <a:pt x="665" y="297"/>
                  </a:cubicBezTo>
                  <a:cubicBezTo>
                    <a:pt x="664" y="297"/>
                    <a:pt x="664" y="295"/>
                    <a:pt x="663" y="295"/>
                  </a:cubicBezTo>
                  <a:cubicBezTo>
                    <a:pt x="662" y="295"/>
                    <a:pt x="659" y="294"/>
                    <a:pt x="659" y="294"/>
                  </a:cubicBezTo>
                  <a:cubicBezTo>
                    <a:pt x="658" y="294"/>
                    <a:pt x="655" y="294"/>
                    <a:pt x="655" y="294"/>
                  </a:cubicBezTo>
                  <a:cubicBezTo>
                    <a:pt x="655" y="296"/>
                    <a:pt x="657" y="296"/>
                    <a:pt x="656" y="298"/>
                  </a:cubicBezTo>
                  <a:cubicBezTo>
                    <a:pt x="656" y="299"/>
                    <a:pt x="654" y="302"/>
                    <a:pt x="653" y="302"/>
                  </a:cubicBezTo>
                  <a:cubicBezTo>
                    <a:pt x="652" y="302"/>
                    <a:pt x="650" y="301"/>
                    <a:pt x="649" y="300"/>
                  </a:cubicBezTo>
                  <a:cubicBezTo>
                    <a:pt x="649" y="300"/>
                    <a:pt x="647" y="298"/>
                    <a:pt x="644" y="300"/>
                  </a:cubicBezTo>
                  <a:cubicBezTo>
                    <a:pt x="643" y="301"/>
                    <a:pt x="645" y="304"/>
                    <a:pt x="644" y="304"/>
                  </a:cubicBezTo>
                  <a:cubicBezTo>
                    <a:pt x="643" y="304"/>
                    <a:pt x="643" y="305"/>
                    <a:pt x="642" y="305"/>
                  </a:cubicBezTo>
                  <a:cubicBezTo>
                    <a:pt x="641" y="305"/>
                    <a:pt x="640" y="305"/>
                    <a:pt x="639" y="306"/>
                  </a:cubicBezTo>
                  <a:cubicBezTo>
                    <a:pt x="638" y="306"/>
                    <a:pt x="639" y="307"/>
                    <a:pt x="638" y="307"/>
                  </a:cubicBezTo>
                  <a:cubicBezTo>
                    <a:pt x="637" y="307"/>
                    <a:pt x="637" y="311"/>
                    <a:pt x="636" y="311"/>
                  </a:cubicBezTo>
                  <a:cubicBezTo>
                    <a:pt x="635" y="311"/>
                    <a:pt x="633" y="312"/>
                    <a:pt x="632" y="312"/>
                  </a:cubicBezTo>
                  <a:cubicBezTo>
                    <a:pt x="629" y="313"/>
                    <a:pt x="629" y="312"/>
                    <a:pt x="627" y="313"/>
                  </a:cubicBezTo>
                  <a:cubicBezTo>
                    <a:pt x="626" y="314"/>
                    <a:pt x="626" y="316"/>
                    <a:pt x="625" y="315"/>
                  </a:cubicBezTo>
                  <a:cubicBezTo>
                    <a:pt x="624" y="312"/>
                    <a:pt x="623" y="314"/>
                    <a:pt x="622" y="315"/>
                  </a:cubicBezTo>
                  <a:cubicBezTo>
                    <a:pt x="622" y="316"/>
                    <a:pt x="622" y="316"/>
                    <a:pt x="622" y="316"/>
                  </a:cubicBezTo>
                  <a:cubicBezTo>
                    <a:pt x="621" y="316"/>
                    <a:pt x="619" y="315"/>
                    <a:pt x="619" y="316"/>
                  </a:cubicBezTo>
                  <a:cubicBezTo>
                    <a:pt x="618" y="316"/>
                    <a:pt x="619" y="318"/>
                    <a:pt x="620" y="319"/>
                  </a:cubicBezTo>
                  <a:cubicBezTo>
                    <a:pt x="620" y="321"/>
                    <a:pt x="615" y="322"/>
                    <a:pt x="617" y="323"/>
                  </a:cubicBezTo>
                  <a:cubicBezTo>
                    <a:pt x="618" y="323"/>
                    <a:pt x="617" y="326"/>
                    <a:pt x="618" y="326"/>
                  </a:cubicBezTo>
                  <a:cubicBezTo>
                    <a:pt x="618" y="326"/>
                    <a:pt x="621" y="325"/>
                    <a:pt x="620" y="329"/>
                  </a:cubicBezTo>
                  <a:cubicBezTo>
                    <a:pt x="620" y="331"/>
                    <a:pt x="620" y="332"/>
                    <a:pt x="622" y="333"/>
                  </a:cubicBezTo>
                  <a:cubicBezTo>
                    <a:pt x="623" y="334"/>
                    <a:pt x="622" y="336"/>
                    <a:pt x="624" y="337"/>
                  </a:cubicBezTo>
                  <a:cubicBezTo>
                    <a:pt x="624" y="337"/>
                    <a:pt x="623" y="339"/>
                    <a:pt x="624" y="339"/>
                  </a:cubicBezTo>
                  <a:cubicBezTo>
                    <a:pt x="625" y="340"/>
                    <a:pt x="621" y="340"/>
                    <a:pt x="622" y="342"/>
                  </a:cubicBezTo>
                  <a:cubicBezTo>
                    <a:pt x="622" y="344"/>
                    <a:pt x="623" y="343"/>
                    <a:pt x="625" y="344"/>
                  </a:cubicBezTo>
                  <a:cubicBezTo>
                    <a:pt x="625" y="344"/>
                    <a:pt x="626" y="345"/>
                    <a:pt x="628" y="345"/>
                  </a:cubicBezTo>
                  <a:cubicBezTo>
                    <a:pt x="629" y="345"/>
                    <a:pt x="629" y="344"/>
                    <a:pt x="631" y="344"/>
                  </a:cubicBezTo>
                  <a:cubicBezTo>
                    <a:pt x="632" y="343"/>
                    <a:pt x="633" y="342"/>
                    <a:pt x="634" y="342"/>
                  </a:cubicBezTo>
                  <a:cubicBezTo>
                    <a:pt x="635" y="341"/>
                    <a:pt x="636" y="342"/>
                    <a:pt x="637" y="342"/>
                  </a:cubicBezTo>
                  <a:cubicBezTo>
                    <a:pt x="638" y="342"/>
                    <a:pt x="640" y="343"/>
                    <a:pt x="640" y="343"/>
                  </a:cubicBezTo>
                  <a:cubicBezTo>
                    <a:pt x="642" y="343"/>
                    <a:pt x="642" y="341"/>
                    <a:pt x="643" y="341"/>
                  </a:cubicBezTo>
                  <a:cubicBezTo>
                    <a:pt x="644" y="342"/>
                    <a:pt x="645" y="339"/>
                    <a:pt x="646" y="339"/>
                  </a:cubicBezTo>
                  <a:cubicBezTo>
                    <a:pt x="647" y="339"/>
                    <a:pt x="650" y="338"/>
                    <a:pt x="651" y="338"/>
                  </a:cubicBezTo>
                  <a:cubicBezTo>
                    <a:pt x="653" y="338"/>
                    <a:pt x="653" y="339"/>
                    <a:pt x="654" y="339"/>
                  </a:cubicBezTo>
                  <a:cubicBezTo>
                    <a:pt x="655" y="339"/>
                    <a:pt x="658" y="339"/>
                    <a:pt x="658" y="339"/>
                  </a:cubicBezTo>
                  <a:cubicBezTo>
                    <a:pt x="659" y="339"/>
                    <a:pt x="661" y="339"/>
                    <a:pt x="663" y="339"/>
                  </a:cubicBezTo>
                  <a:cubicBezTo>
                    <a:pt x="664" y="339"/>
                    <a:pt x="665" y="343"/>
                    <a:pt x="666" y="343"/>
                  </a:cubicBezTo>
                  <a:cubicBezTo>
                    <a:pt x="667" y="342"/>
                    <a:pt x="667" y="344"/>
                    <a:pt x="668" y="344"/>
                  </a:cubicBezTo>
                  <a:cubicBezTo>
                    <a:pt x="669" y="344"/>
                    <a:pt x="669" y="342"/>
                    <a:pt x="671" y="342"/>
                  </a:cubicBezTo>
                  <a:cubicBezTo>
                    <a:pt x="672" y="342"/>
                    <a:pt x="671" y="345"/>
                    <a:pt x="671" y="345"/>
                  </a:cubicBezTo>
                  <a:cubicBezTo>
                    <a:pt x="670" y="346"/>
                    <a:pt x="673" y="349"/>
                    <a:pt x="674" y="345"/>
                  </a:cubicBezTo>
                  <a:cubicBezTo>
                    <a:pt x="678" y="343"/>
                    <a:pt x="676" y="349"/>
                    <a:pt x="677" y="352"/>
                  </a:cubicBezTo>
                  <a:cubicBezTo>
                    <a:pt x="680" y="356"/>
                    <a:pt x="680" y="354"/>
                    <a:pt x="682" y="353"/>
                  </a:cubicBezTo>
                  <a:cubicBezTo>
                    <a:pt x="684" y="352"/>
                    <a:pt x="686" y="355"/>
                    <a:pt x="687" y="352"/>
                  </a:cubicBezTo>
                  <a:cubicBezTo>
                    <a:pt x="688" y="351"/>
                    <a:pt x="690" y="355"/>
                    <a:pt x="690" y="355"/>
                  </a:cubicBezTo>
                  <a:cubicBezTo>
                    <a:pt x="691" y="355"/>
                    <a:pt x="692" y="352"/>
                    <a:pt x="693" y="352"/>
                  </a:cubicBezTo>
                  <a:cubicBezTo>
                    <a:pt x="695" y="352"/>
                    <a:pt x="697" y="350"/>
                    <a:pt x="699" y="350"/>
                  </a:cubicBezTo>
                  <a:cubicBezTo>
                    <a:pt x="700" y="351"/>
                    <a:pt x="700" y="350"/>
                    <a:pt x="700" y="348"/>
                  </a:cubicBezTo>
                  <a:cubicBezTo>
                    <a:pt x="700" y="347"/>
                    <a:pt x="700" y="347"/>
                    <a:pt x="700" y="346"/>
                  </a:cubicBezTo>
                  <a:cubicBezTo>
                    <a:pt x="700" y="344"/>
                    <a:pt x="702" y="342"/>
                    <a:pt x="702" y="342"/>
                  </a:cubicBezTo>
                  <a:cubicBezTo>
                    <a:pt x="702" y="342"/>
                    <a:pt x="703" y="341"/>
                    <a:pt x="704" y="340"/>
                  </a:cubicBezTo>
                  <a:cubicBezTo>
                    <a:pt x="706" y="339"/>
                    <a:pt x="707" y="335"/>
                    <a:pt x="706" y="334"/>
                  </a:cubicBezTo>
                  <a:cubicBezTo>
                    <a:pt x="704" y="333"/>
                    <a:pt x="708" y="332"/>
                    <a:pt x="705" y="331"/>
                  </a:cubicBezTo>
                  <a:cubicBezTo>
                    <a:pt x="704" y="330"/>
                    <a:pt x="706" y="329"/>
                    <a:pt x="706" y="327"/>
                  </a:cubicBezTo>
                  <a:cubicBezTo>
                    <a:pt x="706" y="327"/>
                    <a:pt x="706" y="327"/>
                    <a:pt x="706" y="327"/>
                  </a:cubicBezTo>
                  <a:cubicBezTo>
                    <a:pt x="706" y="326"/>
                    <a:pt x="706" y="326"/>
                    <a:pt x="706" y="326"/>
                  </a:cubicBezTo>
                  <a:close/>
                  <a:moveTo>
                    <a:pt x="748" y="357"/>
                  </a:moveTo>
                  <a:cubicBezTo>
                    <a:pt x="745" y="357"/>
                    <a:pt x="744" y="361"/>
                    <a:pt x="741" y="364"/>
                  </a:cubicBezTo>
                  <a:cubicBezTo>
                    <a:pt x="739" y="367"/>
                    <a:pt x="735" y="368"/>
                    <a:pt x="735" y="370"/>
                  </a:cubicBezTo>
                  <a:cubicBezTo>
                    <a:pt x="734" y="372"/>
                    <a:pt x="734" y="374"/>
                    <a:pt x="740" y="374"/>
                  </a:cubicBezTo>
                  <a:cubicBezTo>
                    <a:pt x="743" y="374"/>
                    <a:pt x="744" y="371"/>
                    <a:pt x="746" y="369"/>
                  </a:cubicBezTo>
                  <a:cubicBezTo>
                    <a:pt x="747" y="368"/>
                    <a:pt x="749" y="365"/>
                    <a:pt x="749" y="364"/>
                  </a:cubicBezTo>
                  <a:cubicBezTo>
                    <a:pt x="751" y="362"/>
                    <a:pt x="752" y="362"/>
                    <a:pt x="753" y="361"/>
                  </a:cubicBezTo>
                  <a:cubicBezTo>
                    <a:pt x="753" y="358"/>
                    <a:pt x="755" y="357"/>
                    <a:pt x="748" y="357"/>
                  </a:cubicBezTo>
                  <a:close/>
                  <a:moveTo>
                    <a:pt x="758" y="350"/>
                  </a:moveTo>
                  <a:cubicBezTo>
                    <a:pt x="756" y="350"/>
                    <a:pt x="755" y="346"/>
                    <a:pt x="754" y="345"/>
                  </a:cubicBezTo>
                  <a:cubicBezTo>
                    <a:pt x="751" y="341"/>
                    <a:pt x="747" y="341"/>
                    <a:pt x="747" y="343"/>
                  </a:cubicBezTo>
                  <a:cubicBezTo>
                    <a:pt x="747" y="344"/>
                    <a:pt x="749" y="346"/>
                    <a:pt x="751" y="349"/>
                  </a:cubicBezTo>
                  <a:cubicBezTo>
                    <a:pt x="751" y="350"/>
                    <a:pt x="750" y="352"/>
                    <a:pt x="750" y="353"/>
                  </a:cubicBezTo>
                  <a:cubicBezTo>
                    <a:pt x="751" y="355"/>
                    <a:pt x="753" y="357"/>
                    <a:pt x="755" y="357"/>
                  </a:cubicBezTo>
                  <a:cubicBezTo>
                    <a:pt x="759" y="357"/>
                    <a:pt x="762" y="353"/>
                    <a:pt x="762" y="351"/>
                  </a:cubicBezTo>
                  <a:cubicBezTo>
                    <a:pt x="762" y="349"/>
                    <a:pt x="762" y="350"/>
                    <a:pt x="758" y="350"/>
                  </a:cubicBezTo>
                  <a:close/>
                  <a:moveTo>
                    <a:pt x="666" y="203"/>
                  </a:moveTo>
                  <a:cubicBezTo>
                    <a:pt x="665" y="203"/>
                    <a:pt x="664" y="201"/>
                    <a:pt x="663" y="201"/>
                  </a:cubicBezTo>
                  <a:cubicBezTo>
                    <a:pt x="662" y="201"/>
                    <a:pt x="658" y="204"/>
                    <a:pt x="657" y="204"/>
                  </a:cubicBezTo>
                  <a:cubicBezTo>
                    <a:pt x="657" y="205"/>
                    <a:pt x="653" y="209"/>
                    <a:pt x="652" y="210"/>
                  </a:cubicBezTo>
                  <a:cubicBezTo>
                    <a:pt x="652" y="212"/>
                    <a:pt x="653" y="214"/>
                    <a:pt x="655" y="215"/>
                  </a:cubicBezTo>
                  <a:cubicBezTo>
                    <a:pt x="657" y="215"/>
                    <a:pt x="660" y="211"/>
                    <a:pt x="661" y="211"/>
                  </a:cubicBezTo>
                  <a:cubicBezTo>
                    <a:pt x="662" y="211"/>
                    <a:pt x="665" y="210"/>
                    <a:pt x="666" y="210"/>
                  </a:cubicBezTo>
                  <a:cubicBezTo>
                    <a:pt x="667" y="209"/>
                    <a:pt x="670" y="207"/>
                    <a:pt x="671" y="207"/>
                  </a:cubicBezTo>
                  <a:cubicBezTo>
                    <a:pt x="671" y="206"/>
                    <a:pt x="672" y="207"/>
                    <a:pt x="673" y="206"/>
                  </a:cubicBezTo>
                  <a:cubicBezTo>
                    <a:pt x="675" y="205"/>
                    <a:pt x="676" y="209"/>
                    <a:pt x="677" y="207"/>
                  </a:cubicBezTo>
                  <a:cubicBezTo>
                    <a:pt x="679" y="206"/>
                    <a:pt x="677" y="206"/>
                    <a:pt x="678" y="205"/>
                  </a:cubicBezTo>
                  <a:cubicBezTo>
                    <a:pt x="680" y="203"/>
                    <a:pt x="680" y="198"/>
                    <a:pt x="681" y="198"/>
                  </a:cubicBezTo>
                  <a:cubicBezTo>
                    <a:pt x="681" y="198"/>
                    <a:pt x="685" y="193"/>
                    <a:pt x="685" y="192"/>
                  </a:cubicBezTo>
                  <a:cubicBezTo>
                    <a:pt x="685" y="191"/>
                    <a:pt x="681" y="188"/>
                    <a:pt x="681" y="188"/>
                  </a:cubicBezTo>
                  <a:cubicBezTo>
                    <a:pt x="681" y="187"/>
                    <a:pt x="685" y="188"/>
                    <a:pt x="686" y="187"/>
                  </a:cubicBezTo>
                  <a:cubicBezTo>
                    <a:pt x="686" y="186"/>
                    <a:pt x="693" y="180"/>
                    <a:pt x="693" y="179"/>
                  </a:cubicBezTo>
                  <a:cubicBezTo>
                    <a:pt x="694" y="178"/>
                    <a:pt x="705" y="171"/>
                    <a:pt x="703" y="169"/>
                  </a:cubicBezTo>
                  <a:cubicBezTo>
                    <a:pt x="702" y="168"/>
                    <a:pt x="696" y="176"/>
                    <a:pt x="695" y="176"/>
                  </a:cubicBezTo>
                  <a:cubicBezTo>
                    <a:pt x="692" y="176"/>
                    <a:pt x="687" y="182"/>
                    <a:pt x="688" y="181"/>
                  </a:cubicBezTo>
                  <a:cubicBezTo>
                    <a:pt x="688" y="180"/>
                    <a:pt x="683" y="181"/>
                    <a:pt x="683" y="180"/>
                  </a:cubicBezTo>
                  <a:cubicBezTo>
                    <a:pt x="683" y="179"/>
                    <a:pt x="683" y="179"/>
                    <a:pt x="683" y="178"/>
                  </a:cubicBezTo>
                  <a:cubicBezTo>
                    <a:pt x="685" y="177"/>
                    <a:pt x="683" y="177"/>
                    <a:pt x="685" y="175"/>
                  </a:cubicBezTo>
                  <a:cubicBezTo>
                    <a:pt x="686" y="174"/>
                    <a:pt x="683" y="171"/>
                    <a:pt x="684" y="169"/>
                  </a:cubicBezTo>
                  <a:cubicBezTo>
                    <a:pt x="684" y="169"/>
                    <a:pt x="686" y="168"/>
                    <a:pt x="687" y="168"/>
                  </a:cubicBezTo>
                  <a:cubicBezTo>
                    <a:pt x="687" y="167"/>
                    <a:pt x="685" y="160"/>
                    <a:pt x="685" y="160"/>
                  </a:cubicBezTo>
                  <a:cubicBezTo>
                    <a:pt x="686" y="159"/>
                    <a:pt x="688" y="153"/>
                    <a:pt x="688" y="152"/>
                  </a:cubicBezTo>
                  <a:cubicBezTo>
                    <a:pt x="688" y="151"/>
                    <a:pt x="686" y="151"/>
                    <a:pt x="686" y="152"/>
                  </a:cubicBezTo>
                  <a:cubicBezTo>
                    <a:pt x="685" y="152"/>
                    <a:pt x="683" y="160"/>
                    <a:pt x="684" y="161"/>
                  </a:cubicBezTo>
                  <a:cubicBezTo>
                    <a:pt x="684" y="161"/>
                    <a:pt x="684" y="167"/>
                    <a:pt x="682" y="167"/>
                  </a:cubicBezTo>
                  <a:cubicBezTo>
                    <a:pt x="681" y="167"/>
                    <a:pt x="683" y="169"/>
                    <a:pt x="680" y="171"/>
                  </a:cubicBezTo>
                  <a:cubicBezTo>
                    <a:pt x="679" y="171"/>
                    <a:pt x="681" y="174"/>
                    <a:pt x="680" y="175"/>
                  </a:cubicBezTo>
                  <a:cubicBezTo>
                    <a:pt x="679" y="175"/>
                    <a:pt x="678" y="177"/>
                    <a:pt x="677" y="178"/>
                  </a:cubicBezTo>
                  <a:cubicBezTo>
                    <a:pt x="676" y="179"/>
                    <a:pt x="682" y="179"/>
                    <a:pt x="679" y="181"/>
                  </a:cubicBezTo>
                  <a:cubicBezTo>
                    <a:pt x="678" y="181"/>
                    <a:pt x="678" y="182"/>
                    <a:pt x="677" y="183"/>
                  </a:cubicBezTo>
                  <a:cubicBezTo>
                    <a:pt x="676" y="184"/>
                    <a:pt x="677" y="185"/>
                    <a:pt x="676" y="186"/>
                  </a:cubicBezTo>
                  <a:cubicBezTo>
                    <a:pt x="676" y="186"/>
                    <a:pt x="672" y="185"/>
                    <a:pt x="672" y="185"/>
                  </a:cubicBezTo>
                  <a:cubicBezTo>
                    <a:pt x="671" y="186"/>
                    <a:pt x="674" y="186"/>
                    <a:pt x="673" y="187"/>
                  </a:cubicBezTo>
                  <a:cubicBezTo>
                    <a:pt x="673" y="187"/>
                    <a:pt x="676" y="189"/>
                    <a:pt x="675" y="190"/>
                  </a:cubicBezTo>
                  <a:cubicBezTo>
                    <a:pt x="674" y="190"/>
                    <a:pt x="677" y="192"/>
                    <a:pt x="676" y="193"/>
                  </a:cubicBezTo>
                  <a:cubicBezTo>
                    <a:pt x="675" y="193"/>
                    <a:pt x="676" y="194"/>
                    <a:pt x="676" y="194"/>
                  </a:cubicBezTo>
                  <a:cubicBezTo>
                    <a:pt x="675" y="195"/>
                    <a:pt x="674" y="197"/>
                    <a:pt x="673" y="198"/>
                  </a:cubicBezTo>
                  <a:cubicBezTo>
                    <a:pt x="672" y="199"/>
                    <a:pt x="670" y="197"/>
                    <a:pt x="669" y="198"/>
                  </a:cubicBezTo>
                  <a:cubicBezTo>
                    <a:pt x="669" y="199"/>
                    <a:pt x="670" y="200"/>
                    <a:pt x="670" y="200"/>
                  </a:cubicBezTo>
                  <a:cubicBezTo>
                    <a:pt x="669" y="201"/>
                    <a:pt x="667" y="203"/>
                    <a:pt x="666" y="203"/>
                  </a:cubicBezTo>
                  <a:close/>
                  <a:moveTo>
                    <a:pt x="695" y="358"/>
                  </a:moveTo>
                  <a:cubicBezTo>
                    <a:pt x="695" y="356"/>
                    <a:pt x="695" y="355"/>
                    <a:pt x="695" y="356"/>
                  </a:cubicBezTo>
                  <a:cubicBezTo>
                    <a:pt x="695" y="356"/>
                    <a:pt x="694" y="356"/>
                    <a:pt x="694" y="356"/>
                  </a:cubicBezTo>
                  <a:cubicBezTo>
                    <a:pt x="693" y="357"/>
                    <a:pt x="693" y="357"/>
                    <a:pt x="693" y="357"/>
                  </a:cubicBezTo>
                  <a:cubicBezTo>
                    <a:pt x="693" y="357"/>
                    <a:pt x="693" y="357"/>
                    <a:pt x="692" y="358"/>
                  </a:cubicBezTo>
                  <a:cubicBezTo>
                    <a:pt x="692" y="358"/>
                    <a:pt x="691" y="358"/>
                    <a:pt x="691" y="358"/>
                  </a:cubicBezTo>
                  <a:cubicBezTo>
                    <a:pt x="690" y="358"/>
                    <a:pt x="689" y="358"/>
                    <a:pt x="689" y="358"/>
                  </a:cubicBezTo>
                  <a:cubicBezTo>
                    <a:pt x="688" y="357"/>
                    <a:pt x="687" y="358"/>
                    <a:pt x="687" y="358"/>
                  </a:cubicBezTo>
                  <a:cubicBezTo>
                    <a:pt x="686" y="358"/>
                    <a:pt x="688" y="358"/>
                    <a:pt x="687" y="359"/>
                  </a:cubicBezTo>
                  <a:cubicBezTo>
                    <a:pt x="687" y="360"/>
                    <a:pt x="688" y="360"/>
                    <a:pt x="688" y="361"/>
                  </a:cubicBezTo>
                  <a:cubicBezTo>
                    <a:pt x="689" y="362"/>
                    <a:pt x="688" y="362"/>
                    <a:pt x="688" y="363"/>
                  </a:cubicBezTo>
                  <a:cubicBezTo>
                    <a:pt x="688" y="363"/>
                    <a:pt x="688" y="365"/>
                    <a:pt x="689" y="365"/>
                  </a:cubicBezTo>
                  <a:cubicBezTo>
                    <a:pt x="690" y="366"/>
                    <a:pt x="689" y="368"/>
                    <a:pt x="690" y="368"/>
                  </a:cubicBezTo>
                  <a:cubicBezTo>
                    <a:pt x="691" y="368"/>
                    <a:pt x="692" y="365"/>
                    <a:pt x="693" y="365"/>
                  </a:cubicBezTo>
                  <a:cubicBezTo>
                    <a:pt x="693" y="364"/>
                    <a:pt x="693" y="364"/>
                    <a:pt x="693" y="364"/>
                  </a:cubicBezTo>
                  <a:cubicBezTo>
                    <a:pt x="693" y="363"/>
                    <a:pt x="694" y="363"/>
                    <a:pt x="694" y="363"/>
                  </a:cubicBezTo>
                  <a:cubicBezTo>
                    <a:pt x="695" y="362"/>
                    <a:pt x="695" y="362"/>
                    <a:pt x="695" y="362"/>
                  </a:cubicBezTo>
                  <a:cubicBezTo>
                    <a:pt x="695" y="361"/>
                    <a:pt x="695" y="361"/>
                    <a:pt x="695" y="359"/>
                  </a:cubicBezTo>
                  <a:cubicBezTo>
                    <a:pt x="695" y="358"/>
                    <a:pt x="695" y="358"/>
                    <a:pt x="695" y="358"/>
                  </a:cubicBezTo>
                  <a:close/>
                  <a:moveTo>
                    <a:pt x="789" y="106"/>
                  </a:moveTo>
                  <a:cubicBezTo>
                    <a:pt x="789" y="106"/>
                    <a:pt x="786" y="105"/>
                    <a:pt x="786" y="104"/>
                  </a:cubicBezTo>
                  <a:cubicBezTo>
                    <a:pt x="786" y="103"/>
                    <a:pt x="784" y="102"/>
                    <a:pt x="783" y="102"/>
                  </a:cubicBezTo>
                  <a:cubicBezTo>
                    <a:pt x="782" y="102"/>
                    <a:pt x="781" y="101"/>
                    <a:pt x="780" y="102"/>
                  </a:cubicBezTo>
                  <a:cubicBezTo>
                    <a:pt x="780" y="102"/>
                    <a:pt x="780" y="105"/>
                    <a:pt x="779" y="104"/>
                  </a:cubicBezTo>
                  <a:cubicBezTo>
                    <a:pt x="779" y="104"/>
                    <a:pt x="779" y="102"/>
                    <a:pt x="778" y="102"/>
                  </a:cubicBezTo>
                  <a:cubicBezTo>
                    <a:pt x="777" y="100"/>
                    <a:pt x="779" y="101"/>
                    <a:pt x="778" y="100"/>
                  </a:cubicBezTo>
                  <a:cubicBezTo>
                    <a:pt x="777" y="99"/>
                    <a:pt x="777" y="99"/>
                    <a:pt x="775" y="98"/>
                  </a:cubicBezTo>
                  <a:cubicBezTo>
                    <a:pt x="774" y="98"/>
                    <a:pt x="774" y="97"/>
                    <a:pt x="773" y="97"/>
                  </a:cubicBezTo>
                  <a:cubicBezTo>
                    <a:pt x="772" y="96"/>
                    <a:pt x="772" y="96"/>
                    <a:pt x="772" y="96"/>
                  </a:cubicBezTo>
                  <a:cubicBezTo>
                    <a:pt x="770" y="95"/>
                    <a:pt x="770" y="95"/>
                    <a:pt x="769" y="94"/>
                  </a:cubicBezTo>
                  <a:cubicBezTo>
                    <a:pt x="768" y="94"/>
                    <a:pt x="768" y="92"/>
                    <a:pt x="767" y="92"/>
                  </a:cubicBezTo>
                  <a:cubicBezTo>
                    <a:pt x="766" y="92"/>
                    <a:pt x="765" y="90"/>
                    <a:pt x="765" y="90"/>
                  </a:cubicBezTo>
                  <a:cubicBezTo>
                    <a:pt x="763" y="90"/>
                    <a:pt x="762" y="90"/>
                    <a:pt x="761" y="90"/>
                  </a:cubicBezTo>
                  <a:cubicBezTo>
                    <a:pt x="760" y="89"/>
                    <a:pt x="759" y="88"/>
                    <a:pt x="759" y="88"/>
                  </a:cubicBezTo>
                  <a:cubicBezTo>
                    <a:pt x="758" y="88"/>
                    <a:pt x="757" y="86"/>
                    <a:pt x="756" y="86"/>
                  </a:cubicBezTo>
                  <a:cubicBezTo>
                    <a:pt x="756" y="86"/>
                    <a:pt x="753" y="86"/>
                    <a:pt x="752" y="87"/>
                  </a:cubicBezTo>
                  <a:cubicBezTo>
                    <a:pt x="752" y="87"/>
                    <a:pt x="749" y="86"/>
                    <a:pt x="748" y="86"/>
                  </a:cubicBezTo>
                  <a:cubicBezTo>
                    <a:pt x="748" y="87"/>
                    <a:pt x="746" y="86"/>
                    <a:pt x="746" y="86"/>
                  </a:cubicBezTo>
                  <a:cubicBezTo>
                    <a:pt x="745" y="87"/>
                    <a:pt x="746" y="87"/>
                    <a:pt x="745" y="88"/>
                  </a:cubicBezTo>
                  <a:cubicBezTo>
                    <a:pt x="744" y="88"/>
                    <a:pt x="747" y="91"/>
                    <a:pt x="747" y="91"/>
                  </a:cubicBezTo>
                  <a:cubicBezTo>
                    <a:pt x="747" y="92"/>
                    <a:pt x="747" y="93"/>
                    <a:pt x="747" y="93"/>
                  </a:cubicBezTo>
                  <a:cubicBezTo>
                    <a:pt x="746" y="94"/>
                    <a:pt x="745" y="94"/>
                    <a:pt x="745" y="94"/>
                  </a:cubicBezTo>
                  <a:cubicBezTo>
                    <a:pt x="743" y="94"/>
                    <a:pt x="744" y="92"/>
                    <a:pt x="742" y="91"/>
                  </a:cubicBezTo>
                  <a:cubicBezTo>
                    <a:pt x="741" y="90"/>
                    <a:pt x="743" y="89"/>
                    <a:pt x="741" y="88"/>
                  </a:cubicBezTo>
                  <a:cubicBezTo>
                    <a:pt x="740" y="87"/>
                    <a:pt x="739" y="88"/>
                    <a:pt x="738" y="89"/>
                  </a:cubicBezTo>
                  <a:cubicBezTo>
                    <a:pt x="737" y="89"/>
                    <a:pt x="733" y="89"/>
                    <a:pt x="734" y="88"/>
                  </a:cubicBezTo>
                  <a:cubicBezTo>
                    <a:pt x="737" y="86"/>
                    <a:pt x="730" y="87"/>
                    <a:pt x="730" y="88"/>
                  </a:cubicBezTo>
                  <a:cubicBezTo>
                    <a:pt x="730" y="89"/>
                    <a:pt x="728" y="88"/>
                    <a:pt x="728" y="89"/>
                  </a:cubicBezTo>
                  <a:cubicBezTo>
                    <a:pt x="727" y="89"/>
                    <a:pt x="727" y="89"/>
                    <a:pt x="727" y="89"/>
                  </a:cubicBezTo>
                  <a:cubicBezTo>
                    <a:pt x="727" y="89"/>
                    <a:pt x="728" y="90"/>
                    <a:pt x="727" y="90"/>
                  </a:cubicBezTo>
                  <a:cubicBezTo>
                    <a:pt x="726" y="90"/>
                    <a:pt x="727" y="93"/>
                    <a:pt x="727" y="93"/>
                  </a:cubicBezTo>
                  <a:cubicBezTo>
                    <a:pt x="727" y="94"/>
                    <a:pt x="726" y="94"/>
                    <a:pt x="725" y="94"/>
                  </a:cubicBezTo>
                  <a:cubicBezTo>
                    <a:pt x="725" y="94"/>
                    <a:pt x="725" y="90"/>
                    <a:pt x="724" y="89"/>
                  </a:cubicBezTo>
                  <a:cubicBezTo>
                    <a:pt x="724" y="89"/>
                    <a:pt x="723" y="89"/>
                    <a:pt x="722" y="88"/>
                  </a:cubicBezTo>
                  <a:cubicBezTo>
                    <a:pt x="722" y="88"/>
                    <a:pt x="723" y="87"/>
                    <a:pt x="723" y="87"/>
                  </a:cubicBezTo>
                  <a:cubicBezTo>
                    <a:pt x="723" y="86"/>
                    <a:pt x="723" y="86"/>
                    <a:pt x="723" y="86"/>
                  </a:cubicBezTo>
                  <a:cubicBezTo>
                    <a:pt x="724" y="85"/>
                    <a:pt x="724" y="85"/>
                    <a:pt x="724" y="85"/>
                  </a:cubicBezTo>
                  <a:cubicBezTo>
                    <a:pt x="724" y="84"/>
                    <a:pt x="724" y="84"/>
                    <a:pt x="724" y="84"/>
                  </a:cubicBezTo>
                  <a:cubicBezTo>
                    <a:pt x="724" y="83"/>
                    <a:pt x="723" y="83"/>
                    <a:pt x="722" y="83"/>
                  </a:cubicBezTo>
                  <a:cubicBezTo>
                    <a:pt x="721" y="83"/>
                    <a:pt x="721" y="82"/>
                    <a:pt x="721" y="82"/>
                  </a:cubicBezTo>
                  <a:cubicBezTo>
                    <a:pt x="721" y="81"/>
                    <a:pt x="721" y="81"/>
                    <a:pt x="721" y="81"/>
                  </a:cubicBezTo>
                  <a:cubicBezTo>
                    <a:pt x="720" y="81"/>
                    <a:pt x="720" y="81"/>
                    <a:pt x="719" y="81"/>
                  </a:cubicBezTo>
                  <a:cubicBezTo>
                    <a:pt x="718" y="81"/>
                    <a:pt x="718" y="80"/>
                    <a:pt x="717" y="80"/>
                  </a:cubicBezTo>
                  <a:cubicBezTo>
                    <a:pt x="715" y="81"/>
                    <a:pt x="715" y="81"/>
                    <a:pt x="714" y="81"/>
                  </a:cubicBezTo>
                  <a:cubicBezTo>
                    <a:pt x="714" y="81"/>
                    <a:pt x="713" y="81"/>
                    <a:pt x="711" y="81"/>
                  </a:cubicBezTo>
                  <a:cubicBezTo>
                    <a:pt x="709" y="82"/>
                    <a:pt x="709" y="83"/>
                    <a:pt x="709" y="83"/>
                  </a:cubicBezTo>
                  <a:cubicBezTo>
                    <a:pt x="708" y="83"/>
                    <a:pt x="707" y="83"/>
                    <a:pt x="706" y="82"/>
                  </a:cubicBezTo>
                  <a:cubicBezTo>
                    <a:pt x="705" y="81"/>
                    <a:pt x="707" y="79"/>
                    <a:pt x="707" y="79"/>
                  </a:cubicBezTo>
                  <a:cubicBezTo>
                    <a:pt x="706" y="78"/>
                    <a:pt x="705" y="79"/>
                    <a:pt x="704" y="78"/>
                  </a:cubicBezTo>
                  <a:cubicBezTo>
                    <a:pt x="703" y="78"/>
                    <a:pt x="701" y="78"/>
                    <a:pt x="701" y="78"/>
                  </a:cubicBezTo>
                  <a:cubicBezTo>
                    <a:pt x="700" y="77"/>
                    <a:pt x="703" y="76"/>
                    <a:pt x="702" y="75"/>
                  </a:cubicBezTo>
                  <a:cubicBezTo>
                    <a:pt x="701" y="75"/>
                    <a:pt x="701" y="73"/>
                    <a:pt x="700" y="73"/>
                  </a:cubicBezTo>
                  <a:cubicBezTo>
                    <a:pt x="698" y="73"/>
                    <a:pt x="698" y="73"/>
                    <a:pt x="697" y="73"/>
                  </a:cubicBezTo>
                  <a:cubicBezTo>
                    <a:pt x="696" y="73"/>
                    <a:pt x="695" y="73"/>
                    <a:pt x="694" y="74"/>
                  </a:cubicBezTo>
                  <a:cubicBezTo>
                    <a:pt x="693" y="74"/>
                    <a:pt x="694" y="75"/>
                    <a:pt x="693" y="75"/>
                  </a:cubicBezTo>
                  <a:cubicBezTo>
                    <a:pt x="692" y="75"/>
                    <a:pt x="693" y="76"/>
                    <a:pt x="693" y="76"/>
                  </a:cubicBezTo>
                  <a:cubicBezTo>
                    <a:pt x="692" y="76"/>
                    <a:pt x="692" y="76"/>
                    <a:pt x="691" y="76"/>
                  </a:cubicBezTo>
                  <a:cubicBezTo>
                    <a:pt x="690" y="75"/>
                    <a:pt x="690" y="75"/>
                    <a:pt x="690" y="74"/>
                  </a:cubicBezTo>
                  <a:cubicBezTo>
                    <a:pt x="690" y="74"/>
                    <a:pt x="692" y="72"/>
                    <a:pt x="690" y="71"/>
                  </a:cubicBezTo>
                  <a:cubicBezTo>
                    <a:pt x="688" y="71"/>
                    <a:pt x="688" y="71"/>
                    <a:pt x="687" y="71"/>
                  </a:cubicBezTo>
                  <a:cubicBezTo>
                    <a:pt x="687" y="71"/>
                    <a:pt x="686" y="70"/>
                    <a:pt x="685" y="70"/>
                  </a:cubicBezTo>
                  <a:cubicBezTo>
                    <a:pt x="684" y="70"/>
                    <a:pt x="680" y="69"/>
                    <a:pt x="681" y="70"/>
                  </a:cubicBezTo>
                  <a:cubicBezTo>
                    <a:pt x="681" y="72"/>
                    <a:pt x="679" y="72"/>
                    <a:pt x="678" y="72"/>
                  </a:cubicBezTo>
                  <a:cubicBezTo>
                    <a:pt x="678" y="73"/>
                    <a:pt x="678" y="73"/>
                    <a:pt x="678" y="74"/>
                  </a:cubicBezTo>
                  <a:cubicBezTo>
                    <a:pt x="677" y="74"/>
                    <a:pt x="680" y="77"/>
                    <a:pt x="679" y="78"/>
                  </a:cubicBezTo>
                  <a:cubicBezTo>
                    <a:pt x="678" y="78"/>
                    <a:pt x="677" y="77"/>
                    <a:pt x="676" y="77"/>
                  </a:cubicBezTo>
                  <a:cubicBezTo>
                    <a:pt x="675" y="78"/>
                    <a:pt x="676" y="80"/>
                    <a:pt x="676" y="80"/>
                  </a:cubicBezTo>
                  <a:cubicBezTo>
                    <a:pt x="675" y="81"/>
                    <a:pt x="672" y="78"/>
                    <a:pt x="671" y="78"/>
                  </a:cubicBezTo>
                  <a:cubicBezTo>
                    <a:pt x="670" y="77"/>
                    <a:pt x="669" y="77"/>
                    <a:pt x="669" y="77"/>
                  </a:cubicBezTo>
                  <a:cubicBezTo>
                    <a:pt x="668" y="77"/>
                    <a:pt x="669" y="79"/>
                    <a:pt x="668" y="79"/>
                  </a:cubicBezTo>
                  <a:cubicBezTo>
                    <a:pt x="667" y="79"/>
                    <a:pt x="666" y="76"/>
                    <a:pt x="664" y="75"/>
                  </a:cubicBezTo>
                  <a:cubicBezTo>
                    <a:pt x="663" y="75"/>
                    <a:pt x="662" y="76"/>
                    <a:pt x="663" y="79"/>
                  </a:cubicBezTo>
                  <a:cubicBezTo>
                    <a:pt x="664" y="81"/>
                    <a:pt x="662" y="82"/>
                    <a:pt x="661" y="81"/>
                  </a:cubicBezTo>
                  <a:cubicBezTo>
                    <a:pt x="660" y="81"/>
                    <a:pt x="660" y="81"/>
                    <a:pt x="660" y="81"/>
                  </a:cubicBezTo>
                  <a:cubicBezTo>
                    <a:pt x="659" y="81"/>
                    <a:pt x="658" y="80"/>
                    <a:pt x="657" y="80"/>
                  </a:cubicBezTo>
                  <a:cubicBezTo>
                    <a:pt x="656" y="80"/>
                    <a:pt x="657" y="79"/>
                    <a:pt x="657" y="77"/>
                  </a:cubicBezTo>
                  <a:cubicBezTo>
                    <a:pt x="657" y="76"/>
                    <a:pt x="657" y="75"/>
                    <a:pt x="657" y="75"/>
                  </a:cubicBezTo>
                  <a:cubicBezTo>
                    <a:pt x="657" y="75"/>
                    <a:pt x="656" y="74"/>
                    <a:pt x="656" y="73"/>
                  </a:cubicBezTo>
                  <a:cubicBezTo>
                    <a:pt x="656" y="72"/>
                    <a:pt x="656" y="71"/>
                    <a:pt x="656" y="71"/>
                  </a:cubicBezTo>
                  <a:cubicBezTo>
                    <a:pt x="655" y="70"/>
                    <a:pt x="656" y="70"/>
                    <a:pt x="656" y="69"/>
                  </a:cubicBezTo>
                  <a:cubicBezTo>
                    <a:pt x="655" y="68"/>
                    <a:pt x="654" y="65"/>
                    <a:pt x="651" y="67"/>
                  </a:cubicBezTo>
                  <a:cubicBezTo>
                    <a:pt x="649" y="67"/>
                    <a:pt x="649" y="65"/>
                    <a:pt x="648" y="65"/>
                  </a:cubicBezTo>
                  <a:cubicBezTo>
                    <a:pt x="647" y="65"/>
                    <a:pt x="647" y="64"/>
                    <a:pt x="646" y="64"/>
                  </a:cubicBezTo>
                  <a:cubicBezTo>
                    <a:pt x="645" y="64"/>
                    <a:pt x="644" y="64"/>
                    <a:pt x="643" y="65"/>
                  </a:cubicBezTo>
                  <a:cubicBezTo>
                    <a:pt x="643" y="68"/>
                    <a:pt x="643" y="68"/>
                    <a:pt x="643" y="68"/>
                  </a:cubicBezTo>
                  <a:cubicBezTo>
                    <a:pt x="643" y="69"/>
                    <a:pt x="644" y="70"/>
                    <a:pt x="643" y="70"/>
                  </a:cubicBezTo>
                  <a:cubicBezTo>
                    <a:pt x="641" y="70"/>
                    <a:pt x="640" y="69"/>
                    <a:pt x="639" y="69"/>
                  </a:cubicBezTo>
                  <a:cubicBezTo>
                    <a:pt x="638" y="69"/>
                    <a:pt x="635" y="69"/>
                    <a:pt x="635" y="69"/>
                  </a:cubicBezTo>
                  <a:cubicBezTo>
                    <a:pt x="633" y="68"/>
                    <a:pt x="635" y="66"/>
                    <a:pt x="634" y="65"/>
                  </a:cubicBezTo>
                  <a:cubicBezTo>
                    <a:pt x="633" y="65"/>
                    <a:pt x="632" y="66"/>
                    <a:pt x="631" y="66"/>
                  </a:cubicBezTo>
                  <a:cubicBezTo>
                    <a:pt x="630" y="66"/>
                    <a:pt x="631" y="65"/>
                    <a:pt x="630" y="65"/>
                  </a:cubicBezTo>
                  <a:cubicBezTo>
                    <a:pt x="629" y="65"/>
                    <a:pt x="629" y="65"/>
                    <a:pt x="629" y="65"/>
                  </a:cubicBezTo>
                  <a:cubicBezTo>
                    <a:pt x="628" y="64"/>
                    <a:pt x="627" y="65"/>
                    <a:pt x="625" y="65"/>
                  </a:cubicBezTo>
                  <a:cubicBezTo>
                    <a:pt x="624" y="65"/>
                    <a:pt x="624" y="67"/>
                    <a:pt x="622" y="67"/>
                  </a:cubicBezTo>
                  <a:cubicBezTo>
                    <a:pt x="621" y="67"/>
                    <a:pt x="619" y="65"/>
                    <a:pt x="618" y="65"/>
                  </a:cubicBezTo>
                  <a:cubicBezTo>
                    <a:pt x="617" y="64"/>
                    <a:pt x="622" y="63"/>
                    <a:pt x="621" y="62"/>
                  </a:cubicBezTo>
                  <a:cubicBezTo>
                    <a:pt x="621" y="62"/>
                    <a:pt x="622" y="62"/>
                    <a:pt x="622" y="61"/>
                  </a:cubicBezTo>
                  <a:cubicBezTo>
                    <a:pt x="622" y="60"/>
                    <a:pt x="621" y="59"/>
                    <a:pt x="619" y="59"/>
                  </a:cubicBezTo>
                  <a:cubicBezTo>
                    <a:pt x="618" y="59"/>
                    <a:pt x="617" y="60"/>
                    <a:pt x="617" y="61"/>
                  </a:cubicBezTo>
                  <a:cubicBezTo>
                    <a:pt x="615" y="62"/>
                    <a:pt x="615" y="62"/>
                    <a:pt x="615" y="62"/>
                  </a:cubicBezTo>
                  <a:cubicBezTo>
                    <a:pt x="613" y="65"/>
                    <a:pt x="613" y="65"/>
                    <a:pt x="613" y="65"/>
                  </a:cubicBezTo>
                  <a:cubicBezTo>
                    <a:pt x="614" y="66"/>
                    <a:pt x="614" y="66"/>
                    <a:pt x="614" y="66"/>
                  </a:cubicBezTo>
                  <a:cubicBezTo>
                    <a:pt x="613" y="67"/>
                    <a:pt x="613" y="68"/>
                    <a:pt x="611" y="68"/>
                  </a:cubicBezTo>
                  <a:cubicBezTo>
                    <a:pt x="611" y="68"/>
                    <a:pt x="610" y="68"/>
                    <a:pt x="610" y="68"/>
                  </a:cubicBezTo>
                  <a:cubicBezTo>
                    <a:pt x="608" y="68"/>
                    <a:pt x="605" y="70"/>
                    <a:pt x="605" y="69"/>
                  </a:cubicBezTo>
                  <a:cubicBezTo>
                    <a:pt x="605" y="69"/>
                    <a:pt x="605" y="67"/>
                    <a:pt x="607" y="66"/>
                  </a:cubicBezTo>
                  <a:cubicBezTo>
                    <a:pt x="608" y="66"/>
                    <a:pt x="608" y="66"/>
                    <a:pt x="608" y="65"/>
                  </a:cubicBezTo>
                  <a:cubicBezTo>
                    <a:pt x="609" y="64"/>
                    <a:pt x="610" y="66"/>
                    <a:pt x="611" y="65"/>
                  </a:cubicBezTo>
                  <a:cubicBezTo>
                    <a:pt x="612" y="65"/>
                    <a:pt x="612" y="64"/>
                    <a:pt x="613" y="62"/>
                  </a:cubicBezTo>
                  <a:cubicBezTo>
                    <a:pt x="614" y="62"/>
                    <a:pt x="613" y="62"/>
                    <a:pt x="614" y="61"/>
                  </a:cubicBezTo>
                  <a:cubicBezTo>
                    <a:pt x="614" y="61"/>
                    <a:pt x="614" y="60"/>
                    <a:pt x="614" y="60"/>
                  </a:cubicBezTo>
                  <a:cubicBezTo>
                    <a:pt x="615" y="59"/>
                    <a:pt x="616" y="59"/>
                    <a:pt x="618" y="59"/>
                  </a:cubicBezTo>
                  <a:cubicBezTo>
                    <a:pt x="619" y="57"/>
                    <a:pt x="621" y="57"/>
                    <a:pt x="621" y="56"/>
                  </a:cubicBezTo>
                  <a:cubicBezTo>
                    <a:pt x="622" y="56"/>
                    <a:pt x="622" y="54"/>
                    <a:pt x="623" y="54"/>
                  </a:cubicBezTo>
                  <a:cubicBezTo>
                    <a:pt x="623" y="53"/>
                    <a:pt x="622" y="52"/>
                    <a:pt x="622" y="52"/>
                  </a:cubicBezTo>
                  <a:cubicBezTo>
                    <a:pt x="622" y="51"/>
                    <a:pt x="622" y="50"/>
                    <a:pt x="622" y="50"/>
                  </a:cubicBezTo>
                  <a:cubicBezTo>
                    <a:pt x="622" y="49"/>
                    <a:pt x="622" y="49"/>
                    <a:pt x="622" y="49"/>
                  </a:cubicBezTo>
                  <a:cubicBezTo>
                    <a:pt x="622" y="48"/>
                    <a:pt x="623" y="47"/>
                    <a:pt x="622" y="47"/>
                  </a:cubicBezTo>
                  <a:cubicBezTo>
                    <a:pt x="621" y="47"/>
                    <a:pt x="622" y="45"/>
                    <a:pt x="622" y="45"/>
                  </a:cubicBezTo>
                  <a:cubicBezTo>
                    <a:pt x="619" y="45"/>
                    <a:pt x="620" y="43"/>
                    <a:pt x="617" y="43"/>
                  </a:cubicBezTo>
                  <a:cubicBezTo>
                    <a:pt x="616" y="43"/>
                    <a:pt x="612" y="42"/>
                    <a:pt x="612" y="42"/>
                  </a:cubicBezTo>
                  <a:cubicBezTo>
                    <a:pt x="611" y="42"/>
                    <a:pt x="611" y="42"/>
                    <a:pt x="610" y="43"/>
                  </a:cubicBezTo>
                  <a:cubicBezTo>
                    <a:pt x="608" y="45"/>
                    <a:pt x="608" y="45"/>
                    <a:pt x="608" y="45"/>
                  </a:cubicBezTo>
                  <a:cubicBezTo>
                    <a:pt x="607" y="45"/>
                    <a:pt x="607" y="45"/>
                    <a:pt x="607" y="45"/>
                  </a:cubicBezTo>
                  <a:cubicBezTo>
                    <a:pt x="607" y="45"/>
                    <a:pt x="606" y="44"/>
                    <a:pt x="606" y="43"/>
                  </a:cubicBezTo>
                  <a:cubicBezTo>
                    <a:pt x="606" y="42"/>
                    <a:pt x="609" y="40"/>
                    <a:pt x="608" y="40"/>
                  </a:cubicBezTo>
                  <a:cubicBezTo>
                    <a:pt x="607" y="40"/>
                    <a:pt x="606" y="40"/>
                    <a:pt x="605" y="40"/>
                  </a:cubicBezTo>
                  <a:cubicBezTo>
                    <a:pt x="605" y="39"/>
                    <a:pt x="606" y="39"/>
                    <a:pt x="607" y="39"/>
                  </a:cubicBezTo>
                  <a:cubicBezTo>
                    <a:pt x="608" y="38"/>
                    <a:pt x="610" y="38"/>
                    <a:pt x="610" y="37"/>
                  </a:cubicBezTo>
                  <a:cubicBezTo>
                    <a:pt x="609" y="37"/>
                    <a:pt x="606" y="37"/>
                    <a:pt x="605" y="36"/>
                  </a:cubicBezTo>
                  <a:cubicBezTo>
                    <a:pt x="604" y="35"/>
                    <a:pt x="604" y="35"/>
                    <a:pt x="603" y="34"/>
                  </a:cubicBezTo>
                  <a:cubicBezTo>
                    <a:pt x="603" y="34"/>
                    <a:pt x="603" y="34"/>
                    <a:pt x="602" y="34"/>
                  </a:cubicBezTo>
                  <a:cubicBezTo>
                    <a:pt x="601" y="34"/>
                    <a:pt x="601" y="35"/>
                    <a:pt x="600" y="35"/>
                  </a:cubicBezTo>
                  <a:cubicBezTo>
                    <a:pt x="599" y="36"/>
                    <a:pt x="598" y="36"/>
                    <a:pt x="597" y="37"/>
                  </a:cubicBezTo>
                  <a:cubicBezTo>
                    <a:pt x="596" y="37"/>
                    <a:pt x="596" y="37"/>
                    <a:pt x="596" y="37"/>
                  </a:cubicBezTo>
                  <a:cubicBezTo>
                    <a:pt x="594" y="37"/>
                    <a:pt x="596" y="39"/>
                    <a:pt x="595" y="40"/>
                  </a:cubicBezTo>
                  <a:cubicBezTo>
                    <a:pt x="594" y="40"/>
                    <a:pt x="595" y="42"/>
                    <a:pt x="595" y="42"/>
                  </a:cubicBezTo>
                  <a:cubicBezTo>
                    <a:pt x="594" y="43"/>
                    <a:pt x="595" y="44"/>
                    <a:pt x="595" y="45"/>
                  </a:cubicBezTo>
                  <a:cubicBezTo>
                    <a:pt x="594" y="45"/>
                    <a:pt x="593" y="46"/>
                    <a:pt x="592" y="45"/>
                  </a:cubicBezTo>
                  <a:cubicBezTo>
                    <a:pt x="592" y="45"/>
                    <a:pt x="591" y="44"/>
                    <a:pt x="590" y="44"/>
                  </a:cubicBezTo>
                  <a:cubicBezTo>
                    <a:pt x="589" y="44"/>
                    <a:pt x="589" y="45"/>
                    <a:pt x="588" y="46"/>
                  </a:cubicBezTo>
                  <a:cubicBezTo>
                    <a:pt x="588" y="47"/>
                    <a:pt x="588" y="48"/>
                    <a:pt x="588" y="47"/>
                  </a:cubicBezTo>
                  <a:cubicBezTo>
                    <a:pt x="587" y="47"/>
                    <a:pt x="586" y="49"/>
                    <a:pt x="585" y="49"/>
                  </a:cubicBezTo>
                  <a:cubicBezTo>
                    <a:pt x="585" y="49"/>
                    <a:pt x="586" y="47"/>
                    <a:pt x="586" y="46"/>
                  </a:cubicBezTo>
                  <a:cubicBezTo>
                    <a:pt x="586" y="45"/>
                    <a:pt x="587" y="44"/>
                    <a:pt x="587" y="43"/>
                  </a:cubicBezTo>
                  <a:cubicBezTo>
                    <a:pt x="587" y="43"/>
                    <a:pt x="586" y="42"/>
                    <a:pt x="586" y="42"/>
                  </a:cubicBezTo>
                  <a:cubicBezTo>
                    <a:pt x="586" y="41"/>
                    <a:pt x="586" y="39"/>
                    <a:pt x="586" y="39"/>
                  </a:cubicBezTo>
                  <a:cubicBezTo>
                    <a:pt x="586" y="38"/>
                    <a:pt x="585" y="38"/>
                    <a:pt x="585" y="38"/>
                  </a:cubicBezTo>
                  <a:cubicBezTo>
                    <a:pt x="584" y="38"/>
                    <a:pt x="582" y="40"/>
                    <a:pt x="582" y="40"/>
                  </a:cubicBezTo>
                  <a:cubicBezTo>
                    <a:pt x="582" y="41"/>
                    <a:pt x="582" y="41"/>
                    <a:pt x="582" y="41"/>
                  </a:cubicBezTo>
                  <a:cubicBezTo>
                    <a:pt x="581" y="42"/>
                    <a:pt x="581" y="42"/>
                    <a:pt x="581" y="42"/>
                  </a:cubicBezTo>
                  <a:cubicBezTo>
                    <a:pt x="578" y="43"/>
                    <a:pt x="578" y="45"/>
                    <a:pt x="578" y="45"/>
                  </a:cubicBezTo>
                  <a:cubicBezTo>
                    <a:pt x="578" y="45"/>
                    <a:pt x="582" y="45"/>
                    <a:pt x="581" y="46"/>
                  </a:cubicBezTo>
                  <a:cubicBezTo>
                    <a:pt x="580" y="46"/>
                    <a:pt x="578" y="47"/>
                    <a:pt x="577" y="47"/>
                  </a:cubicBezTo>
                  <a:cubicBezTo>
                    <a:pt x="575" y="48"/>
                    <a:pt x="577" y="49"/>
                    <a:pt x="575" y="50"/>
                  </a:cubicBezTo>
                  <a:cubicBezTo>
                    <a:pt x="574" y="50"/>
                    <a:pt x="576" y="48"/>
                    <a:pt x="575" y="49"/>
                  </a:cubicBezTo>
                  <a:cubicBezTo>
                    <a:pt x="573" y="48"/>
                    <a:pt x="573" y="48"/>
                    <a:pt x="573" y="48"/>
                  </a:cubicBezTo>
                  <a:cubicBezTo>
                    <a:pt x="573" y="49"/>
                    <a:pt x="573" y="47"/>
                    <a:pt x="572" y="47"/>
                  </a:cubicBezTo>
                  <a:cubicBezTo>
                    <a:pt x="571" y="47"/>
                    <a:pt x="569" y="46"/>
                    <a:pt x="569" y="46"/>
                  </a:cubicBezTo>
                  <a:cubicBezTo>
                    <a:pt x="569" y="46"/>
                    <a:pt x="566" y="49"/>
                    <a:pt x="565" y="49"/>
                  </a:cubicBezTo>
                  <a:cubicBezTo>
                    <a:pt x="565" y="49"/>
                    <a:pt x="564" y="49"/>
                    <a:pt x="564" y="49"/>
                  </a:cubicBezTo>
                  <a:cubicBezTo>
                    <a:pt x="564" y="52"/>
                    <a:pt x="564" y="52"/>
                    <a:pt x="564" y="52"/>
                  </a:cubicBezTo>
                  <a:cubicBezTo>
                    <a:pt x="564" y="53"/>
                    <a:pt x="565" y="55"/>
                    <a:pt x="564" y="56"/>
                  </a:cubicBezTo>
                  <a:cubicBezTo>
                    <a:pt x="564" y="56"/>
                    <a:pt x="563" y="57"/>
                    <a:pt x="562" y="58"/>
                  </a:cubicBezTo>
                  <a:cubicBezTo>
                    <a:pt x="562" y="59"/>
                    <a:pt x="562" y="59"/>
                    <a:pt x="562" y="59"/>
                  </a:cubicBezTo>
                  <a:cubicBezTo>
                    <a:pt x="561" y="60"/>
                    <a:pt x="562" y="62"/>
                    <a:pt x="561" y="63"/>
                  </a:cubicBezTo>
                  <a:cubicBezTo>
                    <a:pt x="561" y="63"/>
                    <a:pt x="557" y="64"/>
                    <a:pt x="557" y="65"/>
                  </a:cubicBezTo>
                  <a:cubicBezTo>
                    <a:pt x="556" y="65"/>
                    <a:pt x="553" y="64"/>
                    <a:pt x="552" y="65"/>
                  </a:cubicBezTo>
                  <a:cubicBezTo>
                    <a:pt x="552" y="65"/>
                    <a:pt x="551" y="65"/>
                    <a:pt x="551" y="65"/>
                  </a:cubicBezTo>
                  <a:cubicBezTo>
                    <a:pt x="550" y="66"/>
                    <a:pt x="551" y="67"/>
                    <a:pt x="550" y="68"/>
                  </a:cubicBezTo>
                  <a:cubicBezTo>
                    <a:pt x="549" y="68"/>
                    <a:pt x="550" y="70"/>
                    <a:pt x="549" y="70"/>
                  </a:cubicBezTo>
                  <a:cubicBezTo>
                    <a:pt x="549" y="71"/>
                    <a:pt x="550" y="73"/>
                    <a:pt x="551" y="73"/>
                  </a:cubicBezTo>
                  <a:cubicBezTo>
                    <a:pt x="551" y="74"/>
                    <a:pt x="554" y="74"/>
                    <a:pt x="553" y="74"/>
                  </a:cubicBezTo>
                  <a:cubicBezTo>
                    <a:pt x="552" y="74"/>
                    <a:pt x="555" y="76"/>
                    <a:pt x="554" y="76"/>
                  </a:cubicBezTo>
                  <a:cubicBezTo>
                    <a:pt x="554" y="76"/>
                    <a:pt x="554" y="78"/>
                    <a:pt x="553" y="77"/>
                  </a:cubicBezTo>
                  <a:cubicBezTo>
                    <a:pt x="552" y="77"/>
                    <a:pt x="551" y="75"/>
                    <a:pt x="550" y="75"/>
                  </a:cubicBezTo>
                  <a:cubicBezTo>
                    <a:pt x="550" y="75"/>
                    <a:pt x="549" y="75"/>
                    <a:pt x="549" y="74"/>
                  </a:cubicBezTo>
                  <a:cubicBezTo>
                    <a:pt x="548" y="74"/>
                    <a:pt x="548" y="74"/>
                    <a:pt x="548" y="73"/>
                  </a:cubicBezTo>
                  <a:cubicBezTo>
                    <a:pt x="547" y="73"/>
                    <a:pt x="547" y="73"/>
                    <a:pt x="547" y="73"/>
                  </a:cubicBezTo>
                  <a:cubicBezTo>
                    <a:pt x="547" y="72"/>
                    <a:pt x="546" y="71"/>
                    <a:pt x="545" y="72"/>
                  </a:cubicBezTo>
                  <a:cubicBezTo>
                    <a:pt x="545" y="72"/>
                    <a:pt x="543" y="72"/>
                    <a:pt x="542" y="73"/>
                  </a:cubicBezTo>
                  <a:cubicBezTo>
                    <a:pt x="541" y="74"/>
                    <a:pt x="541" y="76"/>
                    <a:pt x="541" y="76"/>
                  </a:cubicBezTo>
                  <a:cubicBezTo>
                    <a:pt x="540" y="77"/>
                    <a:pt x="540" y="75"/>
                    <a:pt x="540" y="75"/>
                  </a:cubicBezTo>
                  <a:cubicBezTo>
                    <a:pt x="540" y="75"/>
                    <a:pt x="539" y="70"/>
                    <a:pt x="539" y="69"/>
                  </a:cubicBezTo>
                  <a:cubicBezTo>
                    <a:pt x="539" y="68"/>
                    <a:pt x="538" y="69"/>
                    <a:pt x="537" y="69"/>
                  </a:cubicBezTo>
                  <a:cubicBezTo>
                    <a:pt x="536" y="69"/>
                    <a:pt x="538" y="73"/>
                    <a:pt x="537" y="74"/>
                  </a:cubicBezTo>
                  <a:cubicBezTo>
                    <a:pt x="536" y="74"/>
                    <a:pt x="538" y="75"/>
                    <a:pt x="537" y="76"/>
                  </a:cubicBezTo>
                  <a:cubicBezTo>
                    <a:pt x="537" y="76"/>
                    <a:pt x="537" y="76"/>
                    <a:pt x="537" y="76"/>
                  </a:cubicBezTo>
                  <a:cubicBezTo>
                    <a:pt x="536" y="76"/>
                    <a:pt x="535" y="77"/>
                    <a:pt x="535" y="77"/>
                  </a:cubicBezTo>
                  <a:cubicBezTo>
                    <a:pt x="534" y="80"/>
                    <a:pt x="534" y="80"/>
                    <a:pt x="534" y="80"/>
                  </a:cubicBezTo>
                  <a:cubicBezTo>
                    <a:pt x="536" y="81"/>
                    <a:pt x="536" y="81"/>
                    <a:pt x="536" y="81"/>
                  </a:cubicBezTo>
                  <a:cubicBezTo>
                    <a:pt x="535" y="82"/>
                    <a:pt x="535" y="83"/>
                    <a:pt x="535" y="83"/>
                  </a:cubicBezTo>
                  <a:cubicBezTo>
                    <a:pt x="535" y="84"/>
                    <a:pt x="535" y="85"/>
                    <a:pt x="535" y="85"/>
                  </a:cubicBezTo>
                  <a:cubicBezTo>
                    <a:pt x="535" y="86"/>
                    <a:pt x="535" y="86"/>
                    <a:pt x="535" y="87"/>
                  </a:cubicBezTo>
                  <a:cubicBezTo>
                    <a:pt x="534" y="87"/>
                    <a:pt x="534" y="88"/>
                    <a:pt x="534" y="89"/>
                  </a:cubicBezTo>
                  <a:cubicBezTo>
                    <a:pt x="534" y="90"/>
                    <a:pt x="535" y="91"/>
                    <a:pt x="535" y="91"/>
                  </a:cubicBezTo>
                  <a:cubicBezTo>
                    <a:pt x="535" y="92"/>
                    <a:pt x="537" y="91"/>
                    <a:pt x="537" y="91"/>
                  </a:cubicBezTo>
                  <a:cubicBezTo>
                    <a:pt x="537" y="92"/>
                    <a:pt x="538" y="91"/>
                    <a:pt x="539" y="91"/>
                  </a:cubicBezTo>
                  <a:cubicBezTo>
                    <a:pt x="539" y="91"/>
                    <a:pt x="541" y="92"/>
                    <a:pt x="541" y="93"/>
                  </a:cubicBezTo>
                  <a:cubicBezTo>
                    <a:pt x="540" y="94"/>
                    <a:pt x="537" y="93"/>
                    <a:pt x="537" y="93"/>
                  </a:cubicBezTo>
                  <a:cubicBezTo>
                    <a:pt x="536" y="94"/>
                    <a:pt x="536" y="94"/>
                    <a:pt x="536" y="94"/>
                  </a:cubicBezTo>
                  <a:cubicBezTo>
                    <a:pt x="536" y="94"/>
                    <a:pt x="536" y="96"/>
                    <a:pt x="536" y="96"/>
                  </a:cubicBezTo>
                  <a:cubicBezTo>
                    <a:pt x="536" y="97"/>
                    <a:pt x="538" y="97"/>
                    <a:pt x="538" y="98"/>
                  </a:cubicBezTo>
                  <a:cubicBezTo>
                    <a:pt x="538" y="98"/>
                    <a:pt x="538" y="99"/>
                    <a:pt x="537" y="100"/>
                  </a:cubicBezTo>
                  <a:cubicBezTo>
                    <a:pt x="536" y="99"/>
                    <a:pt x="536" y="99"/>
                    <a:pt x="536" y="99"/>
                  </a:cubicBezTo>
                  <a:cubicBezTo>
                    <a:pt x="536" y="101"/>
                    <a:pt x="536" y="101"/>
                    <a:pt x="536" y="101"/>
                  </a:cubicBezTo>
                  <a:cubicBezTo>
                    <a:pt x="535" y="101"/>
                    <a:pt x="536" y="103"/>
                    <a:pt x="536" y="103"/>
                  </a:cubicBezTo>
                  <a:cubicBezTo>
                    <a:pt x="535" y="103"/>
                    <a:pt x="534" y="103"/>
                    <a:pt x="534" y="104"/>
                  </a:cubicBezTo>
                  <a:cubicBezTo>
                    <a:pt x="533" y="104"/>
                    <a:pt x="532" y="105"/>
                    <a:pt x="532" y="105"/>
                  </a:cubicBezTo>
                  <a:cubicBezTo>
                    <a:pt x="530" y="106"/>
                    <a:pt x="530" y="106"/>
                    <a:pt x="530" y="106"/>
                  </a:cubicBezTo>
                  <a:cubicBezTo>
                    <a:pt x="529" y="106"/>
                    <a:pt x="528" y="105"/>
                    <a:pt x="528" y="106"/>
                  </a:cubicBezTo>
                  <a:cubicBezTo>
                    <a:pt x="527" y="106"/>
                    <a:pt x="526" y="105"/>
                    <a:pt x="526" y="105"/>
                  </a:cubicBezTo>
                  <a:cubicBezTo>
                    <a:pt x="525" y="106"/>
                    <a:pt x="525" y="104"/>
                    <a:pt x="525" y="104"/>
                  </a:cubicBezTo>
                  <a:cubicBezTo>
                    <a:pt x="526" y="103"/>
                    <a:pt x="529" y="103"/>
                    <a:pt x="529" y="103"/>
                  </a:cubicBezTo>
                  <a:cubicBezTo>
                    <a:pt x="528" y="104"/>
                    <a:pt x="531" y="104"/>
                    <a:pt x="531" y="103"/>
                  </a:cubicBezTo>
                  <a:cubicBezTo>
                    <a:pt x="532" y="101"/>
                    <a:pt x="532" y="101"/>
                    <a:pt x="532" y="101"/>
                  </a:cubicBezTo>
                  <a:cubicBezTo>
                    <a:pt x="533" y="101"/>
                    <a:pt x="533" y="100"/>
                    <a:pt x="534" y="100"/>
                  </a:cubicBezTo>
                  <a:cubicBezTo>
                    <a:pt x="534" y="99"/>
                    <a:pt x="535" y="95"/>
                    <a:pt x="534" y="94"/>
                  </a:cubicBezTo>
                  <a:cubicBezTo>
                    <a:pt x="533" y="93"/>
                    <a:pt x="533" y="93"/>
                    <a:pt x="533" y="93"/>
                  </a:cubicBezTo>
                  <a:cubicBezTo>
                    <a:pt x="533" y="90"/>
                    <a:pt x="533" y="90"/>
                    <a:pt x="533" y="90"/>
                  </a:cubicBezTo>
                  <a:cubicBezTo>
                    <a:pt x="532" y="90"/>
                    <a:pt x="534" y="86"/>
                    <a:pt x="533" y="86"/>
                  </a:cubicBezTo>
                  <a:cubicBezTo>
                    <a:pt x="532" y="86"/>
                    <a:pt x="534" y="83"/>
                    <a:pt x="533" y="82"/>
                  </a:cubicBezTo>
                  <a:cubicBezTo>
                    <a:pt x="532" y="80"/>
                    <a:pt x="532" y="80"/>
                    <a:pt x="532" y="80"/>
                  </a:cubicBezTo>
                  <a:cubicBezTo>
                    <a:pt x="532" y="80"/>
                    <a:pt x="533" y="78"/>
                    <a:pt x="532" y="78"/>
                  </a:cubicBezTo>
                  <a:cubicBezTo>
                    <a:pt x="532" y="77"/>
                    <a:pt x="534" y="76"/>
                    <a:pt x="534" y="75"/>
                  </a:cubicBezTo>
                  <a:cubicBezTo>
                    <a:pt x="534" y="72"/>
                    <a:pt x="534" y="72"/>
                    <a:pt x="534" y="72"/>
                  </a:cubicBezTo>
                  <a:cubicBezTo>
                    <a:pt x="534" y="72"/>
                    <a:pt x="533" y="71"/>
                    <a:pt x="533" y="71"/>
                  </a:cubicBezTo>
                  <a:cubicBezTo>
                    <a:pt x="533" y="71"/>
                    <a:pt x="533" y="69"/>
                    <a:pt x="532" y="68"/>
                  </a:cubicBezTo>
                  <a:cubicBezTo>
                    <a:pt x="532" y="67"/>
                    <a:pt x="531" y="67"/>
                    <a:pt x="530" y="67"/>
                  </a:cubicBezTo>
                  <a:cubicBezTo>
                    <a:pt x="530" y="67"/>
                    <a:pt x="530" y="67"/>
                    <a:pt x="529" y="66"/>
                  </a:cubicBezTo>
                  <a:cubicBezTo>
                    <a:pt x="529" y="66"/>
                    <a:pt x="529" y="66"/>
                    <a:pt x="528" y="66"/>
                  </a:cubicBezTo>
                  <a:cubicBezTo>
                    <a:pt x="526" y="66"/>
                    <a:pt x="526" y="68"/>
                    <a:pt x="526" y="68"/>
                  </a:cubicBezTo>
                  <a:cubicBezTo>
                    <a:pt x="526" y="69"/>
                    <a:pt x="525" y="70"/>
                    <a:pt x="525" y="70"/>
                  </a:cubicBezTo>
                  <a:cubicBezTo>
                    <a:pt x="523" y="71"/>
                    <a:pt x="524" y="72"/>
                    <a:pt x="523" y="72"/>
                  </a:cubicBezTo>
                  <a:cubicBezTo>
                    <a:pt x="523" y="72"/>
                    <a:pt x="523" y="75"/>
                    <a:pt x="523" y="75"/>
                  </a:cubicBezTo>
                  <a:cubicBezTo>
                    <a:pt x="523" y="75"/>
                    <a:pt x="526" y="75"/>
                    <a:pt x="524" y="76"/>
                  </a:cubicBezTo>
                  <a:cubicBezTo>
                    <a:pt x="522" y="76"/>
                    <a:pt x="523" y="77"/>
                    <a:pt x="523" y="77"/>
                  </a:cubicBezTo>
                  <a:cubicBezTo>
                    <a:pt x="523" y="77"/>
                    <a:pt x="522" y="79"/>
                    <a:pt x="520" y="80"/>
                  </a:cubicBezTo>
                  <a:cubicBezTo>
                    <a:pt x="519" y="80"/>
                    <a:pt x="519" y="80"/>
                    <a:pt x="518" y="81"/>
                  </a:cubicBezTo>
                  <a:cubicBezTo>
                    <a:pt x="517" y="82"/>
                    <a:pt x="518" y="84"/>
                    <a:pt x="519" y="84"/>
                  </a:cubicBezTo>
                  <a:cubicBezTo>
                    <a:pt x="520" y="85"/>
                    <a:pt x="521" y="85"/>
                    <a:pt x="520" y="85"/>
                  </a:cubicBezTo>
                  <a:cubicBezTo>
                    <a:pt x="520" y="86"/>
                    <a:pt x="519" y="88"/>
                    <a:pt x="518" y="88"/>
                  </a:cubicBezTo>
                  <a:cubicBezTo>
                    <a:pt x="517" y="89"/>
                    <a:pt x="521" y="90"/>
                    <a:pt x="521" y="91"/>
                  </a:cubicBezTo>
                  <a:cubicBezTo>
                    <a:pt x="520" y="92"/>
                    <a:pt x="525" y="93"/>
                    <a:pt x="525" y="93"/>
                  </a:cubicBezTo>
                  <a:cubicBezTo>
                    <a:pt x="525" y="93"/>
                    <a:pt x="526" y="93"/>
                    <a:pt x="525" y="95"/>
                  </a:cubicBezTo>
                  <a:cubicBezTo>
                    <a:pt x="524" y="95"/>
                    <a:pt x="524" y="96"/>
                    <a:pt x="523" y="96"/>
                  </a:cubicBezTo>
                  <a:cubicBezTo>
                    <a:pt x="522" y="96"/>
                    <a:pt x="522" y="94"/>
                    <a:pt x="521" y="94"/>
                  </a:cubicBezTo>
                  <a:cubicBezTo>
                    <a:pt x="520" y="94"/>
                    <a:pt x="518" y="92"/>
                    <a:pt x="517" y="92"/>
                  </a:cubicBezTo>
                  <a:cubicBezTo>
                    <a:pt x="516" y="92"/>
                    <a:pt x="513" y="89"/>
                    <a:pt x="512" y="89"/>
                  </a:cubicBezTo>
                  <a:cubicBezTo>
                    <a:pt x="511" y="89"/>
                    <a:pt x="510" y="88"/>
                    <a:pt x="509" y="88"/>
                  </a:cubicBezTo>
                  <a:cubicBezTo>
                    <a:pt x="508" y="87"/>
                    <a:pt x="507" y="86"/>
                    <a:pt x="506" y="86"/>
                  </a:cubicBezTo>
                  <a:cubicBezTo>
                    <a:pt x="505" y="86"/>
                    <a:pt x="503" y="84"/>
                    <a:pt x="502" y="84"/>
                  </a:cubicBezTo>
                  <a:cubicBezTo>
                    <a:pt x="501" y="84"/>
                    <a:pt x="502" y="86"/>
                    <a:pt x="502" y="87"/>
                  </a:cubicBezTo>
                  <a:cubicBezTo>
                    <a:pt x="503" y="88"/>
                    <a:pt x="507" y="90"/>
                    <a:pt x="505" y="90"/>
                  </a:cubicBezTo>
                  <a:cubicBezTo>
                    <a:pt x="505" y="90"/>
                    <a:pt x="508" y="93"/>
                    <a:pt x="506" y="94"/>
                  </a:cubicBezTo>
                  <a:cubicBezTo>
                    <a:pt x="505" y="94"/>
                    <a:pt x="503" y="89"/>
                    <a:pt x="502" y="90"/>
                  </a:cubicBezTo>
                  <a:cubicBezTo>
                    <a:pt x="501" y="90"/>
                    <a:pt x="502" y="92"/>
                    <a:pt x="502" y="92"/>
                  </a:cubicBezTo>
                  <a:cubicBezTo>
                    <a:pt x="501" y="92"/>
                    <a:pt x="500" y="93"/>
                    <a:pt x="500" y="93"/>
                  </a:cubicBezTo>
                  <a:cubicBezTo>
                    <a:pt x="499" y="93"/>
                    <a:pt x="498" y="91"/>
                    <a:pt x="498" y="91"/>
                  </a:cubicBezTo>
                  <a:cubicBezTo>
                    <a:pt x="496" y="91"/>
                    <a:pt x="494" y="95"/>
                    <a:pt x="493" y="96"/>
                  </a:cubicBezTo>
                  <a:cubicBezTo>
                    <a:pt x="491" y="96"/>
                    <a:pt x="491" y="92"/>
                    <a:pt x="490" y="92"/>
                  </a:cubicBezTo>
                  <a:cubicBezTo>
                    <a:pt x="487" y="93"/>
                    <a:pt x="487" y="95"/>
                    <a:pt x="484" y="95"/>
                  </a:cubicBezTo>
                  <a:cubicBezTo>
                    <a:pt x="482" y="96"/>
                    <a:pt x="483" y="97"/>
                    <a:pt x="481" y="97"/>
                  </a:cubicBezTo>
                  <a:cubicBezTo>
                    <a:pt x="479" y="97"/>
                    <a:pt x="481" y="100"/>
                    <a:pt x="479" y="100"/>
                  </a:cubicBezTo>
                  <a:cubicBezTo>
                    <a:pt x="478" y="100"/>
                    <a:pt x="478" y="103"/>
                    <a:pt x="478" y="103"/>
                  </a:cubicBezTo>
                  <a:cubicBezTo>
                    <a:pt x="478" y="105"/>
                    <a:pt x="476" y="103"/>
                    <a:pt x="475" y="103"/>
                  </a:cubicBezTo>
                  <a:cubicBezTo>
                    <a:pt x="475" y="103"/>
                    <a:pt x="474" y="102"/>
                    <a:pt x="474" y="103"/>
                  </a:cubicBezTo>
                  <a:cubicBezTo>
                    <a:pt x="472" y="103"/>
                    <a:pt x="474" y="100"/>
                    <a:pt x="474" y="100"/>
                  </a:cubicBezTo>
                  <a:cubicBezTo>
                    <a:pt x="474" y="99"/>
                    <a:pt x="477" y="99"/>
                    <a:pt x="477" y="99"/>
                  </a:cubicBezTo>
                  <a:cubicBezTo>
                    <a:pt x="477" y="98"/>
                    <a:pt x="477" y="97"/>
                    <a:pt x="476" y="97"/>
                  </a:cubicBezTo>
                  <a:cubicBezTo>
                    <a:pt x="474" y="96"/>
                    <a:pt x="474" y="94"/>
                    <a:pt x="473" y="94"/>
                  </a:cubicBezTo>
                  <a:cubicBezTo>
                    <a:pt x="473" y="94"/>
                    <a:pt x="471" y="94"/>
                    <a:pt x="470" y="94"/>
                  </a:cubicBezTo>
                  <a:cubicBezTo>
                    <a:pt x="469" y="95"/>
                    <a:pt x="471" y="96"/>
                    <a:pt x="470" y="96"/>
                  </a:cubicBezTo>
                  <a:cubicBezTo>
                    <a:pt x="468" y="96"/>
                    <a:pt x="471" y="98"/>
                    <a:pt x="469" y="98"/>
                  </a:cubicBezTo>
                  <a:cubicBezTo>
                    <a:pt x="468" y="99"/>
                    <a:pt x="468" y="99"/>
                    <a:pt x="469" y="100"/>
                  </a:cubicBezTo>
                  <a:cubicBezTo>
                    <a:pt x="470" y="102"/>
                    <a:pt x="470" y="102"/>
                    <a:pt x="470" y="102"/>
                  </a:cubicBezTo>
                  <a:cubicBezTo>
                    <a:pt x="470" y="102"/>
                    <a:pt x="472" y="104"/>
                    <a:pt x="470" y="105"/>
                  </a:cubicBezTo>
                  <a:cubicBezTo>
                    <a:pt x="469" y="105"/>
                    <a:pt x="468" y="105"/>
                    <a:pt x="466" y="106"/>
                  </a:cubicBezTo>
                  <a:cubicBezTo>
                    <a:pt x="465" y="106"/>
                    <a:pt x="464" y="107"/>
                    <a:pt x="463" y="108"/>
                  </a:cubicBezTo>
                  <a:cubicBezTo>
                    <a:pt x="461" y="108"/>
                    <a:pt x="464" y="113"/>
                    <a:pt x="463" y="113"/>
                  </a:cubicBezTo>
                  <a:cubicBezTo>
                    <a:pt x="461" y="114"/>
                    <a:pt x="460" y="113"/>
                    <a:pt x="459" y="112"/>
                  </a:cubicBezTo>
                  <a:cubicBezTo>
                    <a:pt x="459" y="112"/>
                    <a:pt x="459" y="112"/>
                    <a:pt x="459" y="112"/>
                  </a:cubicBezTo>
                  <a:cubicBezTo>
                    <a:pt x="457" y="111"/>
                    <a:pt x="457" y="111"/>
                    <a:pt x="457" y="111"/>
                  </a:cubicBezTo>
                  <a:cubicBezTo>
                    <a:pt x="457" y="111"/>
                    <a:pt x="456" y="110"/>
                    <a:pt x="454" y="110"/>
                  </a:cubicBezTo>
                  <a:cubicBezTo>
                    <a:pt x="453" y="110"/>
                    <a:pt x="454" y="114"/>
                    <a:pt x="453" y="113"/>
                  </a:cubicBezTo>
                  <a:cubicBezTo>
                    <a:pt x="452" y="113"/>
                    <a:pt x="451" y="112"/>
                    <a:pt x="451" y="111"/>
                  </a:cubicBezTo>
                  <a:cubicBezTo>
                    <a:pt x="451" y="111"/>
                    <a:pt x="451" y="111"/>
                    <a:pt x="451" y="111"/>
                  </a:cubicBezTo>
                  <a:cubicBezTo>
                    <a:pt x="449" y="110"/>
                    <a:pt x="451" y="108"/>
                    <a:pt x="451" y="108"/>
                  </a:cubicBezTo>
                  <a:cubicBezTo>
                    <a:pt x="451" y="108"/>
                    <a:pt x="452" y="107"/>
                    <a:pt x="450" y="106"/>
                  </a:cubicBezTo>
                  <a:cubicBezTo>
                    <a:pt x="449" y="106"/>
                    <a:pt x="449" y="105"/>
                    <a:pt x="449" y="105"/>
                  </a:cubicBezTo>
                  <a:cubicBezTo>
                    <a:pt x="448" y="105"/>
                    <a:pt x="447" y="103"/>
                    <a:pt x="446" y="103"/>
                  </a:cubicBezTo>
                  <a:cubicBezTo>
                    <a:pt x="446" y="103"/>
                    <a:pt x="446" y="102"/>
                    <a:pt x="447" y="102"/>
                  </a:cubicBezTo>
                  <a:cubicBezTo>
                    <a:pt x="447" y="102"/>
                    <a:pt x="448" y="103"/>
                    <a:pt x="449" y="103"/>
                  </a:cubicBezTo>
                  <a:cubicBezTo>
                    <a:pt x="449" y="103"/>
                    <a:pt x="450" y="104"/>
                    <a:pt x="451" y="104"/>
                  </a:cubicBezTo>
                  <a:cubicBezTo>
                    <a:pt x="451" y="104"/>
                    <a:pt x="452" y="106"/>
                    <a:pt x="453" y="105"/>
                  </a:cubicBezTo>
                  <a:cubicBezTo>
                    <a:pt x="454" y="104"/>
                    <a:pt x="455" y="106"/>
                    <a:pt x="455" y="106"/>
                  </a:cubicBezTo>
                  <a:cubicBezTo>
                    <a:pt x="455" y="106"/>
                    <a:pt x="457" y="107"/>
                    <a:pt x="457" y="107"/>
                  </a:cubicBezTo>
                  <a:cubicBezTo>
                    <a:pt x="459" y="107"/>
                    <a:pt x="460" y="108"/>
                    <a:pt x="460" y="107"/>
                  </a:cubicBezTo>
                  <a:cubicBezTo>
                    <a:pt x="461" y="107"/>
                    <a:pt x="461" y="106"/>
                    <a:pt x="462" y="106"/>
                  </a:cubicBezTo>
                  <a:cubicBezTo>
                    <a:pt x="462" y="105"/>
                    <a:pt x="462" y="105"/>
                    <a:pt x="462" y="105"/>
                  </a:cubicBezTo>
                  <a:cubicBezTo>
                    <a:pt x="463" y="105"/>
                    <a:pt x="463" y="104"/>
                    <a:pt x="464" y="104"/>
                  </a:cubicBezTo>
                  <a:cubicBezTo>
                    <a:pt x="464" y="103"/>
                    <a:pt x="464" y="103"/>
                    <a:pt x="465" y="102"/>
                  </a:cubicBezTo>
                  <a:cubicBezTo>
                    <a:pt x="465" y="101"/>
                    <a:pt x="465" y="101"/>
                    <a:pt x="465" y="101"/>
                  </a:cubicBezTo>
                  <a:cubicBezTo>
                    <a:pt x="466" y="100"/>
                    <a:pt x="464" y="98"/>
                    <a:pt x="463" y="97"/>
                  </a:cubicBezTo>
                  <a:cubicBezTo>
                    <a:pt x="462" y="96"/>
                    <a:pt x="460" y="96"/>
                    <a:pt x="459" y="95"/>
                  </a:cubicBezTo>
                  <a:cubicBezTo>
                    <a:pt x="459" y="94"/>
                    <a:pt x="458" y="94"/>
                    <a:pt x="458" y="94"/>
                  </a:cubicBezTo>
                  <a:cubicBezTo>
                    <a:pt x="456" y="93"/>
                    <a:pt x="454" y="91"/>
                    <a:pt x="453" y="91"/>
                  </a:cubicBezTo>
                  <a:cubicBezTo>
                    <a:pt x="453" y="91"/>
                    <a:pt x="452" y="91"/>
                    <a:pt x="451" y="90"/>
                  </a:cubicBezTo>
                  <a:cubicBezTo>
                    <a:pt x="449" y="89"/>
                    <a:pt x="447" y="90"/>
                    <a:pt x="447" y="88"/>
                  </a:cubicBezTo>
                  <a:cubicBezTo>
                    <a:pt x="446" y="87"/>
                    <a:pt x="444" y="87"/>
                    <a:pt x="442" y="88"/>
                  </a:cubicBezTo>
                  <a:cubicBezTo>
                    <a:pt x="441" y="88"/>
                    <a:pt x="440" y="89"/>
                    <a:pt x="439" y="88"/>
                  </a:cubicBezTo>
                  <a:cubicBezTo>
                    <a:pt x="439" y="88"/>
                    <a:pt x="439" y="88"/>
                    <a:pt x="440" y="87"/>
                  </a:cubicBezTo>
                  <a:cubicBezTo>
                    <a:pt x="440" y="86"/>
                    <a:pt x="440" y="86"/>
                    <a:pt x="442" y="86"/>
                  </a:cubicBezTo>
                  <a:cubicBezTo>
                    <a:pt x="444" y="86"/>
                    <a:pt x="444" y="84"/>
                    <a:pt x="444" y="84"/>
                  </a:cubicBezTo>
                  <a:cubicBezTo>
                    <a:pt x="444" y="84"/>
                    <a:pt x="443" y="83"/>
                    <a:pt x="441" y="83"/>
                  </a:cubicBezTo>
                  <a:cubicBezTo>
                    <a:pt x="439" y="82"/>
                    <a:pt x="437" y="81"/>
                    <a:pt x="437" y="81"/>
                  </a:cubicBezTo>
                  <a:cubicBezTo>
                    <a:pt x="437" y="81"/>
                    <a:pt x="436" y="80"/>
                    <a:pt x="435" y="80"/>
                  </a:cubicBezTo>
                  <a:cubicBezTo>
                    <a:pt x="434" y="80"/>
                    <a:pt x="434" y="81"/>
                    <a:pt x="433" y="81"/>
                  </a:cubicBezTo>
                  <a:cubicBezTo>
                    <a:pt x="433" y="81"/>
                    <a:pt x="431" y="80"/>
                    <a:pt x="430" y="80"/>
                  </a:cubicBezTo>
                  <a:cubicBezTo>
                    <a:pt x="430" y="79"/>
                    <a:pt x="429" y="79"/>
                    <a:pt x="428" y="80"/>
                  </a:cubicBezTo>
                  <a:cubicBezTo>
                    <a:pt x="427" y="80"/>
                    <a:pt x="426" y="81"/>
                    <a:pt x="426" y="82"/>
                  </a:cubicBezTo>
                  <a:cubicBezTo>
                    <a:pt x="425" y="82"/>
                    <a:pt x="424" y="83"/>
                    <a:pt x="424" y="83"/>
                  </a:cubicBezTo>
                  <a:cubicBezTo>
                    <a:pt x="423" y="83"/>
                    <a:pt x="422" y="84"/>
                    <a:pt x="422" y="84"/>
                  </a:cubicBezTo>
                  <a:cubicBezTo>
                    <a:pt x="422" y="84"/>
                    <a:pt x="421" y="84"/>
                    <a:pt x="420" y="85"/>
                  </a:cubicBezTo>
                  <a:cubicBezTo>
                    <a:pt x="419" y="85"/>
                    <a:pt x="419" y="85"/>
                    <a:pt x="418" y="85"/>
                  </a:cubicBezTo>
                  <a:cubicBezTo>
                    <a:pt x="417" y="84"/>
                    <a:pt x="416" y="85"/>
                    <a:pt x="416" y="85"/>
                  </a:cubicBezTo>
                  <a:cubicBezTo>
                    <a:pt x="415" y="86"/>
                    <a:pt x="415" y="87"/>
                    <a:pt x="415" y="87"/>
                  </a:cubicBezTo>
                  <a:cubicBezTo>
                    <a:pt x="414" y="87"/>
                    <a:pt x="413" y="89"/>
                    <a:pt x="412" y="89"/>
                  </a:cubicBezTo>
                  <a:cubicBezTo>
                    <a:pt x="411" y="89"/>
                    <a:pt x="411" y="90"/>
                    <a:pt x="410" y="90"/>
                  </a:cubicBezTo>
                  <a:cubicBezTo>
                    <a:pt x="410" y="91"/>
                    <a:pt x="409" y="91"/>
                    <a:pt x="409" y="91"/>
                  </a:cubicBezTo>
                  <a:cubicBezTo>
                    <a:pt x="406" y="92"/>
                    <a:pt x="406" y="92"/>
                    <a:pt x="406" y="92"/>
                  </a:cubicBezTo>
                  <a:cubicBezTo>
                    <a:pt x="406" y="92"/>
                    <a:pt x="406" y="93"/>
                    <a:pt x="406" y="94"/>
                  </a:cubicBezTo>
                  <a:cubicBezTo>
                    <a:pt x="406" y="95"/>
                    <a:pt x="406" y="96"/>
                    <a:pt x="405" y="96"/>
                  </a:cubicBezTo>
                  <a:cubicBezTo>
                    <a:pt x="405" y="96"/>
                    <a:pt x="405" y="96"/>
                    <a:pt x="404" y="96"/>
                  </a:cubicBezTo>
                  <a:cubicBezTo>
                    <a:pt x="403" y="96"/>
                    <a:pt x="403" y="96"/>
                    <a:pt x="402" y="97"/>
                  </a:cubicBezTo>
                  <a:cubicBezTo>
                    <a:pt x="402" y="97"/>
                    <a:pt x="402" y="97"/>
                    <a:pt x="402" y="97"/>
                  </a:cubicBezTo>
                  <a:cubicBezTo>
                    <a:pt x="402" y="98"/>
                    <a:pt x="401" y="98"/>
                    <a:pt x="401" y="99"/>
                  </a:cubicBezTo>
                  <a:cubicBezTo>
                    <a:pt x="401" y="99"/>
                    <a:pt x="402" y="99"/>
                    <a:pt x="402" y="99"/>
                  </a:cubicBezTo>
                  <a:cubicBezTo>
                    <a:pt x="403" y="99"/>
                    <a:pt x="403" y="99"/>
                    <a:pt x="403" y="99"/>
                  </a:cubicBezTo>
                  <a:cubicBezTo>
                    <a:pt x="404" y="99"/>
                    <a:pt x="405" y="99"/>
                    <a:pt x="405" y="98"/>
                  </a:cubicBezTo>
                  <a:cubicBezTo>
                    <a:pt x="405" y="98"/>
                    <a:pt x="406" y="97"/>
                    <a:pt x="407" y="97"/>
                  </a:cubicBezTo>
                  <a:cubicBezTo>
                    <a:pt x="408" y="97"/>
                    <a:pt x="407" y="98"/>
                    <a:pt x="408" y="98"/>
                  </a:cubicBezTo>
                  <a:cubicBezTo>
                    <a:pt x="408" y="99"/>
                    <a:pt x="408" y="100"/>
                    <a:pt x="408" y="100"/>
                  </a:cubicBezTo>
                  <a:cubicBezTo>
                    <a:pt x="407" y="100"/>
                    <a:pt x="406" y="101"/>
                    <a:pt x="405" y="101"/>
                  </a:cubicBezTo>
                  <a:cubicBezTo>
                    <a:pt x="405" y="101"/>
                    <a:pt x="404" y="101"/>
                    <a:pt x="404" y="101"/>
                  </a:cubicBezTo>
                  <a:cubicBezTo>
                    <a:pt x="403" y="102"/>
                    <a:pt x="403" y="103"/>
                    <a:pt x="403" y="103"/>
                  </a:cubicBezTo>
                  <a:cubicBezTo>
                    <a:pt x="403" y="104"/>
                    <a:pt x="402" y="105"/>
                    <a:pt x="402" y="105"/>
                  </a:cubicBezTo>
                  <a:cubicBezTo>
                    <a:pt x="402" y="105"/>
                    <a:pt x="401" y="107"/>
                    <a:pt x="401" y="108"/>
                  </a:cubicBezTo>
                  <a:cubicBezTo>
                    <a:pt x="400" y="108"/>
                    <a:pt x="399" y="108"/>
                    <a:pt x="399" y="108"/>
                  </a:cubicBezTo>
                  <a:cubicBezTo>
                    <a:pt x="399" y="109"/>
                    <a:pt x="398" y="109"/>
                    <a:pt x="397" y="110"/>
                  </a:cubicBezTo>
                  <a:cubicBezTo>
                    <a:pt x="397" y="110"/>
                    <a:pt x="397" y="113"/>
                    <a:pt x="397" y="113"/>
                  </a:cubicBezTo>
                  <a:cubicBezTo>
                    <a:pt x="397" y="113"/>
                    <a:pt x="397" y="115"/>
                    <a:pt x="396" y="115"/>
                  </a:cubicBezTo>
                  <a:cubicBezTo>
                    <a:pt x="396" y="115"/>
                    <a:pt x="395" y="115"/>
                    <a:pt x="395" y="115"/>
                  </a:cubicBezTo>
                  <a:cubicBezTo>
                    <a:pt x="394" y="116"/>
                    <a:pt x="394" y="116"/>
                    <a:pt x="393" y="116"/>
                  </a:cubicBezTo>
                  <a:cubicBezTo>
                    <a:pt x="391" y="118"/>
                    <a:pt x="391" y="118"/>
                    <a:pt x="390" y="119"/>
                  </a:cubicBezTo>
                  <a:cubicBezTo>
                    <a:pt x="388" y="120"/>
                    <a:pt x="389" y="121"/>
                    <a:pt x="389" y="121"/>
                  </a:cubicBezTo>
                  <a:cubicBezTo>
                    <a:pt x="389" y="122"/>
                    <a:pt x="387" y="121"/>
                    <a:pt x="386" y="122"/>
                  </a:cubicBezTo>
                  <a:cubicBezTo>
                    <a:pt x="385" y="122"/>
                    <a:pt x="385" y="122"/>
                    <a:pt x="385" y="122"/>
                  </a:cubicBezTo>
                  <a:cubicBezTo>
                    <a:pt x="385" y="122"/>
                    <a:pt x="385" y="123"/>
                    <a:pt x="385" y="124"/>
                  </a:cubicBezTo>
                  <a:cubicBezTo>
                    <a:pt x="385" y="125"/>
                    <a:pt x="385" y="126"/>
                    <a:pt x="385" y="126"/>
                  </a:cubicBezTo>
                  <a:cubicBezTo>
                    <a:pt x="384" y="128"/>
                    <a:pt x="385" y="128"/>
                    <a:pt x="385" y="129"/>
                  </a:cubicBezTo>
                  <a:cubicBezTo>
                    <a:pt x="386" y="130"/>
                    <a:pt x="386" y="130"/>
                    <a:pt x="385" y="131"/>
                  </a:cubicBezTo>
                  <a:cubicBezTo>
                    <a:pt x="385" y="132"/>
                    <a:pt x="385" y="133"/>
                    <a:pt x="385" y="134"/>
                  </a:cubicBezTo>
                  <a:cubicBezTo>
                    <a:pt x="385" y="134"/>
                    <a:pt x="386" y="135"/>
                    <a:pt x="386" y="136"/>
                  </a:cubicBezTo>
                  <a:cubicBezTo>
                    <a:pt x="386" y="137"/>
                    <a:pt x="387" y="137"/>
                    <a:pt x="387" y="138"/>
                  </a:cubicBezTo>
                  <a:cubicBezTo>
                    <a:pt x="388" y="139"/>
                    <a:pt x="388" y="139"/>
                    <a:pt x="388" y="140"/>
                  </a:cubicBezTo>
                  <a:cubicBezTo>
                    <a:pt x="390" y="140"/>
                    <a:pt x="392" y="141"/>
                    <a:pt x="393" y="140"/>
                  </a:cubicBezTo>
                  <a:cubicBezTo>
                    <a:pt x="393" y="140"/>
                    <a:pt x="393" y="138"/>
                    <a:pt x="395" y="137"/>
                  </a:cubicBezTo>
                  <a:cubicBezTo>
                    <a:pt x="395" y="137"/>
                    <a:pt x="398" y="135"/>
                    <a:pt x="399" y="136"/>
                  </a:cubicBezTo>
                  <a:cubicBezTo>
                    <a:pt x="400" y="137"/>
                    <a:pt x="399" y="138"/>
                    <a:pt x="400" y="139"/>
                  </a:cubicBezTo>
                  <a:cubicBezTo>
                    <a:pt x="400" y="139"/>
                    <a:pt x="399" y="139"/>
                    <a:pt x="400" y="140"/>
                  </a:cubicBezTo>
                  <a:cubicBezTo>
                    <a:pt x="400" y="140"/>
                    <a:pt x="400" y="140"/>
                    <a:pt x="400" y="140"/>
                  </a:cubicBezTo>
                  <a:cubicBezTo>
                    <a:pt x="400" y="141"/>
                    <a:pt x="400" y="141"/>
                    <a:pt x="400" y="141"/>
                  </a:cubicBezTo>
                  <a:cubicBezTo>
                    <a:pt x="401" y="142"/>
                    <a:pt x="400" y="143"/>
                    <a:pt x="401" y="143"/>
                  </a:cubicBezTo>
                  <a:cubicBezTo>
                    <a:pt x="402" y="143"/>
                    <a:pt x="402" y="145"/>
                    <a:pt x="402" y="145"/>
                  </a:cubicBezTo>
                  <a:cubicBezTo>
                    <a:pt x="403" y="145"/>
                    <a:pt x="402" y="148"/>
                    <a:pt x="403" y="148"/>
                  </a:cubicBezTo>
                  <a:cubicBezTo>
                    <a:pt x="403" y="148"/>
                    <a:pt x="405" y="149"/>
                    <a:pt x="405" y="149"/>
                  </a:cubicBezTo>
                  <a:cubicBezTo>
                    <a:pt x="405" y="149"/>
                    <a:pt x="406" y="148"/>
                    <a:pt x="406" y="147"/>
                  </a:cubicBezTo>
                  <a:cubicBezTo>
                    <a:pt x="406" y="146"/>
                    <a:pt x="410" y="146"/>
                    <a:pt x="410" y="146"/>
                  </a:cubicBezTo>
                  <a:cubicBezTo>
                    <a:pt x="411" y="145"/>
                    <a:pt x="412" y="147"/>
                    <a:pt x="412" y="143"/>
                  </a:cubicBezTo>
                  <a:cubicBezTo>
                    <a:pt x="413" y="142"/>
                    <a:pt x="412" y="141"/>
                    <a:pt x="412" y="141"/>
                  </a:cubicBezTo>
                  <a:cubicBezTo>
                    <a:pt x="413" y="140"/>
                    <a:pt x="411" y="139"/>
                    <a:pt x="411" y="139"/>
                  </a:cubicBezTo>
                  <a:cubicBezTo>
                    <a:pt x="411" y="138"/>
                    <a:pt x="411" y="138"/>
                    <a:pt x="412" y="138"/>
                  </a:cubicBezTo>
                  <a:cubicBezTo>
                    <a:pt x="412" y="137"/>
                    <a:pt x="414" y="138"/>
                    <a:pt x="414" y="137"/>
                  </a:cubicBezTo>
                  <a:cubicBezTo>
                    <a:pt x="414" y="136"/>
                    <a:pt x="415" y="135"/>
                    <a:pt x="416" y="135"/>
                  </a:cubicBezTo>
                  <a:cubicBezTo>
                    <a:pt x="416" y="134"/>
                    <a:pt x="417" y="133"/>
                    <a:pt x="417" y="133"/>
                  </a:cubicBezTo>
                  <a:cubicBezTo>
                    <a:pt x="417" y="132"/>
                    <a:pt x="416" y="132"/>
                    <a:pt x="416" y="131"/>
                  </a:cubicBezTo>
                  <a:cubicBezTo>
                    <a:pt x="413" y="129"/>
                    <a:pt x="413" y="129"/>
                    <a:pt x="413" y="129"/>
                  </a:cubicBezTo>
                  <a:cubicBezTo>
                    <a:pt x="413" y="128"/>
                    <a:pt x="413" y="128"/>
                    <a:pt x="413" y="128"/>
                  </a:cubicBezTo>
                  <a:cubicBezTo>
                    <a:pt x="413" y="127"/>
                    <a:pt x="412" y="126"/>
                    <a:pt x="412" y="126"/>
                  </a:cubicBezTo>
                  <a:cubicBezTo>
                    <a:pt x="412" y="125"/>
                    <a:pt x="412" y="125"/>
                    <a:pt x="413" y="125"/>
                  </a:cubicBezTo>
                  <a:cubicBezTo>
                    <a:pt x="414" y="124"/>
                    <a:pt x="413" y="123"/>
                    <a:pt x="413" y="123"/>
                  </a:cubicBezTo>
                  <a:cubicBezTo>
                    <a:pt x="414" y="123"/>
                    <a:pt x="414" y="123"/>
                    <a:pt x="414" y="123"/>
                  </a:cubicBezTo>
                  <a:cubicBezTo>
                    <a:pt x="415" y="121"/>
                    <a:pt x="415" y="121"/>
                    <a:pt x="415" y="121"/>
                  </a:cubicBezTo>
                  <a:cubicBezTo>
                    <a:pt x="415" y="120"/>
                    <a:pt x="415" y="120"/>
                    <a:pt x="415" y="120"/>
                  </a:cubicBezTo>
                  <a:cubicBezTo>
                    <a:pt x="416" y="119"/>
                    <a:pt x="416" y="120"/>
                    <a:pt x="416" y="120"/>
                  </a:cubicBezTo>
                  <a:cubicBezTo>
                    <a:pt x="417" y="120"/>
                    <a:pt x="417" y="118"/>
                    <a:pt x="418" y="119"/>
                  </a:cubicBezTo>
                  <a:cubicBezTo>
                    <a:pt x="418" y="119"/>
                    <a:pt x="418" y="117"/>
                    <a:pt x="419" y="117"/>
                  </a:cubicBezTo>
                  <a:cubicBezTo>
                    <a:pt x="419" y="116"/>
                    <a:pt x="420" y="116"/>
                    <a:pt x="420" y="116"/>
                  </a:cubicBezTo>
                  <a:cubicBezTo>
                    <a:pt x="421" y="116"/>
                    <a:pt x="420" y="115"/>
                    <a:pt x="421" y="115"/>
                  </a:cubicBezTo>
                  <a:cubicBezTo>
                    <a:pt x="422" y="115"/>
                    <a:pt x="421" y="112"/>
                    <a:pt x="422" y="113"/>
                  </a:cubicBezTo>
                  <a:cubicBezTo>
                    <a:pt x="422" y="113"/>
                    <a:pt x="422" y="110"/>
                    <a:pt x="422" y="110"/>
                  </a:cubicBezTo>
                  <a:cubicBezTo>
                    <a:pt x="423" y="110"/>
                    <a:pt x="424" y="109"/>
                    <a:pt x="425" y="109"/>
                  </a:cubicBezTo>
                  <a:cubicBezTo>
                    <a:pt x="425" y="109"/>
                    <a:pt x="427" y="108"/>
                    <a:pt x="427" y="108"/>
                  </a:cubicBezTo>
                  <a:cubicBezTo>
                    <a:pt x="428" y="109"/>
                    <a:pt x="429" y="110"/>
                    <a:pt x="429" y="110"/>
                  </a:cubicBezTo>
                  <a:cubicBezTo>
                    <a:pt x="429" y="110"/>
                    <a:pt x="429" y="111"/>
                    <a:pt x="428" y="111"/>
                  </a:cubicBezTo>
                  <a:cubicBezTo>
                    <a:pt x="428" y="112"/>
                    <a:pt x="428" y="112"/>
                    <a:pt x="428" y="112"/>
                  </a:cubicBezTo>
                  <a:cubicBezTo>
                    <a:pt x="428" y="113"/>
                    <a:pt x="426" y="114"/>
                    <a:pt x="426" y="114"/>
                  </a:cubicBezTo>
                  <a:cubicBezTo>
                    <a:pt x="426" y="115"/>
                    <a:pt x="425" y="115"/>
                    <a:pt x="425" y="115"/>
                  </a:cubicBezTo>
                  <a:cubicBezTo>
                    <a:pt x="425" y="116"/>
                    <a:pt x="424" y="117"/>
                    <a:pt x="424" y="117"/>
                  </a:cubicBezTo>
                  <a:cubicBezTo>
                    <a:pt x="424" y="118"/>
                    <a:pt x="422" y="118"/>
                    <a:pt x="422" y="118"/>
                  </a:cubicBezTo>
                  <a:cubicBezTo>
                    <a:pt x="422" y="118"/>
                    <a:pt x="421" y="118"/>
                    <a:pt x="421" y="119"/>
                  </a:cubicBezTo>
                  <a:cubicBezTo>
                    <a:pt x="421" y="120"/>
                    <a:pt x="421" y="120"/>
                    <a:pt x="421" y="120"/>
                  </a:cubicBezTo>
                  <a:cubicBezTo>
                    <a:pt x="421" y="120"/>
                    <a:pt x="421" y="121"/>
                    <a:pt x="421" y="122"/>
                  </a:cubicBezTo>
                  <a:cubicBezTo>
                    <a:pt x="421" y="123"/>
                    <a:pt x="421" y="123"/>
                    <a:pt x="421" y="124"/>
                  </a:cubicBezTo>
                  <a:cubicBezTo>
                    <a:pt x="421" y="125"/>
                    <a:pt x="421" y="126"/>
                    <a:pt x="421" y="127"/>
                  </a:cubicBezTo>
                  <a:cubicBezTo>
                    <a:pt x="421" y="127"/>
                    <a:pt x="420" y="129"/>
                    <a:pt x="420" y="129"/>
                  </a:cubicBezTo>
                  <a:cubicBezTo>
                    <a:pt x="422" y="129"/>
                    <a:pt x="422" y="129"/>
                    <a:pt x="422" y="129"/>
                  </a:cubicBezTo>
                  <a:cubicBezTo>
                    <a:pt x="422" y="130"/>
                    <a:pt x="423" y="130"/>
                    <a:pt x="423" y="131"/>
                  </a:cubicBezTo>
                  <a:cubicBezTo>
                    <a:pt x="423" y="131"/>
                    <a:pt x="425" y="131"/>
                    <a:pt x="425" y="131"/>
                  </a:cubicBezTo>
                  <a:cubicBezTo>
                    <a:pt x="427" y="132"/>
                    <a:pt x="427" y="132"/>
                    <a:pt x="427" y="132"/>
                  </a:cubicBezTo>
                  <a:cubicBezTo>
                    <a:pt x="428" y="133"/>
                    <a:pt x="429" y="132"/>
                    <a:pt x="430" y="132"/>
                  </a:cubicBezTo>
                  <a:cubicBezTo>
                    <a:pt x="432" y="132"/>
                    <a:pt x="433" y="131"/>
                    <a:pt x="434" y="131"/>
                  </a:cubicBezTo>
                  <a:cubicBezTo>
                    <a:pt x="435" y="131"/>
                    <a:pt x="437" y="131"/>
                    <a:pt x="438" y="132"/>
                  </a:cubicBezTo>
                  <a:cubicBezTo>
                    <a:pt x="438" y="132"/>
                    <a:pt x="439" y="133"/>
                    <a:pt x="438" y="133"/>
                  </a:cubicBezTo>
                  <a:cubicBezTo>
                    <a:pt x="437" y="134"/>
                    <a:pt x="432" y="134"/>
                    <a:pt x="431" y="134"/>
                  </a:cubicBezTo>
                  <a:cubicBezTo>
                    <a:pt x="430" y="134"/>
                    <a:pt x="429" y="133"/>
                    <a:pt x="429" y="134"/>
                  </a:cubicBezTo>
                  <a:cubicBezTo>
                    <a:pt x="428" y="134"/>
                    <a:pt x="427" y="134"/>
                    <a:pt x="427" y="134"/>
                  </a:cubicBezTo>
                  <a:cubicBezTo>
                    <a:pt x="426" y="134"/>
                    <a:pt x="425" y="134"/>
                    <a:pt x="425" y="134"/>
                  </a:cubicBezTo>
                  <a:cubicBezTo>
                    <a:pt x="424" y="135"/>
                    <a:pt x="423" y="135"/>
                    <a:pt x="422" y="135"/>
                  </a:cubicBezTo>
                  <a:cubicBezTo>
                    <a:pt x="422" y="136"/>
                    <a:pt x="422" y="137"/>
                    <a:pt x="422" y="137"/>
                  </a:cubicBezTo>
                  <a:cubicBezTo>
                    <a:pt x="421" y="138"/>
                    <a:pt x="422" y="139"/>
                    <a:pt x="422" y="139"/>
                  </a:cubicBezTo>
                  <a:cubicBezTo>
                    <a:pt x="423" y="139"/>
                    <a:pt x="424" y="139"/>
                    <a:pt x="425" y="139"/>
                  </a:cubicBezTo>
                  <a:cubicBezTo>
                    <a:pt x="426" y="139"/>
                    <a:pt x="428" y="139"/>
                    <a:pt x="427" y="139"/>
                  </a:cubicBezTo>
                  <a:cubicBezTo>
                    <a:pt x="427" y="140"/>
                    <a:pt x="428" y="140"/>
                    <a:pt x="428" y="140"/>
                  </a:cubicBezTo>
                  <a:cubicBezTo>
                    <a:pt x="428" y="141"/>
                    <a:pt x="427" y="142"/>
                    <a:pt x="427" y="142"/>
                  </a:cubicBezTo>
                  <a:cubicBezTo>
                    <a:pt x="427" y="143"/>
                    <a:pt x="426" y="141"/>
                    <a:pt x="425" y="141"/>
                  </a:cubicBezTo>
                  <a:cubicBezTo>
                    <a:pt x="424" y="140"/>
                    <a:pt x="423" y="139"/>
                    <a:pt x="423" y="140"/>
                  </a:cubicBezTo>
                  <a:cubicBezTo>
                    <a:pt x="423" y="140"/>
                    <a:pt x="422" y="141"/>
                    <a:pt x="422" y="141"/>
                  </a:cubicBezTo>
                  <a:cubicBezTo>
                    <a:pt x="422" y="141"/>
                    <a:pt x="421" y="141"/>
                    <a:pt x="420" y="142"/>
                  </a:cubicBezTo>
                  <a:cubicBezTo>
                    <a:pt x="420" y="142"/>
                    <a:pt x="419" y="142"/>
                    <a:pt x="420" y="142"/>
                  </a:cubicBezTo>
                  <a:cubicBezTo>
                    <a:pt x="420" y="143"/>
                    <a:pt x="420" y="143"/>
                    <a:pt x="420" y="143"/>
                  </a:cubicBezTo>
                  <a:cubicBezTo>
                    <a:pt x="420" y="144"/>
                    <a:pt x="420" y="144"/>
                    <a:pt x="420" y="144"/>
                  </a:cubicBezTo>
                  <a:cubicBezTo>
                    <a:pt x="420" y="145"/>
                    <a:pt x="420" y="145"/>
                    <a:pt x="420" y="145"/>
                  </a:cubicBezTo>
                  <a:cubicBezTo>
                    <a:pt x="420" y="145"/>
                    <a:pt x="420" y="146"/>
                    <a:pt x="420" y="147"/>
                  </a:cubicBezTo>
                  <a:cubicBezTo>
                    <a:pt x="420" y="147"/>
                    <a:pt x="420" y="148"/>
                    <a:pt x="420" y="149"/>
                  </a:cubicBezTo>
                  <a:cubicBezTo>
                    <a:pt x="420" y="150"/>
                    <a:pt x="418" y="149"/>
                    <a:pt x="418" y="149"/>
                  </a:cubicBezTo>
                  <a:cubicBezTo>
                    <a:pt x="417" y="149"/>
                    <a:pt x="417" y="151"/>
                    <a:pt x="416" y="151"/>
                  </a:cubicBezTo>
                  <a:cubicBezTo>
                    <a:pt x="415" y="151"/>
                    <a:pt x="415" y="150"/>
                    <a:pt x="415" y="150"/>
                  </a:cubicBezTo>
                  <a:cubicBezTo>
                    <a:pt x="414" y="150"/>
                    <a:pt x="414" y="149"/>
                    <a:pt x="413" y="149"/>
                  </a:cubicBezTo>
                  <a:cubicBezTo>
                    <a:pt x="413" y="149"/>
                    <a:pt x="412" y="150"/>
                    <a:pt x="411" y="150"/>
                  </a:cubicBezTo>
                  <a:cubicBezTo>
                    <a:pt x="411" y="150"/>
                    <a:pt x="411" y="152"/>
                    <a:pt x="409" y="151"/>
                  </a:cubicBezTo>
                  <a:cubicBezTo>
                    <a:pt x="408" y="151"/>
                    <a:pt x="408" y="153"/>
                    <a:pt x="407" y="152"/>
                  </a:cubicBezTo>
                  <a:cubicBezTo>
                    <a:pt x="406" y="152"/>
                    <a:pt x="406" y="152"/>
                    <a:pt x="406" y="151"/>
                  </a:cubicBezTo>
                  <a:cubicBezTo>
                    <a:pt x="405" y="151"/>
                    <a:pt x="405" y="150"/>
                    <a:pt x="404" y="150"/>
                  </a:cubicBezTo>
                  <a:cubicBezTo>
                    <a:pt x="404" y="150"/>
                    <a:pt x="403" y="150"/>
                    <a:pt x="403" y="149"/>
                  </a:cubicBezTo>
                  <a:cubicBezTo>
                    <a:pt x="402" y="149"/>
                    <a:pt x="402" y="148"/>
                    <a:pt x="402" y="148"/>
                  </a:cubicBezTo>
                  <a:cubicBezTo>
                    <a:pt x="401" y="148"/>
                    <a:pt x="400" y="147"/>
                    <a:pt x="400" y="147"/>
                  </a:cubicBezTo>
                  <a:cubicBezTo>
                    <a:pt x="399" y="147"/>
                    <a:pt x="399" y="146"/>
                    <a:pt x="398" y="146"/>
                  </a:cubicBezTo>
                  <a:cubicBezTo>
                    <a:pt x="398" y="146"/>
                    <a:pt x="397" y="146"/>
                    <a:pt x="397" y="146"/>
                  </a:cubicBezTo>
                  <a:cubicBezTo>
                    <a:pt x="396" y="147"/>
                    <a:pt x="395" y="146"/>
                    <a:pt x="395" y="146"/>
                  </a:cubicBezTo>
                  <a:cubicBezTo>
                    <a:pt x="394" y="145"/>
                    <a:pt x="392" y="146"/>
                    <a:pt x="392" y="146"/>
                  </a:cubicBezTo>
                  <a:cubicBezTo>
                    <a:pt x="392" y="146"/>
                    <a:pt x="393" y="148"/>
                    <a:pt x="393" y="148"/>
                  </a:cubicBezTo>
                  <a:cubicBezTo>
                    <a:pt x="393" y="148"/>
                    <a:pt x="393" y="148"/>
                    <a:pt x="392" y="149"/>
                  </a:cubicBezTo>
                  <a:cubicBezTo>
                    <a:pt x="392" y="149"/>
                    <a:pt x="392" y="149"/>
                    <a:pt x="392" y="149"/>
                  </a:cubicBezTo>
                  <a:cubicBezTo>
                    <a:pt x="392" y="150"/>
                    <a:pt x="392" y="150"/>
                    <a:pt x="392" y="150"/>
                  </a:cubicBezTo>
                  <a:cubicBezTo>
                    <a:pt x="392" y="150"/>
                    <a:pt x="392" y="150"/>
                    <a:pt x="392" y="150"/>
                  </a:cubicBezTo>
                  <a:cubicBezTo>
                    <a:pt x="392" y="150"/>
                    <a:pt x="393" y="151"/>
                    <a:pt x="392" y="152"/>
                  </a:cubicBezTo>
                  <a:cubicBezTo>
                    <a:pt x="391" y="152"/>
                    <a:pt x="390" y="152"/>
                    <a:pt x="390" y="152"/>
                  </a:cubicBezTo>
                  <a:cubicBezTo>
                    <a:pt x="388" y="151"/>
                    <a:pt x="388" y="151"/>
                    <a:pt x="388" y="151"/>
                  </a:cubicBezTo>
                  <a:cubicBezTo>
                    <a:pt x="388" y="151"/>
                    <a:pt x="387" y="151"/>
                    <a:pt x="386" y="151"/>
                  </a:cubicBezTo>
                  <a:cubicBezTo>
                    <a:pt x="386" y="151"/>
                    <a:pt x="386" y="152"/>
                    <a:pt x="385" y="152"/>
                  </a:cubicBezTo>
                  <a:cubicBezTo>
                    <a:pt x="385" y="152"/>
                    <a:pt x="384" y="152"/>
                    <a:pt x="384" y="153"/>
                  </a:cubicBezTo>
                  <a:cubicBezTo>
                    <a:pt x="384" y="153"/>
                    <a:pt x="384" y="155"/>
                    <a:pt x="384" y="157"/>
                  </a:cubicBezTo>
                  <a:cubicBezTo>
                    <a:pt x="384" y="157"/>
                    <a:pt x="383" y="158"/>
                    <a:pt x="383" y="158"/>
                  </a:cubicBezTo>
                  <a:cubicBezTo>
                    <a:pt x="382" y="160"/>
                    <a:pt x="382" y="162"/>
                    <a:pt x="381" y="161"/>
                  </a:cubicBezTo>
                  <a:cubicBezTo>
                    <a:pt x="379" y="161"/>
                    <a:pt x="379" y="161"/>
                    <a:pt x="379" y="161"/>
                  </a:cubicBezTo>
                  <a:cubicBezTo>
                    <a:pt x="379" y="162"/>
                    <a:pt x="378" y="162"/>
                    <a:pt x="378" y="163"/>
                  </a:cubicBezTo>
                  <a:cubicBezTo>
                    <a:pt x="378" y="163"/>
                    <a:pt x="379" y="164"/>
                    <a:pt x="379" y="164"/>
                  </a:cubicBezTo>
                  <a:cubicBezTo>
                    <a:pt x="379" y="164"/>
                    <a:pt x="378" y="164"/>
                    <a:pt x="378" y="165"/>
                  </a:cubicBezTo>
                  <a:cubicBezTo>
                    <a:pt x="378" y="165"/>
                    <a:pt x="377" y="165"/>
                    <a:pt x="377" y="165"/>
                  </a:cubicBezTo>
                  <a:cubicBezTo>
                    <a:pt x="375" y="166"/>
                    <a:pt x="375" y="166"/>
                    <a:pt x="375" y="166"/>
                  </a:cubicBezTo>
                  <a:cubicBezTo>
                    <a:pt x="375" y="168"/>
                    <a:pt x="373" y="167"/>
                    <a:pt x="373" y="167"/>
                  </a:cubicBezTo>
                  <a:cubicBezTo>
                    <a:pt x="372" y="165"/>
                    <a:pt x="372" y="165"/>
                    <a:pt x="372" y="165"/>
                  </a:cubicBezTo>
                  <a:cubicBezTo>
                    <a:pt x="371" y="165"/>
                    <a:pt x="370" y="165"/>
                    <a:pt x="370" y="166"/>
                  </a:cubicBezTo>
                  <a:cubicBezTo>
                    <a:pt x="370" y="167"/>
                    <a:pt x="371" y="168"/>
                    <a:pt x="369" y="168"/>
                  </a:cubicBezTo>
                  <a:cubicBezTo>
                    <a:pt x="369" y="168"/>
                    <a:pt x="368" y="167"/>
                    <a:pt x="367" y="168"/>
                  </a:cubicBezTo>
                  <a:cubicBezTo>
                    <a:pt x="367" y="168"/>
                    <a:pt x="367" y="168"/>
                    <a:pt x="367" y="168"/>
                  </a:cubicBezTo>
                  <a:cubicBezTo>
                    <a:pt x="366" y="169"/>
                    <a:pt x="366" y="167"/>
                    <a:pt x="365" y="168"/>
                  </a:cubicBezTo>
                  <a:cubicBezTo>
                    <a:pt x="364" y="168"/>
                    <a:pt x="364" y="169"/>
                    <a:pt x="364" y="170"/>
                  </a:cubicBezTo>
                  <a:cubicBezTo>
                    <a:pt x="364" y="170"/>
                    <a:pt x="365" y="171"/>
                    <a:pt x="366" y="172"/>
                  </a:cubicBezTo>
                  <a:cubicBezTo>
                    <a:pt x="366" y="173"/>
                    <a:pt x="367" y="171"/>
                    <a:pt x="368" y="172"/>
                  </a:cubicBezTo>
                  <a:cubicBezTo>
                    <a:pt x="368" y="173"/>
                    <a:pt x="370" y="172"/>
                    <a:pt x="370" y="173"/>
                  </a:cubicBezTo>
                  <a:cubicBezTo>
                    <a:pt x="370" y="173"/>
                    <a:pt x="371" y="174"/>
                    <a:pt x="371" y="175"/>
                  </a:cubicBezTo>
                  <a:cubicBezTo>
                    <a:pt x="371" y="176"/>
                    <a:pt x="371" y="176"/>
                    <a:pt x="372" y="177"/>
                  </a:cubicBezTo>
                  <a:cubicBezTo>
                    <a:pt x="372" y="178"/>
                    <a:pt x="372" y="178"/>
                    <a:pt x="372" y="179"/>
                  </a:cubicBezTo>
                  <a:cubicBezTo>
                    <a:pt x="372" y="180"/>
                    <a:pt x="372" y="180"/>
                    <a:pt x="372" y="181"/>
                  </a:cubicBezTo>
                  <a:cubicBezTo>
                    <a:pt x="372" y="182"/>
                    <a:pt x="371" y="182"/>
                    <a:pt x="371" y="182"/>
                  </a:cubicBezTo>
                  <a:cubicBezTo>
                    <a:pt x="371" y="183"/>
                    <a:pt x="371" y="183"/>
                    <a:pt x="370" y="183"/>
                  </a:cubicBezTo>
                  <a:cubicBezTo>
                    <a:pt x="370" y="184"/>
                    <a:pt x="370" y="184"/>
                    <a:pt x="369" y="184"/>
                  </a:cubicBezTo>
                  <a:cubicBezTo>
                    <a:pt x="368" y="183"/>
                    <a:pt x="369" y="183"/>
                    <a:pt x="369" y="183"/>
                  </a:cubicBezTo>
                  <a:cubicBezTo>
                    <a:pt x="369" y="182"/>
                    <a:pt x="368" y="183"/>
                    <a:pt x="367" y="182"/>
                  </a:cubicBezTo>
                  <a:cubicBezTo>
                    <a:pt x="366" y="182"/>
                    <a:pt x="366" y="181"/>
                    <a:pt x="365" y="182"/>
                  </a:cubicBezTo>
                  <a:cubicBezTo>
                    <a:pt x="363" y="183"/>
                    <a:pt x="362" y="181"/>
                    <a:pt x="361" y="181"/>
                  </a:cubicBezTo>
                  <a:cubicBezTo>
                    <a:pt x="359" y="182"/>
                    <a:pt x="358" y="182"/>
                    <a:pt x="358" y="182"/>
                  </a:cubicBezTo>
                  <a:cubicBezTo>
                    <a:pt x="358" y="182"/>
                    <a:pt x="356" y="183"/>
                    <a:pt x="356" y="183"/>
                  </a:cubicBezTo>
                  <a:cubicBezTo>
                    <a:pt x="354" y="184"/>
                    <a:pt x="356" y="186"/>
                    <a:pt x="356" y="186"/>
                  </a:cubicBezTo>
                  <a:cubicBezTo>
                    <a:pt x="356" y="186"/>
                    <a:pt x="356" y="187"/>
                    <a:pt x="356" y="188"/>
                  </a:cubicBezTo>
                  <a:cubicBezTo>
                    <a:pt x="356" y="189"/>
                    <a:pt x="355" y="190"/>
                    <a:pt x="355" y="190"/>
                  </a:cubicBezTo>
                  <a:cubicBezTo>
                    <a:pt x="355" y="191"/>
                    <a:pt x="355" y="192"/>
                    <a:pt x="355" y="192"/>
                  </a:cubicBezTo>
                  <a:cubicBezTo>
                    <a:pt x="355" y="193"/>
                    <a:pt x="355" y="193"/>
                    <a:pt x="355" y="193"/>
                  </a:cubicBezTo>
                  <a:cubicBezTo>
                    <a:pt x="354" y="194"/>
                    <a:pt x="356" y="194"/>
                    <a:pt x="355" y="195"/>
                  </a:cubicBezTo>
                  <a:cubicBezTo>
                    <a:pt x="355" y="195"/>
                    <a:pt x="356" y="196"/>
                    <a:pt x="355" y="196"/>
                  </a:cubicBezTo>
                  <a:cubicBezTo>
                    <a:pt x="355" y="197"/>
                    <a:pt x="355" y="197"/>
                    <a:pt x="355" y="197"/>
                  </a:cubicBezTo>
                  <a:cubicBezTo>
                    <a:pt x="355" y="197"/>
                    <a:pt x="356" y="199"/>
                    <a:pt x="357" y="199"/>
                  </a:cubicBezTo>
                  <a:cubicBezTo>
                    <a:pt x="358" y="199"/>
                    <a:pt x="359" y="198"/>
                    <a:pt x="360" y="198"/>
                  </a:cubicBezTo>
                  <a:cubicBezTo>
                    <a:pt x="361" y="198"/>
                    <a:pt x="362" y="201"/>
                    <a:pt x="363" y="201"/>
                  </a:cubicBezTo>
                  <a:cubicBezTo>
                    <a:pt x="365" y="201"/>
                    <a:pt x="366" y="200"/>
                    <a:pt x="368" y="200"/>
                  </a:cubicBezTo>
                  <a:cubicBezTo>
                    <a:pt x="370" y="200"/>
                    <a:pt x="370" y="200"/>
                    <a:pt x="371" y="200"/>
                  </a:cubicBezTo>
                  <a:cubicBezTo>
                    <a:pt x="371" y="200"/>
                    <a:pt x="371" y="199"/>
                    <a:pt x="372" y="198"/>
                  </a:cubicBezTo>
                  <a:cubicBezTo>
                    <a:pt x="372" y="198"/>
                    <a:pt x="374" y="198"/>
                    <a:pt x="374" y="197"/>
                  </a:cubicBezTo>
                  <a:cubicBezTo>
                    <a:pt x="375" y="196"/>
                    <a:pt x="375" y="196"/>
                    <a:pt x="375" y="196"/>
                  </a:cubicBezTo>
                  <a:cubicBezTo>
                    <a:pt x="375" y="196"/>
                    <a:pt x="374" y="194"/>
                    <a:pt x="375" y="193"/>
                  </a:cubicBezTo>
                  <a:cubicBezTo>
                    <a:pt x="375" y="192"/>
                    <a:pt x="374" y="193"/>
                    <a:pt x="375" y="191"/>
                  </a:cubicBezTo>
                  <a:cubicBezTo>
                    <a:pt x="376" y="189"/>
                    <a:pt x="376" y="191"/>
                    <a:pt x="377" y="191"/>
                  </a:cubicBezTo>
                  <a:cubicBezTo>
                    <a:pt x="378" y="191"/>
                    <a:pt x="378" y="191"/>
                    <a:pt x="378" y="190"/>
                  </a:cubicBezTo>
                  <a:cubicBezTo>
                    <a:pt x="379" y="189"/>
                    <a:pt x="379" y="189"/>
                    <a:pt x="379" y="189"/>
                  </a:cubicBezTo>
                  <a:cubicBezTo>
                    <a:pt x="380" y="189"/>
                    <a:pt x="380" y="188"/>
                    <a:pt x="380" y="188"/>
                  </a:cubicBezTo>
                  <a:cubicBezTo>
                    <a:pt x="381" y="188"/>
                    <a:pt x="381" y="188"/>
                    <a:pt x="382" y="188"/>
                  </a:cubicBezTo>
                  <a:cubicBezTo>
                    <a:pt x="382" y="187"/>
                    <a:pt x="382" y="187"/>
                    <a:pt x="382" y="187"/>
                  </a:cubicBezTo>
                  <a:cubicBezTo>
                    <a:pt x="383" y="186"/>
                    <a:pt x="383" y="186"/>
                    <a:pt x="383" y="186"/>
                  </a:cubicBezTo>
                  <a:cubicBezTo>
                    <a:pt x="383" y="186"/>
                    <a:pt x="383" y="185"/>
                    <a:pt x="383" y="185"/>
                  </a:cubicBezTo>
                  <a:cubicBezTo>
                    <a:pt x="383" y="185"/>
                    <a:pt x="382" y="183"/>
                    <a:pt x="383" y="183"/>
                  </a:cubicBezTo>
                  <a:cubicBezTo>
                    <a:pt x="384" y="183"/>
                    <a:pt x="384" y="184"/>
                    <a:pt x="385" y="184"/>
                  </a:cubicBezTo>
                  <a:cubicBezTo>
                    <a:pt x="387" y="183"/>
                    <a:pt x="387" y="185"/>
                    <a:pt x="388" y="185"/>
                  </a:cubicBezTo>
                  <a:cubicBezTo>
                    <a:pt x="389" y="185"/>
                    <a:pt x="389" y="184"/>
                    <a:pt x="390" y="184"/>
                  </a:cubicBezTo>
                  <a:cubicBezTo>
                    <a:pt x="391" y="184"/>
                    <a:pt x="390" y="183"/>
                    <a:pt x="391" y="183"/>
                  </a:cubicBezTo>
                  <a:cubicBezTo>
                    <a:pt x="393" y="183"/>
                    <a:pt x="391" y="181"/>
                    <a:pt x="392" y="181"/>
                  </a:cubicBezTo>
                  <a:cubicBezTo>
                    <a:pt x="394" y="181"/>
                    <a:pt x="392" y="180"/>
                    <a:pt x="393" y="180"/>
                  </a:cubicBezTo>
                  <a:cubicBezTo>
                    <a:pt x="395" y="180"/>
                    <a:pt x="394" y="181"/>
                    <a:pt x="395" y="181"/>
                  </a:cubicBezTo>
                  <a:cubicBezTo>
                    <a:pt x="396" y="181"/>
                    <a:pt x="396" y="182"/>
                    <a:pt x="397" y="182"/>
                  </a:cubicBezTo>
                  <a:cubicBezTo>
                    <a:pt x="397" y="182"/>
                    <a:pt x="397" y="184"/>
                    <a:pt x="397" y="184"/>
                  </a:cubicBezTo>
                  <a:cubicBezTo>
                    <a:pt x="397" y="184"/>
                    <a:pt x="398" y="184"/>
                    <a:pt x="398" y="185"/>
                  </a:cubicBezTo>
                  <a:cubicBezTo>
                    <a:pt x="398" y="185"/>
                    <a:pt x="398" y="186"/>
                    <a:pt x="399" y="186"/>
                  </a:cubicBezTo>
                  <a:cubicBezTo>
                    <a:pt x="399" y="186"/>
                    <a:pt x="400" y="186"/>
                    <a:pt x="400" y="186"/>
                  </a:cubicBezTo>
                  <a:cubicBezTo>
                    <a:pt x="401" y="186"/>
                    <a:pt x="400" y="187"/>
                    <a:pt x="400" y="187"/>
                  </a:cubicBezTo>
                  <a:cubicBezTo>
                    <a:pt x="401" y="187"/>
                    <a:pt x="401" y="187"/>
                    <a:pt x="401" y="187"/>
                  </a:cubicBezTo>
                  <a:cubicBezTo>
                    <a:pt x="402" y="188"/>
                    <a:pt x="402" y="188"/>
                    <a:pt x="402" y="188"/>
                  </a:cubicBezTo>
                  <a:cubicBezTo>
                    <a:pt x="403" y="189"/>
                    <a:pt x="403" y="189"/>
                    <a:pt x="403" y="189"/>
                  </a:cubicBezTo>
                  <a:cubicBezTo>
                    <a:pt x="404" y="189"/>
                    <a:pt x="404" y="189"/>
                    <a:pt x="404" y="189"/>
                  </a:cubicBezTo>
                  <a:cubicBezTo>
                    <a:pt x="405" y="190"/>
                    <a:pt x="405" y="190"/>
                    <a:pt x="405" y="190"/>
                  </a:cubicBezTo>
                  <a:cubicBezTo>
                    <a:pt x="405" y="190"/>
                    <a:pt x="405" y="190"/>
                    <a:pt x="405" y="190"/>
                  </a:cubicBezTo>
                  <a:cubicBezTo>
                    <a:pt x="405" y="190"/>
                    <a:pt x="406" y="190"/>
                    <a:pt x="407" y="191"/>
                  </a:cubicBezTo>
                  <a:cubicBezTo>
                    <a:pt x="407" y="191"/>
                    <a:pt x="408" y="191"/>
                    <a:pt x="408" y="191"/>
                  </a:cubicBezTo>
                  <a:cubicBezTo>
                    <a:pt x="410" y="192"/>
                    <a:pt x="409" y="193"/>
                    <a:pt x="410" y="193"/>
                  </a:cubicBezTo>
                  <a:cubicBezTo>
                    <a:pt x="410" y="194"/>
                    <a:pt x="410" y="194"/>
                    <a:pt x="409" y="195"/>
                  </a:cubicBezTo>
                  <a:cubicBezTo>
                    <a:pt x="408" y="195"/>
                    <a:pt x="408" y="195"/>
                    <a:pt x="408" y="195"/>
                  </a:cubicBezTo>
                  <a:cubicBezTo>
                    <a:pt x="407" y="195"/>
                    <a:pt x="407" y="196"/>
                    <a:pt x="406" y="196"/>
                  </a:cubicBezTo>
                  <a:cubicBezTo>
                    <a:pt x="405" y="195"/>
                    <a:pt x="404" y="195"/>
                    <a:pt x="403" y="195"/>
                  </a:cubicBezTo>
                  <a:cubicBezTo>
                    <a:pt x="403" y="195"/>
                    <a:pt x="402" y="196"/>
                    <a:pt x="402" y="196"/>
                  </a:cubicBezTo>
                  <a:cubicBezTo>
                    <a:pt x="401" y="196"/>
                    <a:pt x="401" y="196"/>
                    <a:pt x="401" y="196"/>
                  </a:cubicBezTo>
                  <a:cubicBezTo>
                    <a:pt x="401" y="196"/>
                    <a:pt x="401" y="196"/>
                    <a:pt x="401" y="197"/>
                  </a:cubicBezTo>
                  <a:cubicBezTo>
                    <a:pt x="401" y="197"/>
                    <a:pt x="402" y="197"/>
                    <a:pt x="402" y="197"/>
                  </a:cubicBezTo>
                  <a:cubicBezTo>
                    <a:pt x="403" y="197"/>
                    <a:pt x="403" y="199"/>
                    <a:pt x="404" y="198"/>
                  </a:cubicBezTo>
                  <a:cubicBezTo>
                    <a:pt x="405" y="198"/>
                    <a:pt x="405" y="199"/>
                    <a:pt x="405" y="199"/>
                  </a:cubicBezTo>
                  <a:cubicBezTo>
                    <a:pt x="406" y="199"/>
                    <a:pt x="406" y="199"/>
                    <a:pt x="407" y="200"/>
                  </a:cubicBezTo>
                  <a:cubicBezTo>
                    <a:pt x="408" y="200"/>
                    <a:pt x="408" y="199"/>
                    <a:pt x="408" y="199"/>
                  </a:cubicBezTo>
                  <a:cubicBezTo>
                    <a:pt x="408" y="198"/>
                    <a:pt x="408" y="198"/>
                    <a:pt x="408" y="198"/>
                  </a:cubicBezTo>
                  <a:cubicBezTo>
                    <a:pt x="408" y="198"/>
                    <a:pt x="408" y="197"/>
                    <a:pt x="409" y="197"/>
                  </a:cubicBezTo>
                  <a:cubicBezTo>
                    <a:pt x="410" y="197"/>
                    <a:pt x="410" y="197"/>
                    <a:pt x="411" y="196"/>
                  </a:cubicBezTo>
                  <a:cubicBezTo>
                    <a:pt x="412" y="196"/>
                    <a:pt x="412" y="196"/>
                    <a:pt x="412" y="196"/>
                  </a:cubicBezTo>
                  <a:cubicBezTo>
                    <a:pt x="412" y="196"/>
                    <a:pt x="412" y="195"/>
                    <a:pt x="412" y="194"/>
                  </a:cubicBezTo>
                  <a:cubicBezTo>
                    <a:pt x="412" y="192"/>
                    <a:pt x="412" y="192"/>
                    <a:pt x="412" y="192"/>
                  </a:cubicBezTo>
                  <a:cubicBezTo>
                    <a:pt x="412" y="191"/>
                    <a:pt x="412" y="191"/>
                    <a:pt x="412" y="191"/>
                  </a:cubicBezTo>
                  <a:cubicBezTo>
                    <a:pt x="412" y="191"/>
                    <a:pt x="412" y="191"/>
                    <a:pt x="412" y="191"/>
                  </a:cubicBezTo>
                  <a:cubicBezTo>
                    <a:pt x="412" y="191"/>
                    <a:pt x="412" y="191"/>
                    <a:pt x="412" y="191"/>
                  </a:cubicBezTo>
                  <a:cubicBezTo>
                    <a:pt x="412" y="191"/>
                    <a:pt x="413" y="191"/>
                    <a:pt x="413" y="191"/>
                  </a:cubicBezTo>
                  <a:cubicBezTo>
                    <a:pt x="414" y="192"/>
                    <a:pt x="414" y="192"/>
                    <a:pt x="414" y="192"/>
                  </a:cubicBezTo>
                  <a:cubicBezTo>
                    <a:pt x="415" y="192"/>
                    <a:pt x="415" y="193"/>
                    <a:pt x="415" y="193"/>
                  </a:cubicBezTo>
                  <a:cubicBezTo>
                    <a:pt x="416" y="192"/>
                    <a:pt x="416" y="192"/>
                    <a:pt x="416" y="192"/>
                  </a:cubicBezTo>
                  <a:cubicBezTo>
                    <a:pt x="416" y="192"/>
                    <a:pt x="416" y="192"/>
                    <a:pt x="416" y="192"/>
                  </a:cubicBezTo>
                  <a:cubicBezTo>
                    <a:pt x="416" y="192"/>
                    <a:pt x="416" y="192"/>
                    <a:pt x="416" y="192"/>
                  </a:cubicBezTo>
                  <a:cubicBezTo>
                    <a:pt x="416" y="191"/>
                    <a:pt x="416" y="191"/>
                    <a:pt x="416" y="191"/>
                  </a:cubicBezTo>
                  <a:cubicBezTo>
                    <a:pt x="416" y="190"/>
                    <a:pt x="416" y="190"/>
                    <a:pt x="416" y="190"/>
                  </a:cubicBezTo>
                  <a:cubicBezTo>
                    <a:pt x="416" y="190"/>
                    <a:pt x="416" y="190"/>
                    <a:pt x="416" y="190"/>
                  </a:cubicBezTo>
                  <a:cubicBezTo>
                    <a:pt x="416" y="189"/>
                    <a:pt x="416" y="189"/>
                    <a:pt x="416" y="189"/>
                  </a:cubicBezTo>
                  <a:cubicBezTo>
                    <a:pt x="415" y="189"/>
                    <a:pt x="415" y="189"/>
                    <a:pt x="415" y="189"/>
                  </a:cubicBezTo>
                  <a:cubicBezTo>
                    <a:pt x="414" y="189"/>
                    <a:pt x="414" y="189"/>
                    <a:pt x="414" y="189"/>
                  </a:cubicBezTo>
                  <a:cubicBezTo>
                    <a:pt x="414" y="189"/>
                    <a:pt x="414" y="189"/>
                    <a:pt x="413" y="189"/>
                  </a:cubicBezTo>
                  <a:cubicBezTo>
                    <a:pt x="413" y="189"/>
                    <a:pt x="413" y="188"/>
                    <a:pt x="412" y="188"/>
                  </a:cubicBezTo>
                  <a:cubicBezTo>
                    <a:pt x="411" y="187"/>
                    <a:pt x="411" y="187"/>
                    <a:pt x="411" y="187"/>
                  </a:cubicBezTo>
                  <a:cubicBezTo>
                    <a:pt x="409" y="187"/>
                    <a:pt x="409" y="187"/>
                    <a:pt x="409" y="187"/>
                  </a:cubicBezTo>
                  <a:cubicBezTo>
                    <a:pt x="408" y="187"/>
                    <a:pt x="408" y="186"/>
                    <a:pt x="408" y="186"/>
                  </a:cubicBezTo>
                  <a:cubicBezTo>
                    <a:pt x="407" y="186"/>
                    <a:pt x="407" y="186"/>
                    <a:pt x="407" y="186"/>
                  </a:cubicBezTo>
                  <a:cubicBezTo>
                    <a:pt x="407" y="185"/>
                    <a:pt x="406" y="185"/>
                    <a:pt x="407" y="184"/>
                  </a:cubicBezTo>
                  <a:cubicBezTo>
                    <a:pt x="407" y="184"/>
                    <a:pt x="404" y="183"/>
                    <a:pt x="405" y="183"/>
                  </a:cubicBezTo>
                  <a:cubicBezTo>
                    <a:pt x="406" y="183"/>
                    <a:pt x="405" y="182"/>
                    <a:pt x="404" y="182"/>
                  </a:cubicBezTo>
                  <a:cubicBezTo>
                    <a:pt x="404" y="182"/>
                    <a:pt x="403" y="182"/>
                    <a:pt x="403" y="181"/>
                  </a:cubicBezTo>
                  <a:cubicBezTo>
                    <a:pt x="402" y="181"/>
                    <a:pt x="403" y="180"/>
                    <a:pt x="403" y="180"/>
                  </a:cubicBezTo>
                  <a:cubicBezTo>
                    <a:pt x="403" y="179"/>
                    <a:pt x="403" y="179"/>
                    <a:pt x="404" y="179"/>
                  </a:cubicBezTo>
                  <a:cubicBezTo>
                    <a:pt x="405" y="179"/>
                    <a:pt x="405" y="180"/>
                    <a:pt x="406" y="180"/>
                  </a:cubicBezTo>
                  <a:cubicBezTo>
                    <a:pt x="407" y="180"/>
                    <a:pt x="406" y="181"/>
                    <a:pt x="407" y="181"/>
                  </a:cubicBezTo>
                  <a:cubicBezTo>
                    <a:pt x="407" y="181"/>
                    <a:pt x="406" y="181"/>
                    <a:pt x="407" y="182"/>
                  </a:cubicBezTo>
                  <a:cubicBezTo>
                    <a:pt x="408" y="183"/>
                    <a:pt x="409" y="182"/>
                    <a:pt x="409" y="183"/>
                  </a:cubicBezTo>
                  <a:cubicBezTo>
                    <a:pt x="410" y="184"/>
                    <a:pt x="410" y="183"/>
                    <a:pt x="411" y="184"/>
                  </a:cubicBezTo>
                  <a:cubicBezTo>
                    <a:pt x="413" y="186"/>
                    <a:pt x="413" y="186"/>
                    <a:pt x="413" y="186"/>
                  </a:cubicBezTo>
                  <a:cubicBezTo>
                    <a:pt x="413" y="186"/>
                    <a:pt x="414" y="186"/>
                    <a:pt x="415" y="186"/>
                  </a:cubicBezTo>
                  <a:cubicBezTo>
                    <a:pt x="416" y="187"/>
                    <a:pt x="415" y="186"/>
                    <a:pt x="416" y="187"/>
                  </a:cubicBezTo>
                  <a:cubicBezTo>
                    <a:pt x="417" y="188"/>
                    <a:pt x="416" y="188"/>
                    <a:pt x="416" y="188"/>
                  </a:cubicBezTo>
                  <a:cubicBezTo>
                    <a:pt x="417" y="189"/>
                    <a:pt x="416" y="189"/>
                    <a:pt x="417" y="190"/>
                  </a:cubicBezTo>
                  <a:cubicBezTo>
                    <a:pt x="418" y="191"/>
                    <a:pt x="418" y="191"/>
                    <a:pt x="418" y="191"/>
                  </a:cubicBezTo>
                  <a:cubicBezTo>
                    <a:pt x="418" y="192"/>
                    <a:pt x="418" y="192"/>
                    <a:pt x="418" y="192"/>
                  </a:cubicBezTo>
                  <a:cubicBezTo>
                    <a:pt x="418" y="193"/>
                    <a:pt x="418" y="193"/>
                    <a:pt x="419" y="194"/>
                  </a:cubicBezTo>
                  <a:cubicBezTo>
                    <a:pt x="420" y="195"/>
                    <a:pt x="419" y="193"/>
                    <a:pt x="420" y="194"/>
                  </a:cubicBezTo>
                  <a:cubicBezTo>
                    <a:pt x="421" y="194"/>
                    <a:pt x="420" y="195"/>
                    <a:pt x="420" y="195"/>
                  </a:cubicBezTo>
                  <a:cubicBezTo>
                    <a:pt x="420" y="196"/>
                    <a:pt x="421" y="197"/>
                    <a:pt x="421" y="197"/>
                  </a:cubicBezTo>
                  <a:cubicBezTo>
                    <a:pt x="422" y="198"/>
                    <a:pt x="421" y="198"/>
                    <a:pt x="422" y="198"/>
                  </a:cubicBezTo>
                  <a:cubicBezTo>
                    <a:pt x="423" y="200"/>
                    <a:pt x="423" y="200"/>
                    <a:pt x="423" y="200"/>
                  </a:cubicBezTo>
                  <a:cubicBezTo>
                    <a:pt x="423" y="200"/>
                    <a:pt x="424" y="199"/>
                    <a:pt x="424" y="199"/>
                  </a:cubicBezTo>
                  <a:cubicBezTo>
                    <a:pt x="425" y="198"/>
                    <a:pt x="426" y="198"/>
                    <a:pt x="427" y="198"/>
                  </a:cubicBezTo>
                  <a:cubicBezTo>
                    <a:pt x="428" y="198"/>
                    <a:pt x="427" y="197"/>
                    <a:pt x="428" y="197"/>
                  </a:cubicBezTo>
                  <a:cubicBezTo>
                    <a:pt x="428" y="197"/>
                    <a:pt x="429" y="197"/>
                    <a:pt x="430" y="196"/>
                  </a:cubicBezTo>
                  <a:cubicBezTo>
                    <a:pt x="430" y="195"/>
                    <a:pt x="428" y="195"/>
                    <a:pt x="429" y="194"/>
                  </a:cubicBezTo>
                  <a:cubicBezTo>
                    <a:pt x="430" y="194"/>
                    <a:pt x="426" y="192"/>
                    <a:pt x="427" y="192"/>
                  </a:cubicBezTo>
                  <a:cubicBezTo>
                    <a:pt x="428" y="192"/>
                    <a:pt x="430" y="194"/>
                    <a:pt x="430" y="193"/>
                  </a:cubicBezTo>
                  <a:cubicBezTo>
                    <a:pt x="431" y="190"/>
                    <a:pt x="432" y="191"/>
                    <a:pt x="434" y="191"/>
                  </a:cubicBezTo>
                  <a:cubicBezTo>
                    <a:pt x="435" y="191"/>
                    <a:pt x="435" y="191"/>
                    <a:pt x="436" y="191"/>
                  </a:cubicBezTo>
                  <a:cubicBezTo>
                    <a:pt x="436" y="192"/>
                    <a:pt x="435" y="192"/>
                    <a:pt x="436" y="193"/>
                  </a:cubicBezTo>
                  <a:cubicBezTo>
                    <a:pt x="436" y="193"/>
                    <a:pt x="435" y="193"/>
                    <a:pt x="436" y="194"/>
                  </a:cubicBezTo>
                  <a:cubicBezTo>
                    <a:pt x="437" y="195"/>
                    <a:pt x="434" y="194"/>
                    <a:pt x="434" y="195"/>
                  </a:cubicBezTo>
                  <a:cubicBezTo>
                    <a:pt x="434" y="196"/>
                    <a:pt x="432" y="196"/>
                    <a:pt x="433" y="197"/>
                  </a:cubicBezTo>
                  <a:cubicBezTo>
                    <a:pt x="434" y="197"/>
                    <a:pt x="433" y="197"/>
                    <a:pt x="433" y="198"/>
                  </a:cubicBezTo>
                  <a:cubicBezTo>
                    <a:pt x="434" y="199"/>
                    <a:pt x="434" y="198"/>
                    <a:pt x="435" y="199"/>
                  </a:cubicBezTo>
                  <a:cubicBezTo>
                    <a:pt x="435" y="200"/>
                    <a:pt x="437" y="199"/>
                    <a:pt x="438" y="200"/>
                  </a:cubicBezTo>
                  <a:cubicBezTo>
                    <a:pt x="439" y="200"/>
                    <a:pt x="440" y="200"/>
                    <a:pt x="441" y="201"/>
                  </a:cubicBezTo>
                  <a:cubicBezTo>
                    <a:pt x="442" y="202"/>
                    <a:pt x="443" y="200"/>
                    <a:pt x="443" y="200"/>
                  </a:cubicBezTo>
                  <a:cubicBezTo>
                    <a:pt x="443" y="200"/>
                    <a:pt x="445" y="199"/>
                    <a:pt x="445" y="200"/>
                  </a:cubicBezTo>
                  <a:cubicBezTo>
                    <a:pt x="445" y="200"/>
                    <a:pt x="447" y="201"/>
                    <a:pt x="447" y="201"/>
                  </a:cubicBezTo>
                  <a:cubicBezTo>
                    <a:pt x="447" y="202"/>
                    <a:pt x="446" y="202"/>
                    <a:pt x="446" y="203"/>
                  </a:cubicBezTo>
                  <a:cubicBezTo>
                    <a:pt x="445" y="203"/>
                    <a:pt x="445" y="204"/>
                    <a:pt x="447" y="204"/>
                  </a:cubicBezTo>
                  <a:cubicBezTo>
                    <a:pt x="449" y="205"/>
                    <a:pt x="449" y="204"/>
                    <a:pt x="450" y="203"/>
                  </a:cubicBezTo>
                  <a:cubicBezTo>
                    <a:pt x="450" y="202"/>
                    <a:pt x="448" y="202"/>
                    <a:pt x="448" y="201"/>
                  </a:cubicBezTo>
                  <a:cubicBezTo>
                    <a:pt x="449" y="200"/>
                    <a:pt x="451" y="198"/>
                    <a:pt x="453" y="199"/>
                  </a:cubicBezTo>
                  <a:cubicBezTo>
                    <a:pt x="454" y="200"/>
                    <a:pt x="453" y="201"/>
                    <a:pt x="453" y="202"/>
                  </a:cubicBezTo>
                  <a:cubicBezTo>
                    <a:pt x="454" y="202"/>
                    <a:pt x="453" y="204"/>
                    <a:pt x="453" y="204"/>
                  </a:cubicBezTo>
                  <a:cubicBezTo>
                    <a:pt x="453" y="205"/>
                    <a:pt x="452" y="207"/>
                    <a:pt x="452" y="207"/>
                  </a:cubicBezTo>
                  <a:cubicBezTo>
                    <a:pt x="451" y="208"/>
                    <a:pt x="450" y="208"/>
                    <a:pt x="451" y="209"/>
                  </a:cubicBezTo>
                  <a:cubicBezTo>
                    <a:pt x="451" y="210"/>
                    <a:pt x="450" y="210"/>
                    <a:pt x="450" y="211"/>
                  </a:cubicBezTo>
                  <a:cubicBezTo>
                    <a:pt x="450" y="211"/>
                    <a:pt x="449" y="211"/>
                    <a:pt x="448" y="212"/>
                  </a:cubicBezTo>
                  <a:cubicBezTo>
                    <a:pt x="448" y="212"/>
                    <a:pt x="445" y="212"/>
                    <a:pt x="446" y="212"/>
                  </a:cubicBezTo>
                  <a:cubicBezTo>
                    <a:pt x="446" y="213"/>
                    <a:pt x="446" y="213"/>
                    <a:pt x="447" y="214"/>
                  </a:cubicBezTo>
                  <a:cubicBezTo>
                    <a:pt x="447" y="214"/>
                    <a:pt x="447" y="215"/>
                    <a:pt x="447" y="215"/>
                  </a:cubicBezTo>
                  <a:cubicBezTo>
                    <a:pt x="447" y="216"/>
                    <a:pt x="447" y="216"/>
                    <a:pt x="448" y="217"/>
                  </a:cubicBezTo>
                  <a:cubicBezTo>
                    <a:pt x="448" y="217"/>
                    <a:pt x="449" y="218"/>
                    <a:pt x="450" y="219"/>
                  </a:cubicBezTo>
                  <a:cubicBezTo>
                    <a:pt x="450" y="220"/>
                    <a:pt x="451" y="219"/>
                    <a:pt x="451" y="220"/>
                  </a:cubicBezTo>
                  <a:cubicBezTo>
                    <a:pt x="452" y="221"/>
                    <a:pt x="452" y="221"/>
                    <a:pt x="453" y="221"/>
                  </a:cubicBezTo>
                  <a:cubicBezTo>
                    <a:pt x="453" y="222"/>
                    <a:pt x="454" y="223"/>
                    <a:pt x="454" y="223"/>
                  </a:cubicBezTo>
                  <a:cubicBezTo>
                    <a:pt x="455" y="224"/>
                    <a:pt x="456" y="225"/>
                    <a:pt x="456" y="225"/>
                  </a:cubicBezTo>
                  <a:cubicBezTo>
                    <a:pt x="457" y="226"/>
                    <a:pt x="456" y="226"/>
                    <a:pt x="456" y="227"/>
                  </a:cubicBezTo>
                  <a:cubicBezTo>
                    <a:pt x="457" y="227"/>
                    <a:pt x="457" y="227"/>
                    <a:pt x="458" y="228"/>
                  </a:cubicBezTo>
                  <a:cubicBezTo>
                    <a:pt x="458" y="228"/>
                    <a:pt x="459" y="228"/>
                    <a:pt x="460" y="229"/>
                  </a:cubicBezTo>
                  <a:cubicBezTo>
                    <a:pt x="460" y="229"/>
                    <a:pt x="460" y="230"/>
                    <a:pt x="461" y="230"/>
                  </a:cubicBezTo>
                  <a:cubicBezTo>
                    <a:pt x="461" y="231"/>
                    <a:pt x="460" y="232"/>
                    <a:pt x="461" y="232"/>
                  </a:cubicBezTo>
                  <a:cubicBezTo>
                    <a:pt x="461" y="234"/>
                    <a:pt x="461" y="234"/>
                    <a:pt x="461" y="234"/>
                  </a:cubicBezTo>
                  <a:cubicBezTo>
                    <a:pt x="462" y="236"/>
                    <a:pt x="463" y="235"/>
                    <a:pt x="464" y="236"/>
                  </a:cubicBezTo>
                  <a:cubicBezTo>
                    <a:pt x="464" y="237"/>
                    <a:pt x="463" y="238"/>
                    <a:pt x="464" y="239"/>
                  </a:cubicBezTo>
                  <a:cubicBezTo>
                    <a:pt x="464" y="239"/>
                    <a:pt x="464" y="239"/>
                    <a:pt x="466" y="240"/>
                  </a:cubicBezTo>
                  <a:cubicBezTo>
                    <a:pt x="467" y="240"/>
                    <a:pt x="467" y="242"/>
                    <a:pt x="468" y="242"/>
                  </a:cubicBezTo>
                  <a:cubicBezTo>
                    <a:pt x="469" y="242"/>
                    <a:pt x="468" y="244"/>
                    <a:pt x="468" y="244"/>
                  </a:cubicBezTo>
                  <a:cubicBezTo>
                    <a:pt x="467" y="246"/>
                    <a:pt x="470" y="248"/>
                    <a:pt x="471" y="248"/>
                  </a:cubicBezTo>
                  <a:cubicBezTo>
                    <a:pt x="472" y="248"/>
                    <a:pt x="475" y="249"/>
                    <a:pt x="476" y="249"/>
                  </a:cubicBezTo>
                  <a:cubicBezTo>
                    <a:pt x="476" y="249"/>
                    <a:pt x="478" y="248"/>
                    <a:pt x="478" y="248"/>
                  </a:cubicBezTo>
                  <a:cubicBezTo>
                    <a:pt x="479" y="248"/>
                    <a:pt x="482" y="246"/>
                    <a:pt x="483" y="246"/>
                  </a:cubicBezTo>
                  <a:cubicBezTo>
                    <a:pt x="484" y="247"/>
                    <a:pt x="484" y="246"/>
                    <a:pt x="485" y="246"/>
                  </a:cubicBezTo>
                  <a:cubicBezTo>
                    <a:pt x="487" y="246"/>
                    <a:pt x="487" y="244"/>
                    <a:pt x="488" y="244"/>
                  </a:cubicBezTo>
                  <a:cubicBezTo>
                    <a:pt x="490" y="244"/>
                    <a:pt x="490" y="242"/>
                    <a:pt x="490" y="242"/>
                  </a:cubicBezTo>
                  <a:cubicBezTo>
                    <a:pt x="491" y="241"/>
                    <a:pt x="491" y="241"/>
                    <a:pt x="492" y="240"/>
                  </a:cubicBezTo>
                  <a:cubicBezTo>
                    <a:pt x="493" y="239"/>
                    <a:pt x="493" y="238"/>
                    <a:pt x="494" y="238"/>
                  </a:cubicBezTo>
                  <a:cubicBezTo>
                    <a:pt x="494" y="237"/>
                    <a:pt x="495" y="236"/>
                    <a:pt x="495" y="235"/>
                  </a:cubicBezTo>
                  <a:cubicBezTo>
                    <a:pt x="496" y="235"/>
                    <a:pt x="497" y="234"/>
                    <a:pt x="497" y="233"/>
                  </a:cubicBezTo>
                  <a:cubicBezTo>
                    <a:pt x="498" y="232"/>
                    <a:pt x="498" y="231"/>
                    <a:pt x="499" y="230"/>
                  </a:cubicBezTo>
                  <a:cubicBezTo>
                    <a:pt x="500" y="230"/>
                    <a:pt x="500" y="229"/>
                    <a:pt x="501" y="229"/>
                  </a:cubicBezTo>
                  <a:cubicBezTo>
                    <a:pt x="502" y="228"/>
                    <a:pt x="503" y="227"/>
                    <a:pt x="502" y="226"/>
                  </a:cubicBezTo>
                  <a:cubicBezTo>
                    <a:pt x="502" y="226"/>
                    <a:pt x="500" y="226"/>
                    <a:pt x="499" y="226"/>
                  </a:cubicBezTo>
                  <a:cubicBezTo>
                    <a:pt x="498" y="225"/>
                    <a:pt x="498" y="224"/>
                    <a:pt x="497" y="224"/>
                  </a:cubicBezTo>
                  <a:cubicBezTo>
                    <a:pt x="496" y="223"/>
                    <a:pt x="496" y="225"/>
                    <a:pt x="494" y="225"/>
                  </a:cubicBezTo>
                  <a:cubicBezTo>
                    <a:pt x="493" y="225"/>
                    <a:pt x="492" y="226"/>
                    <a:pt x="491" y="226"/>
                  </a:cubicBezTo>
                  <a:cubicBezTo>
                    <a:pt x="490" y="226"/>
                    <a:pt x="489" y="226"/>
                    <a:pt x="488" y="225"/>
                  </a:cubicBezTo>
                  <a:cubicBezTo>
                    <a:pt x="487" y="225"/>
                    <a:pt x="487" y="222"/>
                    <a:pt x="486" y="222"/>
                  </a:cubicBezTo>
                  <a:cubicBezTo>
                    <a:pt x="486" y="222"/>
                    <a:pt x="485" y="222"/>
                    <a:pt x="485" y="222"/>
                  </a:cubicBezTo>
                  <a:cubicBezTo>
                    <a:pt x="483" y="220"/>
                    <a:pt x="484" y="220"/>
                    <a:pt x="482" y="219"/>
                  </a:cubicBezTo>
                  <a:cubicBezTo>
                    <a:pt x="481" y="218"/>
                    <a:pt x="482" y="217"/>
                    <a:pt x="481" y="217"/>
                  </a:cubicBezTo>
                  <a:cubicBezTo>
                    <a:pt x="480" y="216"/>
                    <a:pt x="480" y="215"/>
                    <a:pt x="480" y="215"/>
                  </a:cubicBezTo>
                  <a:cubicBezTo>
                    <a:pt x="481" y="215"/>
                    <a:pt x="482" y="215"/>
                    <a:pt x="483" y="214"/>
                  </a:cubicBezTo>
                  <a:cubicBezTo>
                    <a:pt x="484" y="214"/>
                    <a:pt x="484" y="216"/>
                    <a:pt x="484" y="216"/>
                  </a:cubicBezTo>
                  <a:cubicBezTo>
                    <a:pt x="485" y="217"/>
                    <a:pt x="485" y="217"/>
                    <a:pt x="485" y="217"/>
                  </a:cubicBezTo>
                  <a:cubicBezTo>
                    <a:pt x="486" y="217"/>
                    <a:pt x="486" y="217"/>
                    <a:pt x="486" y="218"/>
                  </a:cubicBezTo>
                  <a:cubicBezTo>
                    <a:pt x="487" y="219"/>
                    <a:pt x="487" y="219"/>
                    <a:pt x="487" y="219"/>
                  </a:cubicBezTo>
                  <a:cubicBezTo>
                    <a:pt x="488" y="219"/>
                    <a:pt x="488" y="219"/>
                    <a:pt x="488" y="219"/>
                  </a:cubicBezTo>
                  <a:cubicBezTo>
                    <a:pt x="489" y="220"/>
                    <a:pt x="489" y="220"/>
                    <a:pt x="489" y="220"/>
                  </a:cubicBezTo>
                  <a:cubicBezTo>
                    <a:pt x="489" y="220"/>
                    <a:pt x="490" y="221"/>
                    <a:pt x="490" y="221"/>
                  </a:cubicBezTo>
                  <a:cubicBezTo>
                    <a:pt x="491" y="221"/>
                    <a:pt x="493" y="222"/>
                    <a:pt x="493" y="222"/>
                  </a:cubicBezTo>
                  <a:cubicBezTo>
                    <a:pt x="493" y="222"/>
                    <a:pt x="495" y="222"/>
                    <a:pt x="496" y="222"/>
                  </a:cubicBezTo>
                  <a:cubicBezTo>
                    <a:pt x="496" y="222"/>
                    <a:pt x="497" y="223"/>
                    <a:pt x="499" y="224"/>
                  </a:cubicBezTo>
                  <a:cubicBezTo>
                    <a:pt x="500" y="224"/>
                    <a:pt x="500" y="224"/>
                    <a:pt x="502" y="224"/>
                  </a:cubicBezTo>
                  <a:cubicBezTo>
                    <a:pt x="503" y="225"/>
                    <a:pt x="504" y="225"/>
                    <a:pt x="506" y="225"/>
                  </a:cubicBezTo>
                  <a:cubicBezTo>
                    <a:pt x="506" y="226"/>
                    <a:pt x="507" y="225"/>
                    <a:pt x="508" y="225"/>
                  </a:cubicBezTo>
                  <a:cubicBezTo>
                    <a:pt x="509" y="225"/>
                    <a:pt x="510" y="226"/>
                    <a:pt x="511" y="226"/>
                  </a:cubicBezTo>
                  <a:cubicBezTo>
                    <a:pt x="511" y="226"/>
                    <a:pt x="512" y="225"/>
                    <a:pt x="513" y="226"/>
                  </a:cubicBezTo>
                  <a:cubicBezTo>
                    <a:pt x="514" y="226"/>
                    <a:pt x="515" y="225"/>
                    <a:pt x="515" y="225"/>
                  </a:cubicBezTo>
                  <a:cubicBezTo>
                    <a:pt x="517" y="226"/>
                    <a:pt x="517" y="225"/>
                    <a:pt x="518" y="226"/>
                  </a:cubicBezTo>
                  <a:cubicBezTo>
                    <a:pt x="519" y="226"/>
                    <a:pt x="522" y="226"/>
                    <a:pt x="522" y="227"/>
                  </a:cubicBezTo>
                  <a:cubicBezTo>
                    <a:pt x="523" y="228"/>
                    <a:pt x="525" y="231"/>
                    <a:pt x="525" y="231"/>
                  </a:cubicBezTo>
                  <a:cubicBezTo>
                    <a:pt x="527" y="230"/>
                    <a:pt x="525" y="233"/>
                    <a:pt x="527" y="233"/>
                  </a:cubicBezTo>
                  <a:cubicBezTo>
                    <a:pt x="527" y="233"/>
                    <a:pt x="527" y="233"/>
                    <a:pt x="528" y="234"/>
                  </a:cubicBezTo>
                  <a:cubicBezTo>
                    <a:pt x="529" y="235"/>
                    <a:pt x="529" y="234"/>
                    <a:pt x="530" y="235"/>
                  </a:cubicBezTo>
                  <a:cubicBezTo>
                    <a:pt x="530" y="235"/>
                    <a:pt x="532" y="232"/>
                    <a:pt x="533" y="233"/>
                  </a:cubicBezTo>
                  <a:cubicBezTo>
                    <a:pt x="533" y="233"/>
                    <a:pt x="533" y="235"/>
                    <a:pt x="534" y="236"/>
                  </a:cubicBezTo>
                  <a:cubicBezTo>
                    <a:pt x="534" y="236"/>
                    <a:pt x="534" y="237"/>
                    <a:pt x="534" y="238"/>
                  </a:cubicBezTo>
                  <a:cubicBezTo>
                    <a:pt x="535" y="239"/>
                    <a:pt x="535" y="239"/>
                    <a:pt x="535" y="240"/>
                  </a:cubicBezTo>
                  <a:cubicBezTo>
                    <a:pt x="535" y="240"/>
                    <a:pt x="536" y="242"/>
                    <a:pt x="536" y="242"/>
                  </a:cubicBezTo>
                  <a:cubicBezTo>
                    <a:pt x="536" y="243"/>
                    <a:pt x="536" y="243"/>
                    <a:pt x="536" y="244"/>
                  </a:cubicBezTo>
                  <a:cubicBezTo>
                    <a:pt x="536" y="244"/>
                    <a:pt x="536" y="244"/>
                    <a:pt x="536" y="244"/>
                  </a:cubicBezTo>
                  <a:cubicBezTo>
                    <a:pt x="536" y="244"/>
                    <a:pt x="536" y="245"/>
                    <a:pt x="536" y="246"/>
                  </a:cubicBezTo>
                  <a:cubicBezTo>
                    <a:pt x="537" y="246"/>
                    <a:pt x="538" y="248"/>
                    <a:pt x="538" y="248"/>
                  </a:cubicBezTo>
                  <a:cubicBezTo>
                    <a:pt x="538" y="251"/>
                    <a:pt x="538" y="251"/>
                    <a:pt x="538" y="251"/>
                  </a:cubicBezTo>
                  <a:cubicBezTo>
                    <a:pt x="538" y="252"/>
                    <a:pt x="540" y="252"/>
                    <a:pt x="540" y="253"/>
                  </a:cubicBezTo>
                  <a:cubicBezTo>
                    <a:pt x="540" y="253"/>
                    <a:pt x="540" y="254"/>
                    <a:pt x="540" y="254"/>
                  </a:cubicBezTo>
                  <a:cubicBezTo>
                    <a:pt x="540" y="255"/>
                    <a:pt x="540" y="255"/>
                    <a:pt x="541" y="255"/>
                  </a:cubicBezTo>
                  <a:cubicBezTo>
                    <a:pt x="541" y="256"/>
                    <a:pt x="542" y="257"/>
                    <a:pt x="542" y="257"/>
                  </a:cubicBezTo>
                  <a:cubicBezTo>
                    <a:pt x="543" y="257"/>
                    <a:pt x="543" y="257"/>
                    <a:pt x="544" y="258"/>
                  </a:cubicBezTo>
                  <a:cubicBezTo>
                    <a:pt x="544" y="258"/>
                    <a:pt x="545" y="258"/>
                    <a:pt x="545" y="257"/>
                  </a:cubicBezTo>
                  <a:cubicBezTo>
                    <a:pt x="546" y="257"/>
                    <a:pt x="547" y="257"/>
                    <a:pt x="547" y="257"/>
                  </a:cubicBezTo>
                  <a:cubicBezTo>
                    <a:pt x="548" y="256"/>
                    <a:pt x="548" y="255"/>
                    <a:pt x="548" y="255"/>
                  </a:cubicBezTo>
                  <a:cubicBezTo>
                    <a:pt x="548" y="254"/>
                    <a:pt x="548" y="254"/>
                    <a:pt x="548" y="254"/>
                  </a:cubicBezTo>
                  <a:cubicBezTo>
                    <a:pt x="550" y="253"/>
                    <a:pt x="550" y="253"/>
                    <a:pt x="550" y="253"/>
                  </a:cubicBezTo>
                  <a:cubicBezTo>
                    <a:pt x="550" y="251"/>
                    <a:pt x="550" y="251"/>
                    <a:pt x="550" y="251"/>
                  </a:cubicBezTo>
                  <a:cubicBezTo>
                    <a:pt x="550" y="251"/>
                    <a:pt x="550" y="251"/>
                    <a:pt x="550" y="251"/>
                  </a:cubicBezTo>
                  <a:cubicBezTo>
                    <a:pt x="551" y="250"/>
                    <a:pt x="550" y="249"/>
                    <a:pt x="551" y="249"/>
                  </a:cubicBezTo>
                  <a:cubicBezTo>
                    <a:pt x="550" y="247"/>
                    <a:pt x="550" y="247"/>
                    <a:pt x="550" y="247"/>
                  </a:cubicBezTo>
                  <a:cubicBezTo>
                    <a:pt x="551" y="246"/>
                    <a:pt x="550" y="245"/>
                    <a:pt x="551" y="244"/>
                  </a:cubicBezTo>
                  <a:cubicBezTo>
                    <a:pt x="552" y="243"/>
                    <a:pt x="552" y="243"/>
                    <a:pt x="552" y="243"/>
                  </a:cubicBezTo>
                  <a:cubicBezTo>
                    <a:pt x="553" y="242"/>
                    <a:pt x="553" y="242"/>
                    <a:pt x="553" y="242"/>
                  </a:cubicBezTo>
                  <a:cubicBezTo>
                    <a:pt x="554" y="241"/>
                    <a:pt x="555" y="242"/>
                    <a:pt x="556" y="241"/>
                  </a:cubicBezTo>
                  <a:cubicBezTo>
                    <a:pt x="556" y="241"/>
                    <a:pt x="556" y="241"/>
                    <a:pt x="556" y="241"/>
                  </a:cubicBezTo>
                  <a:cubicBezTo>
                    <a:pt x="556" y="241"/>
                    <a:pt x="557" y="240"/>
                    <a:pt x="558" y="239"/>
                  </a:cubicBezTo>
                  <a:cubicBezTo>
                    <a:pt x="558" y="239"/>
                    <a:pt x="561" y="237"/>
                    <a:pt x="561" y="237"/>
                  </a:cubicBezTo>
                  <a:cubicBezTo>
                    <a:pt x="562" y="236"/>
                    <a:pt x="563" y="234"/>
                    <a:pt x="563" y="234"/>
                  </a:cubicBezTo>
                  <a:cubicBezTo>
                    <a:pt x="564" y="234"/>
                    <a:pt x="565" y="233"/>
                    <a:pt x="565" y="233"/>
                  </a:cubicBezTo>
                  <a:cubicBezTo>
                    <a:pt x="566" y="233"/>
                    <a:pt x="566" y="232"/>
                    <a:pt x="567" y="232"/>
                  </a:cubicBezTo>
                  <a:cubicBezTo>
                    <a:pt x="568" y="232"/>
                    <a:pt x="569" y="233"/>
                    <a:pt x="569" y="234"/>
                  </a:cubicBezTo>
                  <a:cubicBezTo>
                    <a:pt x="570" y="235"/>
                    <a:pt x="571" y="234"/>
                    <a:pt x="571" y="234"/>
                  </a:cubicBezTo>
                  <a:cubicBezTo>
                    <a:pt x="574" y="233"/>
                    <a:pt x="574" y="233"/>
                    <a:pt x="574" y="233"/>
                  </a:cubicBezTo>
                  <a:cubicBezTo>
                    <a:pt x="575" y="233"/>
                    <a:pt x="576" y="234"/>
                    <a:pt x="576" y="234"/>
                  </a:cubicBezTo>
                  <a:cubicBezTo>
                    <a:pt x="577" y="234"/>
                    <a:pt x="577" y="235"/>
                    <a:pt x="577" y="236"/>
                  </a:cubicBezTo>
                  <a:cubicBezTo>
                    <a:pt x="578" y="236"/>
                    <a:pt x="578" y="237"/>
                    <a:pt x="579" y="237"/>
                  </a:cubicBezTo>
                  <a:cubicBezTo>
                    <a:pt x="579" y="238"/>
                    <a:pt x="579" y="238"/>
                    <a:pt x="580" y="239"/>
                  </a:cubicBezTo>
                  <a:cubicBezTo>
                    <a:pt x="580" y="240"/>
                    <a:pt x="579" y="242"/>
                    <a:pt x="580" y="243"/>
                  </a:cubicBezTo>
                  <a:cubicBezTo>
                    <a:pt x="581" y="244"/>
                    <a:pt x="581" y="243"/>
                    <a:pt x="583" y="243"/>
                  </a:cubicBezTo>
                  <a:cubicBezTo>
                    <a:pt x="584" y="243"/>
                    <a:pt x="584" y="241"/>
                    <a:pt x="584" y="241"/>
                  </a:cubicBezTo>
                  <a:cubicBezTo>
                    <a:pt x="584" y="240"/>
                    <a:pt x="585" y="241"/>
                    <a:pt x="585" y="241"/>
                  </a:cubicBezTo>
                  <a:cubicBezTo>
                    <a:pt x="586" y="242"/>
                    <a:pt x="587" y="242"/>
                    <a:pt x="587" y="243"/>
                  </a:cubicBezTo>
                  <a:cubicBezTo>
                    <a:pt x="588" y="244"/>
                    <a:pt x="588" y="244"/>
                    <a:pt x="588" y="245"/>
                  </a:cubicBezTo>
                  <a:cubicBezTo>
                    <a:pt x="589" y="246"/>
                    <a:pt x="588" y="246"/>
                    <a:pt x="589" y="248"/>
                  </a:cubicBezTo>
                  <a:cubicBezTo>
                    <a:pt x="589" y="249"/>
                    <a:pt x="586" y="250"/>
                    <a:pt x="586" y="250"/>
                  </a:cubicBezTo>
                  <a:cubicBezTo>
                    <a:pt x="586" y="250"/>
                    <a:pt x="587" y="251"/>
                    <a:pt x="587" y="252"/>
                  </a:cubicBezTo>
                  <a:cubicBezTo>
                    <a:pt x="588" y="254"/>
                    <a:pt x="588" y="254"/>
                    <a:pt x="588" y="254"/>
                  </a:cubicBezTo>
                  <a:cubicBezTo>
                    <a:pt x="588" y="254"/>
                    <a:pt x="587" y="255"/>
                    <a:pt x="588" y="255"/>
                  </a:cubicBezTo>
                  <a:cubicBezTo>
                    <a:pt x="588" y="256"/>
                    <a:pt x="587" y="256"/>
                    <a:pt x="587" y="257"/>
                  </a:cubicBezTo>
                  <a:cubicBezTo>
                    <a:pt x="588" y="258"/>
                    <a:pt x="588" y="259"/>
                    <a:pt x="588" y="260"/>
                  </a:cubicBezTo>
                  <a:cubicBezTo>
                    <a:pt x="589" y="261"/>
                    <a:pt x="590" y="259"/>
                    <a:pt x="590" y="260"/>
                  </a:cubicBezTo>
                  <a:cubicBezTo>
                    <a:pt x="590" y="260"/>
                    <a:pt x="590" y="261"/>
                    <a:pt x="591" y="261"/>
                  </a:cubicBezTo>
                  <a:cubicBezTo>
                    <a:pt x="592" y="262"/>
                    <a:pt x="592" y="262"/>
                    <a:pt x="592" y="263"/>
                  </a:cubicBezTo>
                  <a:cubicBezTo>
                    <a:pt x="593" y="264"/>
                    <a:pt x="593" y="265"/>
                    <a:pt x="594" y="265"/>
                  </a:cubicBezTo>
                  <a:cubicBezTo>
                    <a:pt x="594" y="266"/>
                    <a:pt x="594" y="266"/>
                    <a:pt x="595" y="267"/>
                  </a:cubicBezTo>
                  <a:cubicBezTo>
                    <a:pt x="596" y="268"/>
                    <a:pt x="597" y="269"/>
                    <a:pt x="597" y="269"/>
                  </a:cubicBezTo>
                  <a:cubicBezTo>
                    <a:pt x="598" y="269"/>
                    <a:pt x="599" y="269"/>
                    <a:pt x="600" y="270"/>
                  </a:cubicBezTo>
                  <a:cubicBezTo>
                    <a:pt x="601" y="270"/>
                    <a:pt x="602" y="270"/>
                    <a:pt x="602" y="269"/>
                  </a:cubicBezTo>
                  <a:cubicBezTo>
                    <a:pt x="602" y="269"/>
                    <a:pt x="602" y="267"/>
                    <a:pt x="602" y="267"/>
                  </a:cubicBezTo>
                  <a:cubicBezTo>
                    <a:pt x="601" y="266"/>
                    <a:pt x="602" y="265"/>
                    <a:pt x="602" y="265"/>
                  </a:cubicBezTo>
                  <a:cubicBezTo>
                    <a:pt x="601" y="262"/>
                    <a:pt x="601" y="262"/>
                    <a:pt x="601" y="262"/>
                  </a:cubicBezTo>
                  <a:cubicBezTo>
                    <a:pt x="599" y="261"/>
                    <a:pt x="599" y="261"/>
                    <a:pt x="599" y="261"/>
                  </a:cubicBezTo>
                  <a:cubicBezTo>
                    <a:pt x="598" y="261"/>
                    <a:pt x="597" y="262"/>
                    <a:pt x="597" y="261"/>
                  </a:cubicBezTo>
                  <a:cubicBezTo>
                    <a:pt x="597" y="261"/>
                    <a:pt x="595" y="260"/>
                    <a:pt x="595" y="260"/>
                  </a:cubicBezTo>
                  <a:cubicBezTo>
                    <a:pt x="595" y="259"/>
                    <a:pt x="594" y="258"/>
                    <a:pt x="594" y="257"/>
                  </a:cubicBezTo>
                  <a:cubicBezTo>
                    <a:pt x="593" y="256"/>
                    <a:pt x="593" y="255"/>
                    <a:pt x="592" y="254"/>
                  </a:cubicBezTo>
                  <a:cubicBezTo>
                    <a:pt x="592" y="252"/>
                    <a:pt x="592" y="250"/>
                    <a:pt x="593" y="251"/>
                  </a:cubicBezTo>
                  <a:cubicBezTo>
                    <a:pt x="594" y="251"/>
                    <a:pt x="594" y="248"/>
                    <a:pt x="595" y="248"/>
                  </a:cubicBezTo>
                  <a:cubicBezTo>
                    <a:pt x="596" y="248"/>
                    <a:pt x="596" y="249"/>
                    <a:pt x="597" y="249"/>
                  </a:cubicBezTo>
                  <a:cubicBezTo>
                    <a:pt x="597" y="250"/>
                    <a:pt x="598" y="251"/>
                    <a:pt x="599" y="251"/>
                  </a:cubicBezTo>
                  <a:cubicBezTo>
                    <a:pt x="600" y="251"/>
                    <a:pt x="600" y="253"/>
                    <a:pt x="601" y="253"/>
                  </a:cubicBezTo>
                  <a:cubicBezTo>
                    <a:pt x="602" y="253"/>
                    <a:pt x="602" y="255"/>
                    <a:pt x="602" y="255"/>
                  </a:cubicBezTo>
                  <a:cubicBezTo>
                    <a:pt x="602" y="255"/>
                    <a:pt x="602" y="257"/>
                    <a:pt x="603" y="257"/>
                  </a:cubicBezTo>
                  <a:cubicBezTo>
                    <a:pt x="604" y="258"/>
                    <a:pt x="605" y="258"/>
                    <a:pt x="605" y="257"/>
                  </a:cubicBezTo>
                  <a:cubicBezTo>
                    <a:pt x="605" y="255"/>
                    <a:pt x="607" y="256"/>
                    <a:pt x="608" y="255"/>
                  </a:cubicBezTo>
                  <a:cubicBezTo>
                    <a:pt x="608" y="255"/>
                    <a:pt x="608" y="254"/>
                    <a:pt x="610" y="254"/>
                  </a:cubicBezTo>
                  <a:cubicBezTo>
                    <a:pt x="611" y="254"/>
                    <a:pt x="609" y="252"/>
                    <a:pt x="612" y="252"/>
                  </a:cubicBezTo>
                  <a:cubicBezTo>
                    <a:pt x="613" y="252"/>
                    <a:pt x="614" y="252"/>
                    <a:pt x="614" y="251"/>
                  </a:cubicBezTo>
                  <a:cubicBezTo>
                    <a:pt x="614" y="249"/>
                    <a:pt x="613" y="247"/>
                    <a:pt x="614" y="246"/>
                  </a:cubicBezTo>
                  <a:cubicBezTo>
                    <a:pt x="614" y="246"/>
                    <a:pt x="615" y="245"/>
                    <a:pt x="614" y="243"/>
                  </a:cubicBezTo>
                  <a:cubicBezTo>
                    <a:pt x="613" y="242"/>
                    <a:pt x="612" y="243"/>
                    <a:pt x="611" y="242"/>
                  </a:cubicBezTo>
                  <a:cubicBezTo>
                    <a:pt x="611" y="241"/>
                    <a:pt x="609" y="241"/>
                    <a:pt x="609" y="241"/>
                  </a:cubicBezTo>
                  <a:cubicBezTo>
                    <a:pt x="609" y="240"/>
                    <a:pt x="607" y="239"/>
                    <a:pt x="607" y="238"/>
                  </a:cubicBezTo>
                  <a:cubicBezTo>
                    <a:pt x="607" y="237"/>
                    <a:pt x="606" y="237"/>
                    <a:pt x="606" y="236"/>
                  </a:cubicBezTo>
                  <a:cubicBezTo>
                    <a:pt x="606" y="236"/>
                    <a:pt x="605" y="235"/>
                    <a:pt x="607" y="234"/>
                  </a:cubicBezTo>
                  <a:cubicBezTo>
                    <a:pt x="607" y="233"/>
                    <a:pt x="609" y="233"/>
                    <a:pt x="610" y="233"/>
                  </a:cubicBezTo>
                  <a:cubicBezTo>
                    <a:pt x="610" y="232"/>
                    <a:pt x="611" y="232"/>
                    <a:pt x="612" y="232"/>
                  </a:cubicBezTo>
                  <a:cubicBezTo>
                    <a:pt x="613" y="232"/>
                    <a:pt x="614" y="233"/>
                    <a:pt x="613" y="234"/>
                  </a:cubicBezTo>
                  <a:cubicBezTo>
                    <a:pt x="613" y="234"/>
                    <a:pt x="612" y="235"/>
                    <a:pt x="612" y="235"/>
                  </a:cubicBezTo>
                  <a:cubicBezTo>
                    <a:pt x="612" y="235"/>
                    <a:pt x="610" y="237"/>
                    <a:pt x="610" y="238"/>
                  </a:cubicBezTo>
                  <a:cubicBezTo>
                    <a:pt x="611" y="238"/>
                    <a:pt x="612" y="240"/>
                    <a:pt x="614" y="239"/>
                  </a:cubicBezTo>
                  <a:cubicBezTo>
                    <a:pt x="615" y="239"/>
                    <a:pt x="616" y="238"/>
                    <a:pt x="617" y="237"/>
                  </a:cubicBezTo>
                  <a:cubicBezTo>
                    <a:pt x="617" y="236"/>
                    <a:pt x="617" y="234"/>
                    <a:pt x="616" y="234"/>
                  </a:cubicBezTo>
                  <a:cubicBezTo>
                    <a:pt x="616" y="234"/>
                    <a:pt x="616" y="233"/>
                    <a:pt x="616" y="232"/>
                  </a:cubicBezTo>
                  <a:cubicBezTo>
                    <a:pt x="617" y="231"/>
                    <a:pt x="619" y="232"/>
                    <a:pt x="620" y="232"/>
                  </a:cubicBezTo>
                  <a:cubicBezTo>
                    <a:pt x="620" y="232"/>
                    <a:pt x="621" y="231"/>
                    <a:pt x="622" y="231"/>
                  </a:cubicBezTo>
                  <a:cubicBezTo>
                    <a:pt x="624" y="231"/>
                    <a:pt x="625" y="230"/>
                    <a:pt x="625" y="230"/>
                  </a:cubicBezTo>
                  <a:cubicBezTo>
                    <a:pt x="625" y="228"/>
                    <a:pt x="628" y="229"/>
                    <a:pt x="628" y="229"/>
                  </a:cubicBezTo>
                  <a:cubicBezTo>
                    <a:pt x="628" y="229"/>
                    <a:pt x="630" y="229"/>
                    <a:pt x="631" y="228"/>
                  </a:cubicBezTo>
                  <a:cubicBezTo>
                    <a:pt x="631" y="228"/>
                    <a:pt x="632" y="227"/>
                    <a:pt x="632" y="227"/>
                  </a:cubicBezTo>
                  <a:cubicBezTo>
                    <a:pt x="632" y="227"/>
                    <a:pt x="634" y="227"/>
                    <a:pt x="634" y="225"/>
                  </a:cubicBezTo>
                  <a:cubicBezTo>
                    <a:pt x="634" y="225"/>
                    <a:pt x="634" y="224"/>
                    <a:pt x="635" y="224"/>
                  </a:cubicBezTo>
                  <a:cubicBezTo>
                    <a:pt x="635" y="224"/>
                    <a:pt x="637" y="223"/>
                    <a:pt x="637" y="223"/>
                  </a:cubicBezTo>
                  <a:cubicBezTo>
                    <a:pt x="638" y="221"/>
                    <a:pt x="638" y="221"/>
                    <a:pt x="638" y="221"/>
                  </a:cubicBezTo>
                  <a:cubicBezTo>
                    <a:pt x="638" y="221"/>
                    <a:pt x="638" y="220"/>
                    <a:pt x="639" y="219"/>
                  </a:cubicBezTo>
                  <a:cubicBezTo>
                    <a:pt x="639" y="219"/>
                    <a:pt x="639" y="218"/>
                    <a:pt x="640" y="218"/>
                  </a:cubicBezTo>
                  <a:cubicBezTo>
                    <a:pt x="640" y="217"/>
                    <a:pt x="640" y="216"/>
                    <a:pt x="641" y="216"/>
                  </a:cubicBezTo>
                  <a:cubicBezTo>
                    <a:pt x="642" y="215"/>
                    <a:pt x="641" y="216"/>
                    <a:pt x="641" y="214"/>
                  </a:cubicBezTo>
                  <a:cubicBezTo>
                    <a:pt x="641" y="213"/>
                    <a:pt x="642" y="213"/>
                    <a:pt x="641" y="212"/>
                  </a:cubicBezTo>
                  <a:cubicBezTo>
                    <a:pt x="641" y="211"/>
                    <a:pt x="641" y="211"/>
                    <a:pt x="641" y="211"/>
                  </a:cubicBezTo>
                  <a:cubicBezTo>
                    <a:pt x="642" y="211"/>
                    <a:pt x="642" y="210"/>
                    <a:pt x="640" y="209"/>
                  </a:cubicBezTo>
                  <a:cubicBezTo>
                    <a:pt x="640" y="208"/>
                    <a:pt x="639" y="209"/>
                    <a:pt x="639" y="207"/>
                  </a:cubicBezTo>
                  <a:cubicBezTo>
                    <a:pt x="639" y="207"/>
                    <a:pt x="638" y="207"/>
                    <a:pt x="637" y="205"/>
                  </a:cubicBezTo>
                  <a:cubicBezTo>
                    <a:pt x="637" y="204"/>
                    <a:pt x="636" y="205"/>
                    <a:pt x="636" y="204"/>
                  </a:cubicBezTo>
                  <a:cubicBezTo>
                    <a:pt x="635" y="204"/>
                    <a:pt x="635" y="204"/>
                    <a:pt x="635" y="204"/>
                  </a:cubicBezTo>
                  <a:cubicBezTo>
                    <a:pt x="635" y="204"/>
                    <a:pt x="635" y="200"/>
                    <a:pt x="637" y="200"/>
                  </a:cubicBezTo>
                  <a:cubicBezTo>
                    <a:pt x="638" y="200"/>
                    <a:pt x="639" y="199"/>
                    <a:pt x="640" y="200"/>
                  </a:cubicBezTo>
                  <a:cubicBezTo>
                    <a:pt x="640" y="200"/>
                    <a:pt x="641" y="199"/>
                    <a:pt x="642" y="199"/>
                  </a:cubicBezTo>
                  <a:cubicBezTo>
                    <a:pt x="643" y="199"/>
                    <a:pt x="644" y="198"/>
                    <a:pt x="643" y="197"/>
                  </a:cubicBezTo>
                  <a:cubicBezTo>
                    <a:pt x="643" y="196"/>
                    <a:pt x="641" y="197"/>
                    <a:pt x="640" y="197"/>
                  </a:cubicBezTo>
                  <a:cubicBezTo>
                    <a:pt x="639" y="196"/>
                    <a:pt x="638" y="196"/>
                    <a:pt x="638" y="196"/>
                  </a:cubicBezTo>
                  <a:cubicBezTo>
                    <a:pt x="637" y="196"/>
                    <a:pt x="637" y="198"/>
                    <a:pt x="636" y="197"/>
                  </a:cubicBezTo>
                  <a:cubicBezTo>
                    <a:pt x="635" y="197"/>
                    <a:pt x="634" y="196"/>
                    <a:pt x="634" y="196"/>
                  </a:cubicBezTo>
                  <a:cubicBezTo>
                    <a:pt x="634" y="196"/>
                    <a:pt x="631" y="196"/>
                    <a:pt x="632" y="194"/>
                  </a:cubicBezTo>
                  <a:cubicBezTo>
                    <a:pt x="632" y="194"/>
                    <a:pt x="634" y="194"/>
                    <a:pt x="635" y="194"/>
                  </a:cubicBezTo>
                  <a:cubicBezTo>
                    <a:pt x="635" y="193"/>
                    <a:pt x="635" y="192"/>
                    <a:pt x="635" y="192"/>
                  </a:cubicBezTo>
                  <a:cubicBezTo>
                    <a:pt x="635" y="191"/>
                    <a:pt x="638" y="190"/>
                    <a:pt x="638" y="190"/>
                  </a:cubicBezTo>
                  <a:cubicBezTo>
                    <a:pt x="638" y="190"/>
                    <a:pt x="638" y="192"/>
                    <a:pt x="638" y="193"/>
                  </a:cubicBezTo>
                  <a:cubicBezTo>
                    <a:pt x="638" y="194"/>
                    <a:pt x="639" y="194"/>
                    <a:pt x="639" y="194"/>
                  </a:cubicBezTo>
                  <a:cubicBezTo>
                    <a:pt x="639" y="194"/>
                    <a:pt x="640" y="195"/>
                    <a:pt x="640" y="195"/>
                  </a:cubicBezTo>
                  <a:cubicBezTo>
                    <a:pt x="641" y="195"/>
                    <a:pt x="642" y="193"/>
                    <a:pt x="643" y="192"/>
                  </a:cubicBezTo>
                  <a:cubicBezTo>
                    <a:pt x="644" y="192"/>
                    <a:pt x="645" y="192"/>
                    <a:pt x="646" y="193"/>
                  </a:cubicBezTo>
                  <a:cubicBezTo>
                    <a:pt x="648" y="193"/>
                    <a:pt x="648" y="194"/>
                    <a:pt x="647" y="195"/>
                  </a:cubicBezTo>
                  <a:cubicBezTo>
                    <a:pt x="646" y="196"/>
                    <a:pt x="646" y="196"/>
                    <a:pt x="646" y="196"/>
                  </a:cubicBezTo>
                  <a:cubicBezTo>
                    <a:pt x="646" y="196"/>
                    <a:pt x="646" y="197"/>
                    <a:pt x="647" y="197"/>
                  </a:cubicBezTo>
                  <a:cubicBezTo>
                    <a:pt x="647" y="198"/>
                    <a:pt x="648" y="197"/>
                    <a:pt x="648" y="198"/>
                  </a:cubicBezTo>
                  <a:cubicBezTo>
                    <a:pt x="648" y="198"/>
                    <a:pt x="650" y="199"/>
                    <a:pt x="650" y="200"/>
                  </a:cubicBezTo>
                  <a:cubicBezTo>
                    <a:pt x="651" y="200"/>
                    <a:pt x="650" y="202"/>
                    <a:pt x="650" y="203"/>
                  </a:cubicBezTo>
                  <a:cubicBezTo>
                    <a:pt x="651" y="204"/>
                    <a:pt x="651" y="204"/>
                    <a:pt x="652" y="205"/>
                  </a:cubicBezTo>
                  <a:cubicBezTo>
                    <a:pt x="654" y="208"/>
                    <a:pt x="655" y="206"/>
                    <a:pt x="654" y="205"/>
                  </a:cubicBezTo>
                  <a:cubicBezTo>
                    <a:pt x="655" y="204"/>
                    <a:pt x="655" y="204"/>
                    <a:pt x="655" y="204"/>
                  </a:cubicBezTo>
                  <a:cubicBezTo>
                    <a:pt x="656" y="204"/>
                    <a:pt x="656" y="203"/>
                    <a:pt x="657" y="203"/>
                  </a:cubicBezTo>
                  <a:cubicBezTo>
                    <a:pt x="657" y="202"/>
                    <a:pt x="657" y="202"/>
                    <a:pt x="657" y="201"/>
                  </a:cubicBezTo>
                  <a:cubicBezTo>
                    <a:pt x="657" y="200"/>
                    <a:pt x="658" y="200"/>
                    <a:pt x="658" y="199"/>
                  </a:cubicBezTo>
                  <a:cubicBezTo>
                    <a:pt x="658" y="198"/>
                    <a:pt x="658" y="198"/>
                    <a:pt x="658" y="197"/>
                  </a:cubicBezTo>
                  <a:cubicBezTo>
                    <a:pt x="658" y="196"/>
                    <a:pt x="656" y="197"/>
                    <a:pt x="656" y="197"/>
                  </a:cubicBezTo>
                  <a:cubicBezTo>
                    <a:pt x="656" y="196"/>
                    <a:pt x="654" y="195"/>
                    <a:pt x="654" y="194"/>
                  </a:cubicBezTo>
                  <a:cubicBezTo>
                    <a:pt x="654" y="194"/>
                    <a:pt x="653" y="194"/>
                    <a:pt x="653" y="193"/>
                  </a:cubicBezTo>
                  <a:cubicBezTo>
                    <a:pt x="654" y="191"/>
                    <a:pt x="654" y="191"/>
                    <a:pt x="654" y="191"/>
                  </a:cubicBezTo>
                  <a:cubicBezTo>
                    <a:pt x="655" y="192"/>
                    <a:pt x="656" y="191"/>
                    <a:pt x="656" y="191"/>
                  </a:cubicBezTo>
                  <a:cubicBezTo>
                    <a:pt x="656" y="191"/>
                    <a:pt x="657" y="190"/>
                    <a:pt x="657" y="190"/>
                  </a:cubicBezTo>
                  <a:cubicBezTo>
                    <a:pt x="658" y="189"/>
                    <a:pt x="657" y="188"/>
                    <a:pt x="659" y="187"/>
                  </a:cubicBezTo>
                  <a:cubicBezTo>
                    <a:pt x="660" y="186"/>
                    <a:pt x="659" y="186"/>
                    <a:pt x="661" y="186"/>
                  </a:cubicBezTo>
                  <a:cubicBezTo>
                    <a:pt x="664" y="185"/>
                    <a:pt x="665" y="185"/>
                    <a:pt x="665" y="185"/>
                  </a:cubicBezTo>
                  <a:cubicBezTo>
                    <a:pt x="665" y="185"/>
                    <a:pt x="667" y="186"/>
                    <a:pt x="668" y="184"/>
                  </a:cubicBezTo>
                  <a:cubicBezTo>
                    <a:pt x="668" y="183"/>
                    <a:pt x="669" y="183"/>
                    <a:pt x="670" y="182"/>
                  </a:cubicBezTo>
                  <a:cubicBezTo>
                    <a:pt x="670" y="182"/>
                    <a:pt x="670" y="182"/>
                    <a:pt x="671" y="181"/>
                  </a:cubicBezTo>
                  <a:cubicBezTo>
                    <a:pt x="671" y="181"/>
                    <a:pt x="672" y="181"/>
                    <a:pt x="672" y="180"/>
                  </a:cubicBezTo>
                  <a:cubicBezTo>
                    <a:pt x="673" y="180"/>
                    <a:pt x="673" y="179"/>
                    <a:pt x="673" y="178"/>
                  </a:cubicBezTo>
                  <a:cubicBezTo>
                    <a:pt x="674" y="178"/>
                    <a:pt x="674" y="178"/>
                    <a:pt x="675" y="177"/>
                  </a:cubicBezTo>
                  <a:cubicBezTo>
                    <a:pt x="675" y="176"/>
                    <a:pt x="676" y="175"/>
                    <a:pt x="676" y="175"/>
                  </a:cubicBezTo>
                  <a:cubicBezTo>
                    <a:pt x="676" y="174"/>
                    <a:pt x="676" y="174"/>
                    <a:pt x="676" y="174"/>
                  </a:cubicBezTo>
                  <a:cubicBezTo>
                    <a:pt x="676" y="174"/>
                    <a:pt x="676" y="174"/>
                    <a:pt x="676" y="173"/>
                  </a:cubicBezTo>
                  <a:cubicBezTo>
                    <a:pt x="676" y="173"/>
                    <a:pt x="676" y="173"/>
                    <a:pt x="676" y="173"/>
                  </a:cubicBezTo>
                  <a:cubicBezTo>
                    <a:pt x="676" y="173"/>
                    <a:pt x="676" y="173"/>
                    <a:pt x="677" y="172"/>
                  </a:cubicBezTo>
                  <a:cubicBezTo>
                    <a:pt x="678" y="172"/>
                    <a:pt x="680" y="172"/>
                    <a:pt x="679" y="171"/>
                  </a:cubicBezTo>
                  <a:cubicBezTo>
                    <a:pt x="679" y="170"/>
                    <a:pt x="680" y="170"/>
                    <a:pt x="680" y="169"/>
                  </a:cubicBezTo>
                  <a:cubicBezTo>
                    <a:pt x="681" y="169"/>
                    <a:pt x="681" y="168"/>
                    <a:pt x="681" y="167"/>
                  </a:cubicBezTo>
                  <a:cubicBezTo>
                    <a:pt x="681" y="166"/>
                    <a:pt x="682" y="166"/>
                    <a:pt x="682" y="166"/>
                  </a:cubicBezTo>
                  <a:cubicBezTo>
                    <a:pt x="682" y="165"/>
                    <a:pt x="682" y="165"/>
                    <a:pt x="682" y="164"/>
                  </a:cubicBezTo>
                  <a:cubicBezTo>
                    <a:pt x="682" y="164"/>
                    <a:pt x="682" y="161"/>
                    <a:pt x="682" y="161"/>
                  </a:cubicBezTo>
                  <a:cubicBezTo>
                    <a:pt x="683" y="155"/>
                    <a:pt x="683" y="155"/>
                    <a:pt x="683" y="155"/>
                  </a:cubicBezTo>
                  <a:cubicBezTo>
                    <a:pt x="683" y="155"/>
                    <a:pt x="682" y="154"/>
                    <a:pt x="682" y="154"/>
                  </a:cubicBezTo>
                  <a:cubicBezTo>
                    <a:pt x="681" y="153"/>
                    <a:pt x="680" y="151"/>
                    <a:pt x="680" y="151"/>
                  </a:cubicBezTo>
                  <a:cubicBezTo>
                    <a:pt x="680" y="151"/>
                    <a:pt x="677" y="149"/>
                    <a:pt x="677" y="151"/>
                  </a:cubicBezTo>
                  <a:cubicBezTo>
                    <a:pt x="677" y="152"/>
                    <a:pt x="677" y="153"/>
                    <a:pt x="676" y="153"/>
                  </a:cubicBezTo>
                  <a:cubicBezTo>
                    <a:pt x="675" y="153"/>
                    <a:pt x="674" y="153"/>
                    <a:pt x="674" y="152"/>
                  </a:cubicBezTo>
                  <a:cubicBezTo>
                    <a:pt x="674" y="151"/>
                    <a:pt x="676" y="150"/>
                    <a:pt x="676" y="149"/>
                  </a:cubicBezTo>
                  <a:cubicBezTo>
                    <a:pt x="677" y="149"/>
                    <a:pt x="676" y="149"/>
                    <a:pt x="676" y="149"/>
                  </a:cubicBezTo>
                  <a:cubicBezTo>
                    <a:pt x="676" y="148"/>
                    <a:pt x="670" y="150"/>
                    <a:pt x="670" y="149"/>
                  </a:cubicBezTo>
                  <a:cubicBezTo>
                    <a:pt x="669" y="149"/>
                    <a:pt x="673" y="147"/>
                    <a:pt x="674" y="146"/>
                  </a:cubicBezTo>
                  <a:cubicBezTo>
                    <a:pt x="674" y="145"/>
                    <a:pt x="676" y="145"/>
                    <a:pt x="676" y="145"/>
                  </a:cubicBezTo>
                  <a:cubicBezTo>
                    <a:pt x="677" y="144"/>
                    <a:pt x="678" y="143"/>
                    <a:pt x="678" y="143"/>
                  </a:cubicBezTo>
                  <a:cubicBezTo>
                    <a:pt x="679" y="141"/>
                    <a:pt x="680" y="141"/>
                    <a:pt x="680" y="141"/>
                  </a:cubicBezTo>
                  <a:cubicBezTo>
                    <a:pt x="682" y="138"/>
                    <a:pt x="682" y="138"/>
                    <a:pt x="682" y="138"/>
                  </a:cubicBezTo>
                  <a:cubicBezTo>
                    <a:pt x="686" y="134"/>
                    <a:pt x="686" y="134"/>
                    <a:pt x="686" y="134"/>
                  </a:cubicBezTo>
                  <a:cubicBezTo>
                    <a:pt x="687" y="134"/>
                    <a:pt x="690" y="134"/>
                    <a:pt x="690" y="134"/>
                  </a:cubicBezTo>
                  <a:cubicBezTo>
                    <a:pt x="703" y="133"/>
                    <a:pt x="703" y="133"/>
                    <a:pt x="703" y="133"/>
                  </a:cubicBezTo>
                  <a:cubicBezTo>
                    <a:pt x="705" y="133"/>
                    <a:pt x="701" y="136"/>
                    <a:pt x="702" y="136"/>
                  </a:cubicBezTo>
                  <a:cubicBezTo>
                    <a:pt x="702" y="137"/>
                    <a:pt x="704" y="136"/>
                    <a:pt x="706" y="136"/>
                  </a:cubicBezTo>
                  <a:cubicBezTo>
                    <a:pt x="706" y="136"/>
                    <a:pt x="708" y="136"/>
                    <a:pt x="709" y="136"/>
                  </a:cubicBezTo>
                  <a:cubicBezTo>
                    <a:pt x="709" y="136"/>
                    <a:pt x="709" y="135"/>
                    <a:pt x="710" y="135"/>
                  </a:cubicBezTo>
                  <a:cubicBezTo>
                    <a:pt x="711" y="135"/>
                    <a:pt x="712" y="135"/>
                    <a:pt x="713" y="135"/>
                  </a:cubicBezTo>
                  <a:cubicBezTo>
                    <a:pt x="714" y="135"/>
                    <a:pt x="711" y="133"/>
                    <a:pt x="712" y="133"/>
                  </a:cubicBezTo>
                  <a:cubicBezTo>
                    <a:pt x="713" y="133"/>
                    <a:pt x="710" y="132"/>
                    <a:pt x="712" y="132"/>
                  </a:cubicBezTo>
                  <a:cubicBezTo>
                    <a:pt x="712" y="132"/>
                    <a:pt x="714" y="130"/>
                    <a:pt x="715" y="129"/>
                  </a:cubicBezTo>
                  <a:cubicBezTo>
                    <a:pt x="715" y="128"/>
                    <a:pt x="715" y="128"/>
                    <a:pt x="715" y="128"/>
                  </a:cubicBezTo>
                  <a:cubicBezTo>
                    <a:pt x="715" y="128"/>
                    <a:pt x="715" y="128"/>
                    <a:pt x="715" y="128"/>
                  </a:cubicBezTo>
                  <a:cubicBezTo>
                    <a:pt x="715" y="127"/>
                    <a:pt x="715" y="125"/>
                    <a:pt x="716" y="125"/>
                  </a:cubicBezTo>
                  <a:cubicBezTo>
                    <a:pt x="719" y="125"/>
                    <a:pt x="718" y="125"/>
                    <a:pt x="721" y="125"/>
                  </a:cubicBezTo>
                  <a:cubicBezTo>
                    <a:pt x="723" y="125"/>
                    <a:pt x="719" y="127"/>
                    <a:pt x="722" y="128"/>
                  </a:cubicBezTo>
                  <a:cubicBezTo>
                    <a:pt x="725" y="129"/>
                    <a:pt x="722" y="130"/>
                    <a:pt x="726" y="130"/>
                  </a:cubicBezTo>
                  <a:cubicBezTo>
                    <a:pt x="728" y="130"/>
                    <a:pt x="726" y="127"/>
                    <a:pt x="728" y="126"/>
                  </a:cubicBezTo>
                  <a:cubicBezTo>
                    <a:pt x="728" y="126"/>
                    <a:pt x="731" y="122"/>
                    <a:pt x="732" y="122"/>
                  </a:cubicBezTo>
                  <a:cubicBezTo>
                    <a:pt x="736" y="122"/>
                    <a:pt x="729" y="127"/>
                    <a:pt x="731" y="127"/>
                  </a:cubicBezTo>
                  <a:cubicBezTo>
                    <a:pt x="733" y="128"/>
                    <a:pt x="729" y="128"/>
                    <a:pt x="730" y="129"/>
                  </a:cubicBezTo>
                  <a:cubicBezTo>
                    <a:pt x="731" y="129"/>
                    <a:pt x="728" y="130"/>
                    <a:pt x="728" y="131"/>
                  </a:cubicBezTo>
                  <a:cubicBezTo>
                    <a:pt x="729" y="132"/>
                    <a:pt x="724" y="131"/>
                    <a:pt x="724" y="133"/>
                  </a:cubicBezTo>
                  <a:cubicBezTo>
                    <a:pt x="723" y="134"/>
                    <a:pt x="720" y="134"/>
                    <a:pt x="722" y="135"/>
                  </a:cubicBezTo>
                  <a:cubicBezTo>
                    <a:pt x="724" y="136"/>
                    <a:pt x="721" y="136"/>
                    <a:pt x="719" y="138"/>
                  </a:cubicBezTo>
                  <a:cubicBezTo>
                    <a:pt x="718" y="139"/>
                    <a:pt x="716" y="139"/>
                    <a:pt x="716" y="141"/>
                  </a:cubicBezTo>
                  <a:cubicBezTo>
                    <a:pt x="716" y="143"/>
                    <a:pt x="714" y="141"/>
                    <a:pt x="713" y="143"/>
                  </a:cubicBezTo>
                  <a:cubicBezTo>
                    <a:pt x="713" y="145"/>
                    <a:pt x="713" y="145"/>
                    <a:pt x="713" y="147"/>
                  </a:cubicBezTo>
                  <a:cubicBezTo>
                    <a:pt x="713" y="148"/>
                    <a:pt x="713" y="148"/>
                    <a:pt x="713" y="150"/>
                  </a:cubicBezTo>
                  <a:cubicBezTo>
                    <a:pt x="713" y="151"/>
                    <a:pt x="713" y="151"/>
                    <a:pt x="713" y="152"/>
                  </a:cubicBezTo>
                  <a:cubicBezTo>
                    <a:pt x="712" y="153"/>
                    <a:pt x="713" y="153"/>
                    <a:pt x="713" y="154"/>
                  </a:cubicBezTo>
                  <a:cubicBezTo>
                    <a:pt x="713" y="155"/>
                    <a:pt x="715" y="156"/>
                    <a:pt x="714" y="157"/>
                  </a:cubicBezTo>
                  <a:cubicBezTo>
                    <a:pt x="714" y="157"/>
                    <a:pt x="714" y="157"/>
                    <a:pt x="714" y="158"/>
                  </a:cubicBezTo>
                  <a:cubicBezTo>
                    <a:pt x="714" y="159"/>
                    <a:pt x="711" y="157"/>
                    <a:pt x="711" y="163"/>
                  </a:cubicBezTo>
                  <a:cubicBezTo>
                    <a:pt x="711" y="164"/>
                    <a:pt x="711" y="165"/>
                    <a:pt x="711" y="165"/>
                  </a:cubicBezTo>
                  <a:cubicBezTo>
                    <a:pt x="711" y="166"/>
                    <a:pt x="712" y="166"/>
                    <a:pt x="712" y="166"/>
                  </a:cubicBezTo>
                  <a:cubicBezTo>
                    <a:pt x="714" y="165"/>
                    <a:pt x="713" y="164"/>
                    <a:pt x="715" y="163"/>
                  </a:cubicBezTo>
                  <a:cubicBezTo>
                    <a:pt x="716" y="162"/>
                    <a:pt x="717" y="162"/>
                    <a:pt x="718" y="161"/>
                  </a:cubicBezTo>
                  <a:cubicBezTo>
                    <a:pt x="718" y="160"/>
                    <a:pt x="718" y="160"/>
                    <a:pt x="719" y="160"/>
                  </a:cubicBezTo>
                  <a:cubicBezTo>
                    <a:pt x="719" y="160"/>
                    <a:pt x="720" y="159"/>
                    <a:pt x="720" y="158"/>
                  </a:cubicBezTo>
                  <a:cubicBezTo>
                    <a:pt x="721" y="158"/>
                    <a:pt x="720" y="157"/>
                    <a:pt x="720" y="156"/>
                  </a:cubicBezTo>
                  <a:cubicBezTo>
                    <a:pt x="722" y="156"/>
                    <a:pt x="721" y="159"/>
                    <a:pt x="723" y="158"/>
                  </a:cubicBezTo>
                  <a:cubicBezTo>
                    <a:pt x="723" y="156"/>
                    <a:pt x="721" y="153"/>
                    <a:pt x="724" y="151"/>
                  </a:cubicBezTo>
                  <a:cubicBezTo>
                    <a:pt x="725" y="151"/>
                    <a:pt x="726" y="152"/>
                    <a:pt x="727" y="151"/>
                  </a:cubicBezTo>
                  <a:cubicBezTo>
                    <a:pt x="729" y="150"/>
                    <a:pt x="726" y="148"/>
                    <a:pt x="727" y="147"/>
                  </a:cubicBezTo>
                  <a:cubicBezTo>
                    <a:pt x="727" y="147"/>
                    <a:pt x="729" y="146"/>
                    <a:pt x="731" y="146"/>
                  </a:cubicBezTo>
                  <a:cubicBezTo>
                    <a:pt x="733" y="146"/>
                    <a:pt x="732" y="145"/>
                    <a:pt x="732" y="144"/>
                  </a:cubicBezTo>
                  <a:cubicBezTo>
                    <a:pt x="732" y="143"/>
                    <a:pt x="730" y="144"/>
                    <a:pt x="730" y="143"/>
                  </a:cubicBezTo>
                  <a:cubicBezTo>
                    <a:pt x="730" y="143"/>
                    <a:pt x="729" y="141"/>
                    <a:pt x="730" y="141"/>
                  </a:cubicBezTo>
                  <a:cubicBezTo>
                    <a:pt x="731" y="140"/>
                    <a:pt x="730" y="140"/>
                    <a:pt x="730" y="139"/>
                  </a:cubicBezTo>
                  <a:cubicBezTo>
                    <a:pt x="730" y="138"/>
                    <a:pt x="728" y="139"/>
                    <a:pt x="728" y="139"/>
                  </a:cubicBezTo>
                  <a:cubicBezTo>
                    <a:pt x="729" y="138"/>
                    <a:pt x="728" y="137"/>
                    <a:pt x="729" y="136"/>
                  </a:cubicBezTo>
                  <a:cubicBezTo>
                    <a:pt x="731" y="136"/>
                    <a:pt x="731" y="135"/>
                    <a:pt x="731" y="135"/>
                  </a:cubicBezTo>
                  <a:cubicBezTo>
                    <a:pt x="731" y="135"/>
                    <a:pt x="730" y="133"/>
                    <a:pt x="732" y="133"/>
                  </a:cubicBezTo>
                  <a:cubicBezTo>
                    <a:pt x="733" y="132"/>
                    <a:pt x="733" y="133"/>
                    <a:pt x="734" y="133"/>
                  </a:cubicBezTo>
                  <a:cubicBezTo>
                    <a:pt x="735" y="133"/>
                    <a:pt x="736" y="134"/>
                    <a:pt x="737" y="133"/>
                  </a:cubicBezTo>
                  <a:cubicBezTo>
                    <a:pt x="740" y="132"/>
                    <a:pt x="738" y="132"/>
                    <a:pt x="739" y="130"/>
                  </a:cubicBezTo>
                  <a:cubicBezTo>
                    <a:pt x="740" y="130"/>
                    <a:pt x="742" y="131"/>
                    <a:pt x="742" y="131"/>
                  </a:cubicBezTo>
                  <a:cubicBezTo>
                    <a:pt x="742" y="131"/>
                    <a:pt x="743" y="131"/>
                    <a:pt x="744" y="131"/>
                  </a:cubicBezTo>
                  <a:cubicBezTo>
                    <a:pt x="746" y="132"/>
                    <a:pt x="746" y="132"/>
                    <a:pt x="746" y="132"/>
                  </a:cubicBezTo>
                  <a:cubicBezTo>
                    <a:pt x="748" y="132"/>
                    <a:pt x="747" y="130"/>
                    <a:pt x="748" y="130"/>
                  </a:cubicBezTo>
                  <a:cubicBezTo>
                    <a:pt x="748" y="130"/>
                    <a:pt x="748" y="128"/>
                    <a:pt x="749" y="128"/>
                  </a:cubicBezTo>
                  <a:cubicBezTo>
                    <a:pt x="750" y="128"/>
                    <a:pt x="750" y="129"/>
                    <a:pt x="751" y="128"/>
                  </a:cubicBezTo>
                  <a:cubicBezTo>
                    <a:pt x="752" y="128"/>
                    <a:pt x="753" y="127"/>
                    <a:pt x="754" y="127"/>
                  </a:cubicBezTo>
                  <a:cubicBezTo>
                    <a:pt x="755" y="126"/>
                    <a:pt x="755" y="124"/>
                    <a:pt x="756" y="124"/>
                  </a:cubicBezTo>
                  <a:cubicBezTo>
                    <a:pt x="757" y="123"/>
                    <a:pt x="759" y="122"/>
                    <a:pt x="760" y="122"/>
                  </a:cubicBezTo>
                  <a:cubicBezTo>
                    <a:pt x="761" y="122"/>
                    <a:pt x="762" y="123"/>
                    <a:pt x="764" y="123"/>
                  </a:cubicBezTo>
                  <a:cubicBezTo>
                    <a:pt x="764" y="122"/>
                    <a:pt x="766" y="125"/>
                    <a:pt x="766" y="123"/>
                  </a:cubicBezTo>
                  <a:cubicBezTo>
                    <a:pt x="767" y="123"/>
                    <a:pt x="766" y="122"/>
                    <a:pt x="767" y="122"/>
                  </a:cubicBezTo>
                  <a:cubicBezTo>
                    <a:pt x="767" y="121"/>
                    <a:pt x="766" y="120"/>
                    <a:pt x="766" y="119"/>
                  </a:cubicBezTo>
                  <a:cubicBezTo>
                    <a:pt x="764" y="117"/>
                    <a:pt x="764" y="117"/>
                    <a:pt x="764" y="117"/>
                  </a:cubicBezTo>
                  <a:cubicBezTo>
                    <a:pt x="763" y="116"/>
                    <a:pt x="763" y="116"/>
                    <a:pt x="763" y="116"/>
                  </a:cubicBezTo>
                  <a:cubicBezTo>
                    <a:pt x="763" y="115"/>
                    <a:pt x="761" y="114"/>
                    <a:pt x="761" y="113"/>
                  </a:cubicBezTo>
                  <a:cubicBezTo>
                    <a:pt x="761" y="113"/>
                    <a:pt x="762" y="113"/>
                    <a:pt x="762" y="113"/>
                  </a:cubicBezTo>
                  <a:cubicBezTo>
                    <a:pt x="763" y="112"/>
                    <a:pt x="766" y="114"/>
                    <a:pt x="767" y="113"/>
                  </a:cubicBezTo>
                  <a:cubicBezTo>
                    <a:pt x="767" y="113"/>
                    <a:pt x="767" y="111"/>
                    <a:pt x="768" y="111"/>
                  </a:cubicBezTo>
                  <a:cubicBezTo>
                    <a:pt x="769" y="110"/>
                    <a:pt x="768" y="108"/>
                    <a:pt x="768" y="108"/>
                  </a:cubicBezTo>
                  <a:cubicBezTo>
                    <a:pt x="769" y="107"/>
                    <a:pt x="768" y="106"/>
                    <a:pt x="769" y="106"/>
                  </a:cubicBezTo>
                  <a:cubicBezTo>
                    <a:pt x="770" y="105"/>
                    <a:pt x="770" y="111"/>
                    <a:pt x="772" y="110"/>
                  </a:cubicBezTo>
                  <a:cubicBezTo>
                    <a:pt x="772" y="110"/>
                    <a:pt x="773" y="109"/>
                    <a:pt x="774" y="110"/>
                  </a:cubicBezTo>
                  <a:cubicBezTo>
                    <a:pt x="775" y="110"/>
                    <a:pt x="775" y="111"/>
                    <a:pt x="776" y="112"/>
                  </a:cubicBezTo>
                  <a:cubicBezTo>
                    <a:pt x="777" y="113"/>
                    <a:pt x="778" y="113"/>
                    <a:pt x="778" y="114"/>
                  </a:cubicBezTo>
                  <a:cubicBezTo>
                    <a:pt x="778" y="114"/>
                    <a:pt x="780" y="115"/>
                    <a:pt x="781" y="115"/>
                  </a:cubicBezTo>
                  <a:cubicBezTo>
                    <a:pt x="782" y="116"/>
                    <a:pt x="784" y="115"/>
                    <a:pt x="784" y="115"/>
                  </a:cubicBezTo>
                  <a:cubicBezTo>
                    <a:pt x="785" y="114"/>
                    <a:pt x="785" y="112"/>
                    <a:pt x="784" y="111"/>
                  </a:cubicBezTo>
                  <a:cubicBezTo>
                    <a:pt x="784" y="110"/>
                    <a:pt x="785" y="110"/>
                    <a:pt x="786" y="110"/>
                  </a:cubicBezTo>
                  <a:cubicBezTo>
                    <a:pt x="786" y="110"/>
                    <a:pt x="788" y="110"/>
                    <a:pt x="789" y="110"/>
                  </a:cubicBezTo>
                  <a:cubicBezTo>
                    <a:pt x="789" y="109"/>
                    <a:pt x="790" y="108"/>
                    <a:pt x="789" y="106"/>
                  </a:cubicBezTo>
                  <a:close/>
                  <a:moveTo>
                    <a:pt x="651" y="280"/>
                  </a:moveTo>
                  <a:cubicBezTo>
                    <a:pt x="652" y="278"/>
                    <a:pt x="651" y="277"/>
                    <a:pt x="651" y="276"/>
                  </a:cubicBezTo>
                  <a:cubicBezTo>
                    <a:pt x="651" y="274"/>
                    <a:pt x="652" y="273"/>
                    <a:pt x="650" y="271"/>
                  </a:cubicBezTo>
                  <a:cubicBezTo>
                    <a:pt x="648" y="272"/>
                    <a:pt x="649" y="276"/>
                    <a:pt x="649" y="278"/>
                  </a:cubicBezTo>
                  <a:cubicBezTo>
                    <a:pt x="650" y="278"/>
                    <a:pt x="651" y="279"/>
                    <a:pt x="651" y="280"/>
                  </a:cubicBezTo>
                  <a:close/>
                  <a:moveTo>
                    <a:pt x="705" y="284"/>
                  </a:moveTo>
                  <a:cubicBezTo>
                    <a:pt x="705" y="284"/>
                    <a:pt x="703" y="278"/>
                    <a:pt x="701" y="279"/>
                  </a:cubicBezTo>
                  <a:cubicBezTo>
                    <a:pt x="699" y="279"/>
                    <a:pt x="702" y="281"/>
                    <a:pt x="702" y="282"/>
                  </a:cubicBezTo>
                  <a:cubicBezTo>
                    <a:pt x="702" y="283"/>
                    <a:pt x="693" y="285"/>
                    <a:pt x="693" y="284"/>
                  </a:cubicBezTo>
                  <a:cubicBezTo>
                    <a:pt x="693" y="283"/>
                    <a:pt x="692" y="283"/>
                    <a:pt x="691" y="284"/>
                  </a:cubicBezTo>
                  <a:cubicBezTo>
                    <a:pt x="690" y="284"/>
                    <a:pt x="690" y="284"/>
                    <a:pt x="690" y="284"/>
                  </a:cubicBezTo>
                  <a:cubicBezTo>
                    <a:pt x="690" y="283"/>
                    <a:pt x="690" y="283"/>
                    <a:pt x="690" y="283"/>
                  </a:cubicBezTo>
                  <a:cubicBezTo>
                    <a:pt x="690" y="283"/>
                    <a:pt x="690" y="281"/>
                    <a:pt x="689" y="281"/>
                  </a:cubicBezTo>
                  <a:cubicBezTo>
                    <a:pt x="685" y="281"/>
                    <a:pt x="685" y="281"/>
                    <a:pt x="685" y="281"/>
                  </a:cubicBezTo>
                  <a:cubicBezTo>
                    <a:pt x="685" y="281"/>
                    <a:pt x="684" y="280"/>
                    <a:pt x="683" y="280"/>
                  </a:cubicBezTo>
                  <a:cubicBezTo>
                    <a:pt x="683" y="280"/>
                    <a:pt x="682" y="279"/>
                    <a:pt x="682" y="279"/>
                  </a:cubicBezTo>
                  <a:cubicBezTo>
                    <a:pt x="681" y="279"/>
                    <a:pt x="681" y="279"/>
                    <a:pt x="681" y="279"/>
                  </a:cubicBezTo>
                  <a:cubicBezTo>
                    <a:pt x="680" y="279"/>
                    <a:pt x="680" y="278"/>
                    <a:pt x="679" y="278"/>
                  </a:cubicBezTo>
                  <a:cubicBezTo>
                    <a:pt x="678" y="278"/>
                    <a:pt x="678" y="278"/>
                    <a:pt x="677" y="278"/>
                  </a:cubicBezTo>
                  <a:cubicBezTo>
                    <a:pt x="677" y="278"/>
                    <a:pt x="676" y="278"/>
                    <a:pt x="676" y="278"/>
                  </a:cubicBezTo>
                  <a:cubicBezTo>
                    <a:pt x="675" y="278"/>
                    <a:pt x="675" y="277"/>
                    <a:pt x="674" y="277"/>
                  </a:cubicBezTo>
                  <a:cubicBezTo>
                    <a:pt x="674" y="276"/>
                    <a:pt x="674" y="276"/>
                    <a:pt x="674" y="276"/>
                  </a:cubicBezTo>
                  <a:cubicBezTo>
                    <a:pt x="672" y="276"/>
                    <a:pt x="672" y="276"/>
                    <a:pt x="672" y="276"/>
                  </a:cubicBezTo>
                  <a:cubicBezTo>
                    <a:pt x="671" y="276"/>
                    <a:pt x="671" y="276"/>
                    <a:pt x="671" y="276"/>
                  </a:cubicBezTo>
                  <a:cubicBezTo>
                    <a:pt x="670" y="276"/>
                    <a:pt x="670" y="276"/>
                    <a:pt x="670" y="276"/>
                  </a:cubicBezTo>
                  <a:cubicBezTo>
                    <a:pt x="670" y="276"/>
                    <a:pt x="670" y="276"/>
                    <a:pt x="669" y="276"/>
                  </a:cubicBezTo>
                  <a:cubicBezTo>
                    <a:pt x="669" y="276"/>
                    <a:pt x="669" y="275"/>
                    <a:pt x="668" y="275"/>
                  </a:cubicBezTo>
                  <a:cubicBezTo>
                    <a:pt x="668" y="275"/>
                    <a:pt x="667" y="275"/>
                    <a:pt x="667" y="275"/>
                  </a:cubicBezTo>
                  <a:cubicBezTo>
                    <a:pt x="666" y="275"/>
                    <a:pt x="666" y="276"/>
                    <a:pt x="666" y="277"/>
                  </a:cubicBezTo>
                  <a:cubicBezTo>
                    <a:pt x="666" y="277"/>
                    <a:pt x="667" y="277"/>
                    <a:pt x="667" y="277"/>
                  </a:cubicBezTo>
                  <a:cubicBezTo>
                    <a:pt x="668" y="278"/>
                    <a:pt x="668" y="278"/>
                    <a:pt x="668" y="278"/>
                  </a:cubicBezTo>
                  <a:cubicBezTo>
                    <a:pt x="668" y="279"/>
                    <a:pt x="668" y="280"/>
                    <a:pt x="668" y="280"/>
                  </a:cubicBezTo>
                  <a:cubicBezTo>
                    <a:pt x="667" y="280"/>
                    <a:pt x="666" y="278"/>
                    <a:pt x="665" y="278"/>
                  </a:cubicBezTo>
                  <a:cubicBezTo>
                    <a:pt x="664" y="278"/>
                    <a:pt x="664" y="275"/>
                    <a:pt x="663" y="275"/>
                  </a:cubicBezTo>
                  <a:cubicBezTo>
                    <a:pt x="662" y="275"/>
                    <a:pt x="662" y="275"/>
                    <a:pt x="662" y="275"/>
                  </a:cubicBezTo>
                  <a:cubicBezTo>
                    <a:pt x="660" y="275"/>
                    <a:pt x="660" y="275"/>
                    <a:pt x="659" y="275"/>
                  </a:cubicBezTo>
                  <a:cubicBezTo>
                    <a:pt x="658" y="275"/>
                    <a:pt x="659" y="274"/>
                    <a:pt x="659" y="274"/>
                  </a:cubicBezTo>
                  <a:cubicBezTo>
                    <a:pt x="660" y="272"/>
                    <a:pt x="660" y="272"/>
                    <a:pt x="660" y="272"/>
                  </a:cubicBezTo>
                  <a:cubicBezTo>
                    <a:pt x="659" y="271"/>
                    <a:pt x="659" y="271"/>
                    <a:pt x="658" y="271"/>
                  </a:cubicBezTo>
                  <a:cubicBezTo>
                    <a:pt x="658" y="271"/>
                    <a:pt x="658" y="271"/>
                    <a:pt x="657" y="272"/>
                  </a:cubicBezTo>
                  <a:cubicBezTo>
                    <a:pt x="656" y="273"/>
                    <a:pt x="656" y="273"/>
                    <a:pt x="656" y="273"/>
                  </a:cubicBezTo>
                  <a:cubicBezTo>
                    <a:pt x="656" y="273"/>
                    <a:pt x="655" y="273"/>
                    <a:pt x="655" y="274"/>
                  </a:cubicBezTo>
                  <a:cubicBezTo>
                    <a:pt x="655" y="274"/>
                    <a:pt x="655" y="276"/>
                    <a:pt x="656" y="277"/>
                  </a:cubicBezTo>
                  <a:cubicBezTo>
                    <a:pt x="656" y="277"/>
                    <a:pt x="658" y="278"/>
                    <a:pt x="658" y="278"/>
                  </a:cubicBezTo>
                  <a:cubicBezTo>
                    <a:pt x="658" y="279"/>
                    <a:pt x="659" y="279"/>
                    <a:pt x="659" y="279"/>
                  </a:cubicBezTo>
                  <a:cubicBezTo>
                    <a:pt x="659" y="280"/>
                    <a:pt x="660" y="281"/>
                    <a:pt x="660" y="281"/>
                  </a:cubicBezTo>
                  <a:cubicBezTo>
                    <a:pt x="660" y="282"/>
                    <a:pt x="663" y="283"/>
                    <a:pt x="663" y="283"/>
                  </a:cubicBezTo>
                  <a:cubicBezTo>
                    <a:pt x="663" y="284"/>
                    <a:pt x="664" y="287"/>
                    <a:pt x="664" y="287"/>
                  </a:cubicBezTo>
                  <a:cubicBezTo>
                    <a:pt x="666" y="287"/>
                    <a:pt x="665" y="285"/>
                    <a:pt x="666" y="285"/>
                  </a:cubicBezTo>
                  <a:cubicBezTo>
                    <a:pt x="667" y="284"/>
                    <a:pt x="668" y="283"/>
                    <a:pt x="668" y="283"/>
                  </a:cubicBezTo>
                  <a:cubicBezTo>
                    <a:pt x="669" y="283"/>
                    <a:pt x="671" y="284"/>
                    <a:pt x="671" y="284"/>
                  </a:cubicBezTo>
                  <a:cubicBezTo>
                    <a:pt x="671" y="285"/>
                    <a:pt x="673" y="285"/>
                    <a:pt x="673" y="286"/>
                  </a:cubicBezTo>
                  <a:cubicBezTo>
                    <a:pt x="673" y="287"/>
                    <a:pt x="674" y="288"/>
                    <a:pt x="674" y="288"/>
                  </a:cubicBezTo>
                  <a:cubicBezTo>
                    <a:pt x="674" y="289"/>
                    <a:pt x="671" y="290"/>
                    <a:pt x="671" y="291"/>
                  </a:cubicBezTo>
                  <a:cubicBezTo>
                    <a:pt x="671" y="292"/>
                    <a:pt x="674" y="292"/>
                    <a:pt x="674" y="292"/>
                  </a:cubicBezTo>
                  <a:cubicBezTo>
                    <a:pt x="675" y="292"/>
                    <a:pt x="675" y="292"/>
                    <a:pt x="675" y="292"/>
                  </a:cubicBezTo>
                  <a:cubicBezTo>
                    <a:pt x="675" y="292"/>
                    <a:pt x="676" y="293"/>
                    <a:pt x="677" y="292"/>
                  </a:cubicBezTo>
                  <a:cubicBezTo>
                    <a:pt x="677" y="291"/>
                    <a:pt x="677" y="291"/>
                    <a:pt x="678" y="291"/>
                  </a:cubicBezTo>
                  <a:cubicBezTo>
                    <a:pt x="679" y="292"/>
                    <a:pt x="679" y="292"/>
                    <a:pt x="679" y="292"/>
                  </a:cubicBezTo>
                  <a:cubicBezTo>
                    <a:pt x="682" y="292"/>
                    <a:pt x="680" y="292"/>
                    <a:pt x="685" y="292"/>
                  </a:cubicBezTo>
                  <a:cubicBezTo>
                    <a:pt x="685" y="292"/>
                    <a:pt x="686" y="289"/>
                    <a:pt x="687" y="289"/>
                  </a:cubicBezTo>
                  <a:cubicBezTo>
                    <a:pt x="689" y="289"/>
                    <a:pt x="687" y="290"/>
                    <a:pt x="689" y="290"/>
                  </a:cubicBezTo>
                  <a:cubicBezTo>
                    <a:pt x="691" y="290"/>
                    <a:pt x="691" y="293"/>
                    <a:pt x="692" y="293"/>
                  </a:cubicBezTo>
                  <a:cubicBezTo>
                    <a:pt x="693" y="293"/>
                    <a:pt x="693" y="295"/>
                    <a:pt x="695" y="295"/>
                  </a:cubicBezTo>
                  <a:cubicBezTo>
                    <a:pt x="696" y="295"/>
                    <a:pt x="697" y="294"/>
                    <a:pt x="698" y="294"/>
                  </a:cubicBezTo>
                  <a:cubicBezTo>
                    <a:pt x="699" y="294"/>
                    <a:pt x="699" y="296"/>
                    <a:pt x="700" y="296"/>
                  </a:cubicBezTo>
                  <a:cubicBezTo>
                    <a:pt x="701" y="296"/>
                    <a:pt x="702" y="295"/>
                    <a:pt x="702" y="295"/>
                  </a:cubicBezTo>
                  <a:cubicBezTo>
                    <a:pt x="702" y="295"/>
                    <a:pt x="702" y="295"/>
                    <a:pt x="702" y="292"/>
                  </a:cubicBezTo>
                  <a:cubicBezTo>
                    <a:pt x="702" y="292"/>
                    <a:pt x="704" y="291"/>
                    <a:pt x="702" y="290"/>
                  </a:cubicBezTo>
                  <a:cubicBezTo>
                    <a:pt x="699" y="289"/>
                    <a:pt x="700" y="292"/>
                    <a:pt x="699" y="291"/>
                  </a:cubicBezTo>
                  <a:cubicBezTo>
                    <a:pt x="698" y="291"/>
                    <a:pt x="697" y="291"/>
                    <a:pt x="697" y="290"/>
                  </a:cubicBezTo>
                  <a:cubicBezTo>
                    <a:pt x="697" y="289"/>
                    <a:pt x="694" y="287"/>
                    <a:pt x="694" y="286"/>
                  </a:cubicBezTo>
                  <a:cubicBezTo>
                    <a:pt x="694" y="285"/>
                    <a:pt x="705" y="285"/>
                    <a:pt x="705" y="284"/>
                  </a:cubicBezTo>
                  <a:close/>
                  <a:moveTo>
                    <a:pt x="665" y="269"/>
                  </a:moveTo>
                  <a:cubicBezTo>
                    <a:pt x="665" y="265"/>
                    <a:pt x="663" y="263"/>
                    <a:pt x="660" y="265"/>
                  </a:cubicBezTo>
                  <a:cubicBezTo>
                    <a:pt x="660" y="266"/>
                    <a:pt x="661" y="266"/>
                    <a:pt x="661" y="266"/>
                  </a:cubicBezTo>
                  <a:cubicBezTo>
                    <a:pt x="662" y="269"/>
                    <a:pt x="662" y="269"/>
                    <a:pt x="665" y="269"/>
                  </a:cubicBezTo>
                  <a:close/>
                  <a:moveTo>
                    <a:pt x="652" y="239"/>
                  </a:moveTo>
                  <a:cubicBezTo>
                    <a:pt x="652" y="239"/>
                    <a:pt x="652" y="239"/>
                    <a:pt x="652" y="239"/>
                  </a:cubicBezTo>
                  <a:cubicBezTo>
                    <a:pt x="654" y="239"/>
                    <a:pt x="654" y="240"/>
                    <a:pt x="654" y="242"/>
                  </a:cubicBezTo>
                  <a:cubicBezTo>
                    <a:pt x="654" y="242"/>
                    <a:pt x="655" y="249"/>
                    <a:pt x="657" y="247"/>
                  </a:cubicBezTo>
                  <a:cubicBezTo>
                    <a:pt x="658" y="246"/>
                    <a:pt x="658" y="242"/>
                    <a:pt x="658" y="241"/>
                  </a:cubicBezTo>
                  <a:cubicBezTo>
                    <a:pt x="657" y="239"/>
                    <a:pt x="654" y="237"/>
                    <a:pt x="652" y="236"/>
                  </a:cubicBezTo>
                  <a:cubicBezTo>
                    <a:pt x="652" y="237"/>
                    <a:pt x="652" y="238"/>
                    <a:pt x="652" y="239"/>
                  </a:cubicBezTo>
                  <a:close/>
                  <a:moveTo>
                    <a:pt x="650" y="278"/>
                  </a:moveTo>
                  <a:cubicBezTo>
                    <a:pt x="649" y="278"/>
                    <a:pt x="649" y="278"/>
                    <a:pt x="649" y="278"/>
                  </a:cubicBezTo>
                  <a:cubicBezTo>
                    <a:pt x="649" y="278"/>
                    <a:pt x="649" y="278"/>
                    <a:pt x="649" y="278"/>
                  </a:cubicBezTo>
                  <a:cubicBezTo>
                    <a:pt x="650" y="278"/>
                    <a:pt x="650" y="278"/>
                    <a:pt x="650" y="278"/>
                  </a:cubicBezTo>
                  <a:close/>
                  <a:moveTo>
                    <a:pt x="639" y="274"/>
                  </a:moveTo>
                  <a:cubicBezTo>
                    <a:pt x="641" y="274"/>
                    <a:pt x="645" y="275"/>
                    <a:pt x="645" y="273"/>
                  </a:cubicBezTo>
                  <a:cubicBezTo>
                    <a:pt x="646" y="273"/>
                    <a:pt x="646" y="270"/>
                    <a:pt x="645" y="270"/>
                  </a:cubicBezTo>
                  <a:cubicBezTo>
                    <a:pt x="644" y="270"/>
                    <a:pt x="644" y="271"/>
                    <a:pt x="643" y="271"/>
                  </a:cubicBezTo>
                  <a:cubicBezTo>
                    <a:pt x="642" y="271"/>
                    <a:pt x="640" y="271"/>
                    <a:pt x="640" y="271"/>
                  </a:cubicBezTo>
                  <a:cubicBezTo>
                    <a:pt x="639" y="271"/>
                    <a:pt x="637" y="271"/>
                    <a:pt x="636" y="271"/>
                  </a:cubicBezTo>
                  <a:cubicBezTo>
                    <a:pt x="635" y="271"/>
                    <a:pt x="634" y="272"/>
                    <a:pt x="634" y="273"/>
                  </a:cubicBezTo>
                  <a:cubicBezTo>
                    <a:pt x="633" y="273"/>
                    <a:pt x="633" y="276"/>
                    <a:pt x="632" y="276"/>
                  </a:cubicBezTo>
                  <a:cubicBezTo>
                    <a:pt x="632" y="277"/>
                    <a:pt x="631" y="277"/>
                    <a:pt x="631" y="278"/>
                  </a:cubicBezTo>
                  <a:cubicBezTo>
                    <a:pt x="631" y="279"/>
                    <a:pt x="631" y="280"/>
                    <a:pt x="631" y="281"/>
                  </a:cubicBezTo>
                  <a:cubicBezTo>
                    <a:pt x="631" y="281"/>
                    <a:pt x="632" y="282"/>
                    <a:pt x="633" y="282"/>
                  </a:cubicBezTo>
                  <a:cubicBezTo>
                    <a:pt x="633" y="282"/>
                    <a:pt x="632" y="284"/>
                    <a:pt x="632" y="285"/>
                  </a:cubicBezTo>
                  <a:cubicBezTo>
                    <a:pt x="633" y="285"/>
                    <a:pt x="634" y="287"/>
                    <a:pt x="635" y="287"/>
                  </a:cubicBezTo>
                  <a:cubicBezTo>
                    <a:pt x="636" y="287"/>
                    <a:pt x="635" y="283"/>
                    <a:pt x="636" y="283"/>
                  </a:cubicBezTo>
                  <a:cubicBezTo>
                    <a:pt x="637" y="283"/>
                    <a:pt x="639" y="285"/>
                    <a:pt x="639" y="285"/>
                  </a:cubicBezTo>
                  <a:cubicBezTo>
                    <a:pt x="640" y="286"/>
                    <a:pt x="641" y="285"/>
                    <a:pt x="642" y="284"/>
                  </a:cubicBezTo>
                  <a:cubicBezTo>
                    <a:pt x="642" y="283"/>
                    <a:pt x="641" y="282"/>
                    <a:pt x="641" y="282"/>
                  </a:cubicBezTo>
                  <a:cubicBezTo>
                    <a:pt x="641" y="282"/>
                    <a:pt x="643" y="281"/>
                    <a:pt x="643" y="280"/>
                  </a:cubicBezTo>
                  <a:cubicBezTo>
                    <a:pt x="643" y="279"/>
                    <a:pt x="639" y="279"/>
                    <a:pt x="639" y="279"/>
                  </a:cubicBezTo>
                  <a:cubicBezTo>
                    <a:pt x="639" y="278"/>
                    <a:pt x="640" y="278"/>
                    <a:pt x="640" y="278"/>
                  </a:cubicBezTo>
                  <a:cubicBezTo>
                    <a:pt x="641" y="278"/>
                    <a:pt x="644" y="278"/>
                    <a:pt x="644" y="278"/>
                  </a:cubicBezTo>
                  <a:cubicBezTo>
                    <a:pt x="644" y="277"/>
                    <a:pt x="643" y="277"/>
                    <a:pt x="643" y="276"/>
                  </a:cubicBezTo>
                  <a:cubicBezTo>
                    <a:pt x="642" y="276"/>
                    <a:pt x="642" y="276"/>
                    <a:pt x="642" y="276"/>
                  </a:cubicBezTo>
                  <a:cubicBezTo>
                    <a:pt x="642" y="275"/>
                    <a:pt x="638" y="275"/>
                    <a:pt x="638" y="274"/>
                  </a:cubicBezTo>
                  <a:cubicBezTo>
                    <a:pt x="638" y="274"/>
                    <a:pt x="638" y="274"/>
                    <a:pt x="639" y="274"/>
                  </a:cubicBezTo>
                  <a:close/>
                  <a:moveTo>
                    <a:pt x="394" y="26"/>
                  </a:moveTo>
                  <a:cubicBezTo>
                    <a:pt x="394" y="30"/>
                    <a:pt x="394" y="29"/>
                    <a:pt x="397" y="31"/>
                  </a:cubicBezTo>
                  <a:cubicBezTo>
                    <a:pt x="398" y="31"/>
                    <a:pt x="398" y="32"/>
                    <a:pt x="399" y="32"/>
                  </a:cubicBezTo>
                  <a:cubicBezTo>
                    <a:pt x="400" y="33"/>
                    <a:pt x="401" y="32"/>
                    <a:pt x="402" y="32"/>
                  </a:cubicBezTo>
                  <a:cubicBezTo>
                    <a:pt x="402" y="31"/>
                    <a:pt x="401" y="30"/>
                    <a:pt x="402" y="29"/>
                  </a:cubicBezTo>
                  <a:cubicBezTo>
                    <a:pt x="402" y="27"/>
                    <a:pt x="403" y="26"/>
                    <a:pt x="404" y="24"/>
                  </a:cubicBezTo>
                  <a:cubicBezTo>
                    <a:pt x="402" y="23"/>
                    <a:pt x="402" y="26"/>
                    <a:pt x="400" y="25"/>
                  </a:cubicBezTo>
                  <a:cubicBezTo>
                    <a:pt x="399" y="25"/>
                    <a:pt x="399" y="23"/>
                    <a:pt x="397" y="23"/>
                  </a:cubicBezTo>
                  <a:cubicBezTo>
                    <a:pt x="397" y="24"/>
                    <a:pt x="397" y="25"/>
                    <a:pt x="395" y="26"/>
                  </a:cubicBezTo>
                  <a:cubicBezTo>
                    <a:pt x="395" y="25"/>
                    <a:pt x="395" y="24"/>
                    <a:pt x="395" y="24"/>
                  </a:cubicBezTo>
                  <a:cubicBezTo>
                    <a:pt x="394" y="24"/>
                    <a:pt x="394" y="24"/>
                    <a:pt x="394" y="24"/>
                  </a:cubicBezTo>
                  <a:cubicBezTo>
                    <a:pt x="394" y="24"/>
                    <a:pt x="393" y="26"/>
                    <a:pt x="394" y="26"/>
                  </a:cubicBezTo>
                  <a:cubicBezTo>
                    <a:pt x="394" y="26"/>
                    <a:pt x="394" y="26"/>
                    <a:pt x="394" y="26"/>
                  </a:cubicBezTo>
                  <a:close/>
                  <a:moveTo>
                    <a:pt x="387" y="35"/>
                  </a:moveTo>
                  <a:cubicBezTo>
                    <a:pt x="389" y="37"/>
                    <a:pt x="387" y="39"/>
                    <a:pt x="385" y="40"/>
                  </a:cubicBezTo>
                  <a:cubicBezTo>
                    <a:pt x="385" y="40"/>
                    <a:pt x="385" y="40"/>
                    <a:pt x="385" y="40"/>
                  </a:cubicBezTo>
                  <a:cubicBezTo>
                    <a:pt x="385" y="40"/>
                    <a:pt x="385" y="40"/>
                    <a:pt x="385" y="40"/>
                  </a:cubicBezTo>
                  <a:cubicBezTo>
                    <a:pt x="386" y="40"/>
                    <a:pt x="387" y="40"/>
                    <a:pt x="388" y="40"/>
                  </a:cubicBezTo>
                  <a:cubicBezTo>
                    <a:pt x="387" y="42"/>
                    <a:pt x="386" y="43"/>
                    <a:pt x="387" y="45"/>
                  </a:cubicBezTo>
                  <a:cubicBezTo>
                    <a:pt x="387" y="45"/>
                    <a:pt x="388" y="45"/>
                    <a:pt x="389" y="45"/>
                  </a:cubicBezTo>
                  <a:cubicBezTo>
                    <a:pt x="388" y="46"/>
                    <a:pt x="387" y="46"/>
                    <a:pt x="386" y="46"/>
                  </a:cubicBezTo>
                  <a:cubicBezTo>
                    <a:pt x="386" y="48"/>
                    <a:pt x="387" y="50"/>
                    <a:pt x="388" y="51"/>
                  </a:cubicBezTo>
                  <a:cubicBezTo>
                    <a:pt x="392" y="51"/>
                    <a:pt x="390" y="42"/>
                    <a:pt x="393" y="40"/>
                  </a:cubicBezTo>
                  <a:cubicBezTo>
                    <a:pt x="394" y="42"/>
                    <a:pt x="394" y="43"/>
                    <a:pt x="395" y="44"/>
                  </a:cubicBezTo>
                  <a:cubicBezTo>
                    <a:pt x="395" y="46"/>
                    <a:pt x="394" y="48"/>
                    <a:pt x="397" y="47"/>
                  </a:cubicBezTo>
                  <a:cubicBezTo>
                    <a:pt x="398" y="47"/>
                    <a:pt x="399" y="41"/>
                    <a:pt x="398" y="39"/>
                  </a:cubicBezTo>
                  <a:cubicBezTo>
                    <a:pt x="397" y="38"/>
                    <a:pt x="396" y="38"/>
                    <a:pt x="395" y="37"/>
                  </a:cubicBezTo>
                  <a:cubicBezTo>
                    <a:pt x="394" y="35"/>
                    <a:pt x="394" y="37"/>
                    <a:pt x="394" y="34"/>
                  </a:cubicBezTo>
                  <a:cubicBezTo>
                    <a:pt x="394" y="32"/>
                    <a:pt x="394" y="31"/>
                    <a:pt x="392" y="30"/>
                  </a:cubicBezTo>
                  <a:cubicBezTo>
                    <a:pt x="391" y="29"/>
                    <a:pt x="390" y="30"/>
                    <a:pt x="390" y="27"/>
                  </a:cubicBezTo>
                  <a:cubicBezTo>
                    <a:pt x="389" y="27"/>
                    <a:pt x="387" y="28"/>
                    <a:pt x="386" y="28"/>
                  </a:cubicBezTo>
                  <a:cubicBezTo>
                    <a:pt x="386" y="29"/>
                    <a:pt x="386" y="30"/>
                    <a:pt x="386" y="30"/>
                  </a:cubicBezTo>
                  <a:cubicBezTo>
                    <a:pt x="385" y="29"/>
                    <a:pt x="385" y="29"/>
                    <a:pt x="385" y="29"/>
                  </a:cubicBezTo>
                  <a:cubicBezTo>
                    <a:pt x="384" y="31"/>
                    <a:pt x="384" y="34"/>
                    <a:pt x="382" y="33"/>
                  </a:cubicBezTo>
                  <a:cubicBezTo>
                    <a:pt x="383" y="35"/>
                    <a:pt x="385" y="33"/>
                    <a:pt x="387" y="35"/>
                  </a:cubicBezTo>
                  <a:close/>
                  <a:moveTo>
                    <a:pt x="349" y="162"/>
                  </a:moveTo>
                  <a:cubicBezTo>
                    <a:pt x="349" y="162"/>
                    <a:pt x="350" y="163"/>
                    <a:pt x="350" y="163"/>
                  </a:cubicBezTo>
                  <a:cubicBezTo>
                    <a:pt x="351" y="163"/>
                    <a:pt x="352" y="163"/>
                    <a:pt x="352" y="163"/>
                  </a:cubicBezTo>
                  <a:cubicBezTo>
                    <a:pt x="353" y="163"/>
                    <a:pt x="353" y="163"/>
                    <a:pt x="354" y="163"/>
                  </a:cubicBezTo>
                  <a:cubicBezTo>
                    <a:pt x="354" y="162"/>
                    <a:pt x="354" y="162"/>
                    <a:pt x="354" y="162"/>
                  </a:cubicBezTo>
                  <a:cubicBezTo>
                    <a:pt x="355" y="161"/>
                    <a:pt x="355" y="161"/>
                    <a:pt x="355" y="161"/>
                  </a:cubicBezTo>
                  <a:cubicBezTo>
                    <a:pt x="356" y="160"/>
                    <a:pt x="356" y="161"/>
                    <a:pt x="357" y="160"/>
                  </a:cubicBezTo>
                  <a:cubicBezTo>
                    <a:pt x="358" y="160"/>
                    <a:pt x="358" y="160"/>
                    <a:pt x="358" y="160"/>
                  </a:cubicBezTo>
                  <a:cubicBezTo>
                    <a:pt x="358" y="159"/>
                    <a:pt x="358" y="160"/>
                    <a:pt x="358" y="159"/>
                  </a:cubicBezTo>
                  <a:cubicBezTo>
                    <a:pt x="359" y="158"/>
                    <a:pt x="359" y="158"/>
                    <a:pt x="359" y="158"/>
                  </a:cubicBezTo>
                  <a:cubicBezTo>
                    <a:pt x="359" y="157"/>
                    <a:pt x="359" y="157"/>
                    <a:pt x="359" y="157"/>
                  </a:cubicBezTo>
                  <a:cubicBezTo>
                    <a:pt x="359" y="155"/>
                    <a:pt x="359" y="155"/>
                    <a:pt x="359" y="155"/>
                  </a:cubicBezTo>
                  <a:cubicBezTo>
                    <a:pt x="358" y="154"/>
                    <a:pt x="358" y="154"/>
                    <a:pt x="358" y="154"/>
                  </a:cubicBezTo>
                  <a:cubicBezTo>
                    <a:pt x="357" y="153"/>
                    <a:pt x="357" y="153"/>
                    <a:pt x="357" y="153"/>
                  </a:cubicBezTo>
                  <a:cubicBezTo>
                    <a:pt x="357" y="150"/>
                    <a:pt x="357" y="150"/>
                    <a:pt x="357" y="150"/>
                  </a:cubicBezTo>
                  <a:cubicBezTo>
                    <a:pt x="356" y="150"/>
                    <a:pt x="355" y="149"/>
                    <a:pt x="354" y="149"/>
                  </a:cubicBezTo>
                  <a:cubicBezTo>
                    <a:pt x="352" y="151"/>
                    <a:pt x="352" y="151"/>
                    <a:pt x="352" y="151"/>
                  </a:cubicBezTo>
                  <a:cubicBezTo>
                    <a:pt x="351" y="152"/>
                    <a:pt x="351" y="152"/>
                    <a:pt x="351" y="152"/>
                  </a:cubicBezTo>
                  <a:cubicBezTo>
                    <a:pt x="351" y="153"/>
                    <a:pt x="349" y="152"/>
                    <a:pt x="349" y="153"/>
                  </a:cubicBezTo>
                  <a:cubicBezTo>
                    <a:pt x="348" y="153"/>
                    <a:pt x="349" y="155"/>
                    <a:pt x="349" y="155"/>
                  </a:cubicBezTo>
                  <a:cubicBezTo>
                    <a:pt x="349" y="156"/>
                    <a:pt x="349" y="156"/>
                    <a:pt x="349" y="156"/>
                  </a:cubicBezTo>
                  <a:cubicBezTo>
                    <a:pt x="349" y="157"/>
                    <a:pt x="349" y="157"/>
                    <a:pt x="349" y="157"/>
                  </a:cubicBezTo>
                  <a:cubicBezTo>
                    <a:pt x="348" y="157"/>
                    <a:pt x="348" y="157"/>
                    <a:pt x="348" y="157"/>
                  </a:cubicBezTo>
                  <a:cubicBezTo>
                    <a:pt x="348" y="160"/>
                    <a:pt x="348" y="160"/>
                    <a:pt x="348" y="160"/>
                  </a:cubicBezTo>
                  <a:cubicBezTo>
                    <a:pt x="348" y="161"/>
                    <a:pt x="348" y="161"/>
                    <a:pt x="348" y="161"/>
                  </a:cubicBezTo>
                  <a:cubicBezTo>
                    <a:pt x="349" y="162"/>
                    <a:pt x="349" y="162"/>
                    <a:pt x="349" y="162"/>
                  </a:cubicBezTo>
                  <a:close/>
                  <a:moveTo>
                    <a:pt x="193" y="228"/>
                  </a:moveTo>
                  <a:cubicBezTo>
                    <a:pt x="188" y="228"/>
                    <a:pt x="190" y="231"/>
                    <a:pt x="190" y="232"/>
                  </a:cubicBezTo>
                  <a:cubicBezTo>
                    <a:pt x="190" y="234"/>
                    <a:pt x="197" y="234"/>
                    <a:pt x="198" y="233"/>
                  </a:cubicBezTo>
                  <a:cubicBezTo>
                    <a:pt x="202" y="233"/>
                    <a:pt x="209" y="234"/>
                    <a:pt x="208" y="232"/>
                  </a:cubicBezTo>
                  <a:cubicBezTo>
                    <a:pt x="205" y="228"/>
                    <a:pt x="196" y="228"/>
                    <a:pt x="193" y="228"/>
                  </a:cubicBezTo>
                  <a:close/>
                  <a:moveTo>
                    <a:pt x="281" y="4"/>
                  </a:moveTo>
                  <a:cubicBezTo>
                    <a:pt x="281" y="4"/>
                    <a:pt x="282" y="5"/>
                    <a:pt x="282" y="5"/>
                  </a:cubicBezTo>
                  <a:cubicBezTo>
                    <a:pt x="283" y="5"/>
                    <a:pt x="283" y="5"/>
                    <a:pt x="283" y="5"/>
                  </a:cubicBezTo>
                  <a:cubicBezTo>
                    <a:pt x="284" y="5"/>
                    <a:pt x="284" y="5"/>
                    <a:pt x="284" y="5"/>
                  </a:cubicBezTo>
                  <a:cubicBezTo>
                    <a:pt x="285" y="5"/>
                    <a:pt x="285" y="5"/>
                    <a:pt x="286" y="5"/>
                  </a:cubicBezTo>
                  <a:cubicBezTo>
                    <a:pt x="287" y="5"/>
                    <a:pt x="287" y="4"/>
                    <a:pt x="288" y="4"/>
                  </a:cubicBezTo>
                  <a:cubicBezTo>
                    <a:pt x="289" y="4"/>
                    <a:pt x="289" y="4"/>
                    <a:pt x="289" y="4"/>
                  </a:cubicBezTo>
                  <a:cubicBezTo>
                    <a:pt x="289" y="3"/>
                    <a:pt x="289" y="3"/>
                    <a:pt x="289" y="3"/>
                  </a:cubicBezTo>
                  <a:cubicBezTo>
                    <a:pt x="288" y="2"/>
                    <a:pt x="287" y="2"/>
                    <a:pt x="287" y="2"/>
                  </a:cubicBezTo>
                  <a:cubicBezTo>
                    <a:pt x="286" y="2"/>
                    <a:pt x="286" y="2"/>
                    <a:pt x="286" y="3"/>
                  </a:cubicBezTo>
                  <a:cubicBezTo>
                    <a:pt x="286" y="3"/>
                    <a:pt x="285" y="4"/>
                    <a:pt x="285" y="4"/>
                  </a:cubicBezTo>
                  <a:cubicBezTo>
                    <a:pt x="285" y="3"/>
                    <a:pt x="284" y="2"/>
                    <a:pt x="284" y="3"/>
                  </a:cubicBezTo>
                  <a:cubicBezTo>
                    <a:pt x="283" y="3"/>
                    <a:pt x="283" y="3"/>
                    <a:pt x="283" y="3"/>
                  </a:cubicBezTo>
                  <a:cubicBezTo>
                    <a:pt x="284" y="3"/>
                    <a:pt x="284" y="3"/>
                    <a:pt x="284" y="3"/>
                  </a:cubicBezTo>
                  <a:cubicBezTo>
                    <a:pt x="283" y="2"/>
                    <a:pt x="283" y="2"/>
                    <a:pt x="283" y="2"/>
                  </a:cubicBezTo>
                  <a:cubicBezTo>
                    <a:pt x="283" y="3"/>
                    <a:pt x="283" y="3"/>
                    <a:pt x="283" y="3"/>
                  </a:cubicBezTo>
                  <a:cubicBezTo>
                    <a:pt x="282" y="3"/>
                    <a:pt x="282" y="3"/>
                    <a:pt x="282" y="3"/>
                  </a:cubicBezTo>
                  <a:cubicBezTo>
                    <a:pt x="281" y="3"/>
                    <a:pt x="281" y="3"/>
                    <a:pt x="281" y="3"/>
                  </a:cubicBezTo>
                  <a:cubicBezTo>
                    <a:pt x="281" y="4"/>
                    <a:pt x="281" y="4"/>
                    <a:pt x="281" y="4"/>
                  </a:cubicBezTo>
                  <a:close/>
                  <a:moveTo>
                    <a:pt x="481" y="87"/>
                  </a:moveTo>
                  <a:cubicBezTo>
                    <a:pt x="481" y="87"/>
                    <a:pt x="481" y="87"/>
                    <a:pt x="481" y="87"/>
                  </a:cubicBezTo>
                  <a:cubicBezTo>
                    <a:pt x="481" y="88"/>
                    <a:pt x="481" y="89"/>
                    <a:pt x="481" y="91"/>
                  </a:cubicBezTo>
                  <a:cubicBezTo>
                    <a:pt x="487" y="93"/>
                    <a:pt x="483" y="84"/>
                    <a:pt x="481" y="87"/>
                  </a:cubicBezTo>
                  <a:close/>
                  <a:moveTo>
                    <a:pt x="690" y="65"/>
                  </a:moveTo>
                  <a:cubicBezTo>
                    <a:pt x="690" y="64"/>
                    <a:pt x="690" y="64"/>
                    <a:pt x="690" y="64"/>
                  </a:cubicBezTo>
                  <a:cubicBezTo>
                    <a:pt x="689" y="65"/>
                    <a:pt x="689" y="67"/>
                    <a:pt x="689" y="68"/>
                  </a:cubicBezTo>
                  <a:cubicBezTo>
                    <a:pt x="695" y="70"/>
                    <a:pt x="691" y="62"/>
                    <a:pt x="690" y="65"/>
                  </a:cubicBezTo>
                  <a:close/>
                  <a:moveTo>
                    <a:pt x="484" y="81"/>
                  </a:moveTo>
                  <a:cubicBezTo>
                    <a:pt x="485" y="82"/>
                    <a:pt x="486" y="81"/>
                    <a:pt x="487" y="82"/>
                  </a:cubicBezTo>
                  <a:cubicBezTo>
                    <a:pt x="488" y="82"/>
                    <a:pt x="490" y="84"/>
                    <a:pt x="490" y="84"/>
                  </a:cubicBezTo>
                  <a:cubicBezTo>
                    <a:pt x="490" y="86"/>
                    <a:pt x="495" y="86"/>
                    <a:pt x="496" y="86"/>
                  </a:cubicBezTo>
                  <a:cubicBezTo>
                    <a:pt x="498" y="85"/>
                    <a:pt x="496" y="84"/>
                    <a:pt x="494" y="81"/>
                  </a:cubicBezTo>
                  <a:cubicBezTo>
                    <a:pt x="494" y="79"/>
                    <a:pt x="493" y="76"/>
                    <a:pt x="493" y="75"/>
                  </a:cubicBezTo>
                  <a:cubicBezTo>
                    <a:pt x="493" y="73"/>
                    <a:pt x="493" y="70"/>
                    <a:pt x="497" y="68"/>
                  </a:cubicBezTo>
                  <a:cubicBezTo>
                    <a:pt x="498" y="68"/>
                    <a:pt x="497" y="64"/>
                    <a:pt x="498" y="64"/>
                  </a:cubicBezTo>
                  <a:cubicBezTo>
                    <a:pt x="499" y="62"/>
                    <a:pt x="501" y="62"/>
                    <a:pt x="502" y="61"/>
                  </a:cubicBezTo>
                  <a:cubicBezTo>
                    <a:pt x="502" y="60"/>
                    <a:pt x="504" y="59"/>
                    <a:pt x="504" y="58"/>
                  </a:cubicBezTo>
                  <a:cubicBezTo>
                    <a:pt x="504" y="57"/>
                    <a:pt x="509" y="58"/>
                    <a:pt x="509" y="57"/>
                  </a:cubicBezTo>
                  <a:cubicBezTo>
                    <a:pt x="509" y="55"/>
                    <a:pt x="510" y="53"/>
                    <a:pt x="510" y="52"/>
                  </a:cubicBezTo>
                  <a:cubicBezTo>
                    <a:pt x="510" y="51"/>
                    <a:pt x="516" y="53"/>
                    <a:pt x="515" y="51"/>
                  </a:cubicBezTo>
                  <a:cubicBezTo>
                    <a:pt x="514" y="50"/>
                    <a:pt x="520" y="50"/>
                    <a:pt x="519" y="48"/>
                  </a:cubicBezTo>
                  <a:cubicBezTo>
                    <a:pt x="518" y="48"/>
                    <a:pt x="523" y="46"/>
                    <a:pt x="522" y="45"/>
                  </a:cubicBezTo>
                  <a:cubicBezTo>
                    <a:pt x="520" y="44"/>
                    <a:pt x="523" y="43"/>
                    <a:pt x="521" y="42"/>
                  </a:cubicBezTo>
                  <a:cubicBezTo>
                    <a:pt x="519" y="41"/>
                    <a:pt x="519" y="42"/>
                    <a:pt x="516" y="42"/>
                  </a:cubicBezTo>
                  <a:cubicBezTo>
                    <a:pt x="514" y="41"/>
                    <a:pt x="516" y="44"/>
                    <a:pt x="514" y="45"/>
                  </a:cubicBezTo>
                  <a:cubicBezTo>
                    <a:pt x="514" y="45"/>
                    <a:pt x="510" y="47"/>
                    <a:pt x="509" y="47"/>
                  </a:cubicBezTo>
                  <a:cubicBezTo>
                    <a:pt x="509" y="48"/>
                    <a:pt x="504" y="47"/>
                    <a:pt x="501" y="48"/>
                  </a:cubicBezTo>
                  <a:cubicBezTo>
                    <a:pt x="500" y="49"/>
                    <a:pt x="498" y="51"/>
                    <a:pt x="498" y="51"/>
                  </a:cubicBezTo>
                  <a:cubicBezTo>
                    <a:pt x="497" y="51"/>
                    <a:pt x="497" y="53"/>
                    <a:pt x="496" y="53"/>
                  </a:cubicBezTo>
                  <a:cubicBezTo>
                    <a:pt x="495" y="54"/>
                    <a:pt x="495" y="55"/>
                    <a:pt x="494" y="55"/>
                  </a:cubicBezTo>
                  <a:cubicBezTo>
                    <a:pt x="491" y="56"/>
                    <a:pt x="491" y="56"/>
                    <a:pt x="491" y="56"/>
                  </a:cubicBezTo>
                  <a:cubicBezTo>
                    <a:pt x="490" y="58"/>
                    <a:pt x="493" y="58"/>
                    <a:pt x="492" y="59"/>
                  </a:cubicBezTo>
                  <a:cubicBezTo>
                    <a:pt x="491" y="60"/>
                    <a:pt x="490" y="61"/>
                    <a:pt x="490" y="61"/>
                  </a:cubicBezTo>
                  <a:cubicBezTo>
                    <a:pt x="490" y="62"/>
                    <a:pt x="488" y="63"/>
                    <a:pt x="488" y="64"/>
                  </a:cubicBezTo>
                  <a:cubicBezTo>
                    <a:pt x="488" y="65"/>
                    <a:pt x="488" y="68"/>
                    <a:pt x="488" y="68"/>
                  </a:cubicBezTo>
                  <a:cubicBezTo>
                    <a:pt x="488" y="69"/>
                    <a:pt x="487" y="69"/>
                    <a:pt x="487" y="70"/>
                  </a:cubicBezTo>
                  <a:cubicBezTo>
                    <a:pt x="487" y="71"/>
                    <a:pt x="484" y="70"/>
                    <a:pt x="484" y="71"/>
                  </a:cubicBezTo>
                  <a:cubicBezTo>
                    <a:pt x="484" y="74"/>
                    <a:pt x="485" y="72"/>
                    <a:pt x="486" y="74"/>
                  </a:cubicBezTo>
                  <a:cubicBezTo>
                    <a:pt x="486" y="75"/>
                    <a:pt x="484" y="74"/>
                    <a:pt x="484" y="75"/>
                  </a:cubicBezTo>
                  <a:cubicBezTo>
                    <a:pt x="483" y="76"/>
                    <a:pt x="481" y="78"/>
                    <a:pt x="482" y="79"/>
                  </a:cubicBezTo>
                  <a:cubicBezTo>
                    <a:pt x="482" y="80"/>
                    <a:pt x="483" y="80"/>
                    <a:pt x="484" y="81"/>
                  </a:cubicBezTo>
                  <a:close/>
                  <a:moveTo>
                    <a:pt x="680" y="63"/>
                  </a:moveTo>
                  <a:cubicBezTo>
                    <a:pt x="680" y="63"/>
                    <a:pt x="680" y="63"/>
                    <a:pt x="680" y="63"/>
                  </a:cubicBezTo>
                  <a:cubicBezTo>
                    <a:pt x="681" y="64"/>
                    <a:pt x="682" y="65"/>
                    <a:pt x="683" y="66"/>
                  </a:cubicBezTo>
                  <a:cubicBezTo>
                    <a:pt x="688" y="67"/>
                    <a:pt x="687" y="62"/>
                    <a:pt x="686" y="58"/>
                  </a:cubicBezTo>
                  <a:cubicBezTo>
                    <a:pt x="684" y="60"/>
                    <a:pt x="681" y="53"/>
                    <a:pt x="676" y="54"/>
                  </a:cubicBezTo>
                  <a:cubicBezTo>
                    <a:pt x="675" y="56"/>
                    <a:pt x="678" y="60"/>
                    <a:pt x="679" y="63"/>
                  </a:cubicBezTo>
                  <a:cubicBezTo>
                    <a:pt x="679" y="63"/>
                    <a:pt x="680" y="63"/>
                    <a:pt x="680" y="63"/>
                  </a:cubicBezTo>
                  <a:close/>
                  <a:moveTo>
                    <a:pt x="586" y="31"/>
                  </a:moveTo>
                  <a:cubicBezTo>
                    <a:pt x="587" y="31"/>
                    <a:pt x="587" y="31"/>
                    <a:pt x="587" y="31"/>
                  </a:cubicBezTo>
                  <a:cubicBezTo>
                    <a:pt x="587" y="32"/>
                    <a:pt x="587" y="34"/>
                    <a:pt x="588" y="35"/>
                  </a:cubicBezTo>
                  <a:cubicBezTo>
                    <a:pt x="588" y="37"/>
                    <a:pt x="597" y="35"/>
                    <a:pt x="597" y="31"/>
                  </a:cubicBezTo>
                  <a:cubicBezTo>
                    <a:pt x="595" y="31"/>
                    <a:pt x="593" y="32"/>
                    <a:pt x="591" y="32"/>
                  </a:cubicBezTo>
                  <a:cubicBezTo>
                    <a:pt x="589" y="28"/>
                    <a:pt x="588" y="21"/>
                    <a:pt x="584" y="21"/>
                  </a:cubicBezTo>
                  <a:cubicBezTo>
                    <a:pt x="582" y="23"/>
                    <a:pt x="583" y="30"/>
                    <a:pt x="586" y="31"/>
                  </a:cubicBezTo>
                  <a:close/>
                  <a:moveTo>
                    <a:pt x="577" y="24"/>
                  </a:moveTo>
                  <a:cubicBezTo>
                    <a:pt x="581" y="27"/>
                    <a:pt x="581" y="22"/>
                    <a:pt x="582" y="20"/>
                  </a:cubicBezTo>
                  <a:cubicBezTo>
                    <a:pt x="582" y="18"/>
                    <a:pt x="582" y="18"/>
                    <a:pt x="582" y="18"/>
                  </a:cubicBezTo>
                  <a:cubicBezTo>
                    <a:pt x="579" y="17"/>
                    <a:pt x="576" y="15"/>
                    <a:pt x="577" y="21"/>
                  </a:cubicBezTo>
                  <a:cubicBezTo>
                    <a:pt x="577" y="25"/>
                    <a:pt x="575" y="22"/>
                    <a:pt x="577" y="24"/>
                  </a:cubicBezTo>
                  <a:close/>
                  <a:moveTo>
                    <a:pt x="355" y="144"/>
                  </a:moveTo>
                  <a:cubicBezTo>
                    <a:pt x="355" y="145"/>
                    <a:pt x="356" y="146"/>
                    <a:pt x="356" y="146"/>
                  </a:cubicBezTo>
                  <a:cubicBezTo>
                    <a:pt x="356" y="147"/>
                    <a:pt x="359" y="150"/>
                    <a:pt x="359" y="151"/>
                  </a:cubicBezTo>
                  <a:cubicBezTo>
                    <a:pt x="359" y="151"/>
                    <a:pt x="360" y="153"/>
                    <a:pt x="361" y="154"/>
                  </a:cubicBezTo>
                  <a:cubicBezTo>
                    <a:pt x="362" y="154"/>
                    <a:pt x="364" y="153"/>
                    <a:pt x="365" y="155"/>
                  </a:cubicBezTo>
                  <a:cubicBezTo>
                    <a:pt x="366" y="156"/>
                    <a:pt x="362" y="156"/>
                    <a:pt x="362" y="156"/>
                  </a:cubicBezTo>
                  <a:cubicBezTo>
                    <a:pt x="360" y="158"/>
                    <a:pt x="360" y="161"/>
                    <a:pt x="360" y="162"/>
                  </a:cubicBezTo>
                  <a:cubicBezTo>
                    <a:pt x="361" y="163"/>
                    <a:pt x="362" y="161"/>
                    <a:pt x="363" y="162"/>
                  </a:cubicBezTo>
                  <a:cubicBezTo>
                    <a:pt x="363" y="163"/>
                    <a:pt x="359" y="165"/>
                    <a:pt x="359" y="166"/>
                  </a:cubicBezTo>
                  <a:cubicBezTo>
                    <a:pt x="360" y="168"/>
                    <a:pt x="361" y="166"/>
                    <a:pt x="362" y="166"/>
                  </a:cubicBezTo>
                  <a:cubicBezTo>
                    <a:pt x="364" y="167"/>
                    <a:pt x="365" y="165"/>
                    <a:pt x="366" y="165"/>
                  </a:cubicBezTo>
                  <a:cubicBezTo>
                    <a:pt x="366" y="165"/>
                    <a:pt x="368" y="165"/>
                    <a:pt x="368" y="165"/>
                  </a:cubicBezTo>
                  <a:cubicBezTo>
                    <a:pt x="369" y="164"/>
                    <a:pt x="371" y="165"/>
                    <a:pt x="371" y="164"/>
                  </a:cubicBezTo>
                  <a:cubicBezTo>
                    <a:pt x="371" y="164"/>
                    <a:pt x="373" y="164"/>
                    <a:pt x="373" y="163"/>
                  </a:cubicBezTo>
                  <a:cubicBezTo>
                    <a:pt x="374" y="163"/>
                    <a:pt x="376" y="161"/>
                    <a:pt x="376" y="161"/>
                  </a:cubicBezTo>
                  <a:cubicBezTo>
                    <a:pt x="376" y="160"/>
                    <a:pt x="376" y="159"/>
                    <a:pt x="376" y="158"/>
                  </a:cubicBezTo>
                  <a:cubicBezTo>
                    <a:pt x="377" y="158"/>
                    <a:pt x="374" y="158"/>
                    <a:pt x="374" y="157"/>
                  </a:cubicBezTo>
                  <a:cubicBezTo>
                    <a:pt x="375" y="156"/>
                    <a:pt x="373" y="156"/>
                    <a:pt x="373" y="155"/>
                  </a:cubicBezTo>
                  <a:cubicBezTo>
                    <a:pt x="373" y="155"/>
                    <a:pt x="371" y="154"/>
                    <a:pt x="371" y="153"/>
                  </a:cubicBezTo>
                  <a:cubicBezTo>
                    <a:pt x="371" y="153"/>
                    <a:pt x="371" y="153"/>
                    <a:pt x="371" y="152"/>
                  </a:cubicBezTo>
                  <a:cubicBezTo>
                    <a:pt x="371" y="151"/>
                    <a:pt x="370" y="151"/>
                    <a:pt x="370" y="150"/>
                  </a:cubicBezTo>
                  <a:cubicBezTo>
                    <a:pt x="370" y="149"/>
                    <a:pt x="369" y="150"/>
                    <a:pt x="369" y="149"/>
                  </a:cubicBezTo>
                  <a:cubicBezTo>
                    <a:pt x="369" y="149"/>
                    <a:pt x="367" y="148"/>
                    <a:pt x="367" y="147"/>
                  </a:cubicBezTo>
                  <a:cubicBezTo>
                    <a:pt x="367" y="146"/>
                    <a:pt x="366" y="147"/>
                    <a:pt x="366" y="146"/>
                  </a:cubicBezTo>
                  <a:cubicBezTo>
                    <a:pt x="366" y="145"/>
                    <a:pt x="369" y="144"/>
                    <a:pt x="369" y="141"/>
                  </a:cubicBezTo>
                  <a:cubicBezTo>
                    <a:pt x="368" y="141"/>
                    <a:pt x="364" y="141"/>
                    <a:pt x="364" y="141"/>
                  </a:cubicBezTo>
                  <a:cubicBezTo>
                    <a:pt x="364" y="140"/>
                    <a:pt x="366" y="139"/>
                    <a:pt x="366" y="139"/>
                  </a:cubicBezTo>
                  <a:cubicBezTo>
                    <a:pt x="366" y="138"/>
                    <a:pt x="366" y="136"/>
                    <a:pt x="367" y="136"/>
                  </a:cubicBezTo>
                  <a:cubicBezTo>
                    <a:pt x="368" y="136"/>
                    <a:pt x="371" y="136"/>
                    <a:pt x="369" y="134"/>
                  </a:cubicBezTo>
                  <a:cubicBezTo>
                    <a:pt x="369" y="134"/>
                    <a:pt x="368" y="134"/>
                    <a:pt x="368" y="134"/>
                  </a:cubicBezTo>
                  <a:cubicBezTo>
                    <a:pt x="367" y="134"/>
                    <a:pt x="367" y="134"/>
                    <a:pt x="367" y="134"/>
                  </a:cubicBezTo>
                  <a:cubicBezTo>
                    <a:pt x="367" y="135"/>
                    <a:pt x="367" y="135"/>
                    <a:pt x="367" y="135"/>
                  </a:cubicBezTo>
                  <a:cubicBezTo>
                    <a:pt x="366" y="135"/>
                    <a:pt x="366" y="135"/>
                    <a:pt x="366" y="135"/>
                  </a:cubicBezTo>
                  <a:cubicBezTo>
                    <a:pt x="364" y="136"/>
                    <a:pt x="364" y="136"/>
                    <a:pt x="364" y="136"/>
                  </a:cubicBezTo>
                  <a:cubicBezTo>
                    <a:pt x="363" y="136"/>
                    <a:pt x="364" y="137"/>
                    <a:pt x="364" y="138"/>
                  </a:cubicBezTo>
                  <a:cubicBezTo>
                    <a:pt x="361" y="138"/>
                    <a:pt x="361" y="138"/>
                    <a:pt x="361" y="138"/>
                  </a:cubicBezTo>
                  <a:cubicBezTo>
                    <a:pt x="361" y="138"/>
                    <a:pt x="361" y="139"/>
                    <a:pt x="360" y="140"/>
                  </a:cubicBezTo>
                  <a:cubicBezTo>
                    <a:pt x="359" y="140"/>
                    <a:pt x="358" y="138"/>
                    <a:pt x="358" y="139"/>
                  </a:cubicBezTo>
                  <a:cubicBezTo>
                    <a:pt x="358" y="139"/>
                    <a:pt x="355" y="138"/>
                    <a:pt x="355" y="139"/>
                  </a:cubicBezTo>
                  <a:cubicBezTo>
                    <a:pt x="355" y="139"/>
                    <a:pt x="352" y="137"/>
                    <a:pt x="352" y="141"/>
                  </a:cubicBezTo>
                  <a:cubicBezTo>
                    <a:pt x="354" y="144"/>
                    <a:pt x="354" y="144"/>
                    <a:pt x="354" y="144"/>
                  </a:cubicBezTo>
                  <a:cubicBezTo>
                    <a:pt x="355" y="144"/>
                    <a:pt x="355" y="144"/>
                    <a:pt x="355" y="144"/>
                  </a:cubicBezTo>
                  <a:close/>
                  <a:moveTo>
                    <a:pt x="245" y="386"/>
                  </a:moveTo>
                  <a:cubicBezTo>
                    <a:pt x="244" y="386"/>
                    <a:pt x="244" y="386"/>
                    <a:pt x="243" y="386"/>
                  </a:cubicBezTo>
                  <a:cubicBezTo>
                    <a:pt x="243" y="386"/>
                    <a:pt x="242" y="386"/>
                    <a:pt x="241" y="386"/>
                  </a:cubicBezTo>
                  <a:cubicBezTo>
                    <a:pt x="240" y="387"/>
                    <a:pt x="240" y="388"/>
                    <a:pt x="240" y="389"/>
                  </a:cubicBezTo>
                  <a:cubicBezTo>
                    <a:pt x="240" y="390"/>
                    <a:pt x="240" y="389"/>
                    <a:pt x="241" y="390"/>
                  </a:cubicBezTo>
                  <a:cubicBezTo>
                    <a:pt x="243" y="391"/>
                    <a:pt x="242" y="390"/>
                    <a:pt x="243" y="390"/>
                  </a:cubicBezTo>
                  <a:cubicBezTo>
                    <a:pt x="244" y="390"/>
                    <a:pt x="244" y="390"/>
                    <a:pt x="246" y="390"/>
                  </a:cubicBezTo>
                  <a:cubicBezTo>
                    <a:pt x="247" y="389"/>
                    <a:pt x="248" y="388"/>
                    <a:pt x="248" y="387"/>
                  </a:cubicBezTo>
                  <a:cubicBezTo>
                    <a:pt x="248" y="386"/>
                    <a:pt x="246" y="386"/>
                    <a:pt x="245" y="386"/>
                  </a:cubicBezTo>
                  <a:close/>
                  <a:moveTo>
                    <a:pt x="108" y="52"/>
                  </a:moveTo>
                  <a:cubicBezTo>
                    <a:pt x="110" y="54"/>
                    <a:pt x="112" y="50"/>
                    <a:pt x="116" y="50"/>
                  </a:cubicBezTo>
                  <a:cubicBezTo>
                    <a:pt x="120" y="50"/>
                    <a:pt x="120" y="47"/>
                    <a:pt x="123" y="47"/>
                  </a:cubicBezTo>
                  <a:cubicBezTo>
                    <a:pt x="125" y="46"/>
                    <a:pt x="127" y="45"/>
                    <a:pt x="127" y="44"/>
                  </a:cubicBezTo>
                  <a:cubicBezTo>
                    <a:pt x="129" y="44"/>
                    <a:pt x="127" y="41"/>
                    <a:pt x="129" y="41"/>
                  </a:cubicBezTo>
                  <a:cubicBezTo>
                    <a:pt x="130" y="40"/>
                    <a:pt x="129" y="39"/>
                    <a:pt x="130" y="39"/>
                  </a:cubicBezTo>
                  <a:cubicBezTo>
                    <a:pt x="133" y="37"/>
                    <a:pt x="133" y="34"/>
                    <a:pt x="130" y="35"/>
                  </a:cubicBezTo>
                  <a:cubicBezTo>
                    <a:pt x="128" y="35"/>
                    <a:pt x="125" y="38"/>
                    <a:pt x="121" y="38"/>
                  </a:cubicBezTo>
                  <a:cubicBezTo>
                    <a:pt x="119" y="39"/>
                    <a:pt x="118" y="41"/>
                    <a:pt x="116" y="42"/>
                  </a:cubicBezTo>
                  <a:cubicBezTo>
                    <a:pt x="113" y="43"/>
                    <a:pt x="113" y="45"/>
                    <a:pt x="112" y="46"/>
                  </a:cubicBezTo>
                  <a:cubicBezTo>
                    <a:pt x="111" y="47"/>
                    <a:pt x="111" y="48"/>
                    <a:pt x="109" y="49"/>
                  </a:cubicBezTo>
                  <a:cubicBezTo>
                    <a:pt x="107" y="50"/>
                    <a:pt x="106" y="51"/>
                    <a:pt x="108" y="52"/>
                  </a:cubicBezTo>
                  <a:close/>
                  <a:moveTo>
                    <a:pt x="104" y="83"/>
                  </a:moveTo>
                  <a:cubicBezTo>
                    <a:pt x="106" y="84"/>
                    <a:pt x="106" y="82"/>
                    <a:pt x="111" y="80"/>
                  </a:cubicBezTo>
                  <a:cubicBezTo>
                    <a:pt x="112" y="79"/>
                    <a:pt x="113" y="77"/>
                    <a:pt x="115" y="76"/>
                  </a:cubicBezTo>
                  <a:cubicBezTo>
                    <a:pt x="117" y="75"/>
                    <a:pt x="115" y="73"/>
                    <a:pt x="118" y="72"/>
                  </a:cubicBezTo>
                  <a:cubicBezTo>
                    <a:pt x="120" y="70"/>
                    <a:pt x="119" y="68"/>
                    <a:pt x="120" y="66"/>
                  </a:cubicBezTo>
                  <a:cubicBezTo>
                    <a:pt x="121" y="65"/>
                    <a:pt x="119" y="63"/>
                    <a:pt x="117" y="63"/>
                  </a:cubicBezTo>
                  <a:cubicBezTo>
                    <a:pt x="115" y="63"/>
                    <a:pt x="114" y="61"/>
                    <a:pt x="113" y="61"/>
                  </a:cubicBezTo>
                  <a:cubicBezTo>
                    <a:pt x="111" y="62"/>
                    <a:pt x="111" y="57"/>
                    <a:pt x="109" y="58"/>
                  </a:cubicBezTo>
                  <a:cubicBezTo>
                    <a:pt x="108" y="58"/>
                    <a:pt x="106" y="55"/>
                    <a:pt x="105" y="55"/>
                  </a:cubicBezTo>
                  <a:cubicBezTo>
                    <a:pt x="104" y="56"/>
                    <a:pt x="101" y="58"/>
                    <a:pt x="101" y="59"/>
                  </a:cubicBezTo>
                  <a:cubicBezTo>
                    <a:pt x="100" y="62"/>
                    <a:pt x="99" y="61"/>
                    <a:pt x="99" y="63"/>
                  </a:cubicBezTo>
                  <a:cubicBezTo>
                    <a:pt x="99" y="64"/>
                    <a:pt x="98" y="67"/>
                    <a:pt x="100" y="68"/>
                  </a:cubicBezTo>
                  <a:cubicBezTo>
                    <a:pt x="101" y="71"/>
                    <a:pt x="101" y="74"/>
                    <a:pt x="97" y="77"/>
                  </a:cubicBezTo>
                  <a:cubicBezTo>
                    <a:pt x="95" y="78"/>
                    <a:pt x="95" y="81"/>
                    <a:pt x="95" y="83"/>
                  </a:cubicBezTo>
                  <a:cubicBezTo>
                    <a:pt x="96" y="85"/>
                    <a:pt x="101" y="82"/>
                    <a:pt x="104" y="83"/>
                  </a:cubicBezTo>
                  <a:close/>
                  <a:moveTo>
                    <a:pt x="173" y="48"/>
                  </a:moveTo>
                  <a:cubicBezTo>
                    <a:pt x="172" y="47"/>
                    <a:pt x="170" y="48"/>
                    <a:pt x="169" y="48"/>
                  </a:cubicBezTo>
                  <a:cubicBezTo>
                    <a:pt x="168" y="47"/>
                    <a:pt x="165" y="46"/>
                    <a:pt x="163" y="45"/>
                  </a:cubicBezTo>
                  <a:cubicBezTo>
                    <a:pt x="162" y="45"/>
                    <a:pt x="156" y="45"/>
                    <a:pt x="156" y="46"/>
                  </a:cubicBezTo>
                  <a:cubicBezTo>
                    <a:pt x="156" y="47"/>
                    <a:pt x="159" y="48"/>
                    <a:pt x="161" y="49"/>
                  </a:cubicBezTo>
                  <a:cubicBezTo>
                    <a:pt x="163" y="50"/>
                    <a:pt x="169" y="50"/>
                    <a:pt x="170" y="51"/>
                  </a:cubicBezTo>
                  <a:cubicBezTo>
                    <a:pt x="171" y="53"/>
                    <a:pt x="167" y="59"/>
                    <a:pt x="170" y="58"/>
                  </a:cubicBezTo>
                  <a:cubicBezTo>
                    <a:pt x="172" y="58"/>
                    <a:pt x="178" y="56"/>
                    <a:pt x="184" y="58"/>
                  </a:cubicBezTo>
                  <a:cubicBezTo>
                    <a:pt x="185" y="59"/>
                    <a:pt x="185" y="58"/>
                    <a:pt x="186" y="58"/>
                  </a:cubicBezTo>
                  <a:cubicBezTo>
                    <a:pt x="188" y="58"/>
                    <a:pt x="189" y="57"/>
                    <a:pt x="191" y="58"/>
                  </a:cubicBezTo>
                  <a:cubicBezTo>
                    <a:pt x="195" y="59"/>
                    <a:pt x="199" y="58"/>
                    <a:pt x="200" y="58"/>
                  </a:cubicBezTo>
                  <a:cubicBezTo>
                    <a:pt x="200" y="57"/>
                    <a:pt x="200" y="54"/>
                    <a:pt x="200" y="54"/>
                  </a:cubicBezTo>
                  <a:cubicBezTo>
                    <a:pt x="199" y="53"/>
                    <a:pt x="197" y="54"/>
                    <a:pt x="193" y="53"/>
                  </a:cubicBezTo>
                  <a:cubicBezTo>
                    <a:pt x="193" y="53"/>
                    <a:pt x="192" y="53"/>
                    <a:pt x="191" y="53"/>
                  </a:cubicBezTo>
                  <a:cubicBezTo>
                    <a:pt x="187" y="53"/>
                    <a:pt x="183" y="53"/>
                    <a:pt x="180" y="52"/>
                  </a:cubicBezTo>
                  <a:cubicBezTo>
                    <a:pt x="178" y="52"/>
                    <a:pt x="176" y="52"/>
                    <a:pt x="176" y="51"/>
                  </a:cubicBezTo>
                  <a:cubicBezTo>
                    <a:pt x="176" y="50"/>
                    <a:pt x="183" y="50"/>
                    <a:pt x="186" y="50"/>
                  </a:cubicBezTo>
                  <a:cubicBezTo>
                    <a:pt x="188" y="50"/>
                    <a:pt x="188" y="49"/>
                    <a:pt x="189" y="49"/>
                  </a:cubicBezTo>
                  <a:cubicBezTo>
                    <a:pt x="189" y="49"/>
                    <a:pt x="192" y="50"/>
                    <a:pt x="195" y="50"/>
                  </a:cubicBezTo>
                  <a:cubicBezTo>
                    <a:pt x="198" y="50"/>
                    <a:pt x="202" y="51"/>
                    <a:pt x="202" y="51"/>
                  </a:cubicBezTo>
                  <a:cubicBezTo>
                    <a:pt x="203" y="49"/>
                    <a:pt x="204" y="47"/>
                    <a:pt x="205" y="46"/>
                  </a:cubicBezTo>
                  <a:cubicBezTo>
                    <a:pt x="206" y="45"/>
                    <a:pt x="207" y="45"/>
                    <a:pt x="208" y="44"/>
                  </a:cubicBezTo>
                  <a:cubicBezTo>
                    <a:pt x="209" y="43"/>
                    <a:pt x="210" y="42"/>
                    <a:pt x="210" y="41"/>
                  </a:cubicBezTo>
                  <a:cubicBezTo>
                    <a:pt x="212" y="38"/>
                    <a:pt x="214" y="37"/>
                    <a:pt x="214" y="36"/>
                  </a:cubicBezTo>
                  <a:cubicBezTo>
                    <a:pt x="214" y="33"/>
                    <a:pt x="214" y="33"/>
                    <a:pt x="214" y="33"/>
                  </a:cubicBezTo>
                  <a:cubicBezTo>
                    <a:pt x="214" y="32"/>
                    <a:pt x="215" y="32"/>
                    <a:pt x="215" y="31"/>
                  </a:cubicBezTo>
                  <a:cubicBezTo>
                    <a:pt x="216" y="31"/>
                    <a:pt x="219" y="31"/>
                    <a:pt x="220" y="30"/>
                  </a:cubicBezTo>
                  <a:cubicBezTo>
                    <a:pt x="221" y="28"/>
                    <a:pt x="224" y="26"/>
                    <a:pt x="224" y="26"/>
                  </a:cubicBezTo>
                  <a:cubicBezTo>
                    <a:pt x="224" y="25"/>
                    <a:pt x="228" y="25"/>
                    <a:pt x="228" y="25"/>
                  </a:cubicBezTo>
                  <a:cubicBezTo>
                    <a:pt x="228" y="24"/>
                    <a:pt x="230" y="22"/>
                    <a:pt x="231" y="21"/>
                  </a:cubicBezTo>
                  <a:cubicBezTo>
                    <a:pt x="234" y="20"/>
                    <a:pt x="237" y="18"/>
                    <a:pt x="237" y="17"/>
                  </a:cubicBezTo>
                  <a:cubicBezTo>
                    <a:pt x="237" y="16"/>
                    <a:pt x="230" y="17"/>
                    <a:pt x="227" y="18"/>
                  </a:cubicBezTo>
                  <a:cubicBezTo>
                    <a:pt x="226" y="18"/>
                    <a:pt x="227" y="17"/>
                    <a:pt x="227" y="17"/>
                  </a:cubicBezTo>
                  <a:cubicBezTo>
                    <a:pt x="228" y="15"/>
                    <a:pt x="233" y="15"/>
                    <a:pt x="233" y="15"/>
                  </a:cubicBezTo>
                  <a:cubicBezTo>
                    <a:pt x="232" y="14"/>
                    <a:pt x="245" y="10"/>
                    <a:pt x="245" y="9"/>
                  </a:cubicBezTo>
                  <a:cubicBezTo>
                    <a:pt x="245" y="9"/>
                    <a:pt x="245" y="8"/>
                    <a:pt x="243" y="7"/>
                  </a:cubicBezTo>
                  <a:cubicBezTo>
                    <a:pt x="241" y="7"/>
                    <a:pt x="240" y="8"/>
                    <a:pt x="238" y="7"/>
                  </a:cubicBezTo>
                  <a:cubicBezTo>
                    <a:pt x="238" y="6"/>
                    <a:pt x="237" y="5"/>
                    <a:pt x="237" y="4"/>
                  </a:cubicBezTo>
                  <a:cubicBezTo>
                    <a:pt x="236" y="4"/>
                    <a:pt x="228" y="7"/>
                    <a:pt x="227" y="7"/>
                  </a:cubicBezTo>
                  <a:cubicBezTo>
                    <a:pt x="226" y="6"/>
                    <a:pt x="230" y="5"/>
                    <a:pt x="230" y="3"/>
                  </a:cubicBezTo>
                  <a:cubicBezTo>
                    <a:pt x="230" y="3"/>
                    <a:pt x="227" y="2"/>
                    <a:pt x="226" y="2"/>
                  </a:cubicBezTo>
                  <a:cubicBezTo>
                    <a:pt x="226" y="2"/>
                    <a:pt x="218" y="2"/>
                    <a:pt x="217" y="2"/>
                  </a:cubicBezTo>
                  <a:cubicBezTo>
                    <a:pt x="215" y="1"/>
                    <a:pt x="210" y="0"/>
                    <a:pt x="209" y="2"/>
                  </a:cubicBezTo>
                  <a:cubicBezTo>
                    <a:pt x="209" y="2"/>
                    <a:pt x="216" y="6"/>
                    <a:pt x="215" y="6"/>
                  </a:cubicBezTo>
                  <a:cubicBezTo>
                    <a:pt x="213" y="7"/>
                    <a:pt x="208" y="3"/>
                    <a:pt x="206" y="2"/>
                  </a:cubicBezTo>
                  <a:cubicBezTo>
                    <a:pt x="204" y="2"/>
                    <a:pt x="197" y="3"/>
                    <a:pt x="196" y="3"/>
                  </a:cubicBezTo>
                  <a:cubicBezTo>
                    <a:pt x="196" y="4"/>
                    <a:pt x="191" y="5"/>
                    <a:pt x="190" y="5"/>
                  </a:cubicBezTo>
                  <a:cubicBezTo>
                    <a:pt x="190" y="6"/>
                    <a:pt x="190" y="8"/>
                    <a:pt x="190" y="8"/>
                  </a:cubicBezTo>
                  <a:cubicBezTo>
                    <a:pt x="191" y="9"/>
                    <a:pt x="194" y="11"/>
                    <a:pt x="194" y="12"/>
                  </a:cubicBezTo>
                  <a:cubicBezTo>
                    <a:pt x="185" y="8"/>
                    <a:pt x="185" y="8"/>
                    <a:pt x="185" y="8"/>
                  </a:cubicBezTo>
                  <a:cubicBezTo>
                    <a:pt x="183" y="8"/>
                    <a:pt x="181" y="10"/>
                    <a:pt x="181" y="11"/>
                  </a:cubicBezTo>
                  <a:cubicBezTo>
                    <a:pt x="181" y="11"/>
                    <a:pt x="186" y="12"/>
                    <a:pt x="186" y="12"/>
                  </a:cubicBezTo>
                  <a:cubicBezTo>
                    <a:pt x="185" y="13"/>
                    <a:pt x="179" y="11"/>
                    <a:pt x="178" y="11"/>
                  </a:cubicBezTo>
                  <a:cubicBezTo>
                    <a:pt x="174" y="11"/>
                    <a:pt x="170" y="15"/>
                    <a:pt x="170" y="15"/>
                  </a:cubicBezTo>
                  <a:cubicBezTo>
                    <a:pt x="170" y="16"/>
                    <a:pt x="178" y="16"/>
                    <a:pt x="178" y="17"/>
                  </a:cubicBezTo>
                  <a:cubicBezTo>
                    <a:pt x="178" y="17"/>
                    <a:pt x="174" y="19"/>
                    <a:pt x="174" y="19"/>
                  </a:cubicBezTo>
                  <a:cubicBezTo>
                    <a:pt x="173" y="20"/>
                    <a:pt x="183" y="20"/>
                    <a:pt x="183" y="21"/>
                  </a:cubicBezTo>
                  <a:cubicBezTo>
                    <a:pt x="182" y="21"/>
                    <a:pt x="177" y="21"/>
                    <a:pt x="177" y="22"/>
                  </a:cubicBezTo>
                  <a:cubicBezTo>
                    <a:pt x="177" y="22"/>
                    <a:pt x="183" y="24"/>
                    <a:pt x="184" y="24"/>
                  </a:cubicBezTo>
                  <a:cubicBezTo>
                    <a:pt x="185" y="24"/>
                    <a:pt x="194" y="23"/>
                    <a:pt x="194" y="24"/>
                  </a:cubicBezTo>
                  <a:cubicBezTo>
                    <a:pt x="194" y="25"/>
                    <a:pt x="184" y="25"/>
                    <a:pt x="184" y="26"/>
                  </a:cubicBezTo>
                  <a:cubicBezTo>
                    <a:pt x="184" y="27"/>
                    <a:pt x="181" y="25"/>
                    <a:pt x="179" y="25"/>
                  </a:cubicBezTo>
                  <a:cubicBezTo>
                    <a:pt x="177" y="26"/>
                    <a:pt x="176" y="24"/>
                    <a:pt x="174" y="23"/>
                  </a:cubicBezTo>
                  <a:cubicBezTo>
                    <a:pt x="172" y="22"/>
                    <a:pt x="171" y="17"/>
                    <a:pt x="169" y="17"/>
                  </a:cubicBezTo>
                  <a:cubicBezTo>
                    <a:pt x="167" y="17"/>
                    <a:pt x="164" y="18"/>
                    <a:pt x="163" y="19"/>
                  </a:cubicBezTo>
                  <a:cubicBezTo>
                    <a:pt x="162" y="19"/>
                    <a:pt x="160" y="26"/>
                    <a:pt x="160" y="26"/>
                  </a:cubicBezTo>
                  <a:cubicBezTo>
                    <a:pt x="161" y="27"/>
                    <a:pt x="162" y="31"/>
                    <a:pt x="162" y="31"/>
                  </a:cubicBezTo>
                  <a:cubicBezTo>
                    <a:pt x="163" y="32"/>
                    <a:pt x="168" y="32"/>
                    <a:pt x="169" y="32"/>
                  </a:cubicBezTo>
                  <a:cubicBezTo>
                    <a:pt x="169" y="33"/>
                    <a:pt x="164" y="34"/>
                    <a:pt x="165" y="35"/>
                  </a:cubicBezTo>
                  <a:cubicBezTo>
                    <a:pt x="165" y="35"/>
                    <a:pt x="168" y="39"/>
                    <a:pt x="169" y="39"/>
                  </a:cubicBezTo>
                  <a:cubicBezTo>
                    <a:pt x="170" y="40"/>
                    <a:pt x="178" y="39"/>
                    <a:pt x="179" y="39"/>
                  </a:cubicBezTo>
                  <a:cubicBezTo>
                    <a:pt x="180" y="40"/>
                    <a:pt x="183" y="40"/>
                    <a:pt x="184" y="40"/>
                  </a:cubicBezTo>
                  <a:cubicBezTo>
                    <a:pt x="185" y="40"/>
                    <a:pt x="178" y="42"/>
                    <a:pt x="177" y="42"/>
                  </a:cubicBezTo>
                  <a:cubicBezTo>
                    <a:pt x="177" y="43"/>
                    <a:pt x="181" y="44"/>
                    <a:pt x="181" y="45"/>
                  </a:cubicBezTo>
                  <a:cubicBezTo>
                    <a:pt x="180" y="46"/>
                    <a:pt x="172" y="48"/>
                    <a:pt x="173" y="48"/>
                  </a:cubicBezTo>
                  <a:close/>
                  <a:moveTo>
                    <a:pt x="294" y="284"/>
                  </a:moveTo>
                  <a:cubicBezTo>
                    <a:pt x="293" y="283"/>
                    <a:pt x="293" y="283"/>
                    <a:pt x="292" y="283"/>
                  </a:cubicBezTo>
                  <a:cubicBezTo>
                    <a:pt x="291" y="282"/>
                    <a:pt x="290" y="282"/>
                    <a:pt x="289" y="281"/>
                  </a:cubicBezTo>
                  <a:cubicBezTo>
                    <a:pt x="288" y="279"/>
                    <a:pt x="286" y="279"/>
                    <a:pt x="283" y="279"/>
                  </a:cubicBezTo>
                  <a:cubicBezTo>
                    <a:pt x="280" y="278"/>
                    <a:pt x="279" y="279"/>
                    <a:pt x="278" y="278"/>
                  </a:cubicBezTo>
                  <a:cubicBezTo>
                    <a:pt x="277" y="277"/>
                    <a:pt x="275" y="277"/>
                    <a:pt x="274" y="276"/>
                  </a:cubicBezTo>
                  <a:cubicBezTo>
                    <a:pt x="273" y="275"/>
                    <a:pt x="272" y="275"/>
                    <a:pt x="270" y="274"/>
                  </a:cubicBezTo>
                  <a:cubicBezTo>
                    <a:pt x="267" y="274"/>
                    <a:pt x="264" y="273"/>
                    <a:pt x="264" y="273"/>
                  </a:cubicBezTo>
                  <a:cubicBezTo>
                    <a:pt x="263" y="273"/>
                    <a:pt x="262" y="268"/>
                    <a:pt x="262" y="268"/>
                  </a:cubicBezTo>
                  <a:cubicBezTo>
                    <a:pt x="262" y="267"/>
                    <a:pt x="262" y="266"/>
                    <a:pt x="261" y="265"/>
                  </a:cubicBezTo>
                  <a:cubicBezTo>
                    <a:pt x="260" y="265"/>
                    <a:pt x="260" y="263"/>
                    <a:pt x="259" y="263"/>
                  </a:cubicBezTo>
                  <a:cubicBezTo>
                    <a:pt x="258" y="263"/>
                    <a:pt x="254" y="262"/>
                    <a:pt x="253" y="262"/>
                  </a:cubicBezTo>
                  <a:cubicBezTo>
                    <a:pt x="252" y="262"/>
                    <a:pt x="249" y="262"/>
                    <a:pt x="248" y="262"/>
                  </a:cubicBezTo>
                  <a:cubicBezTo>
                    <a:pt x="247" y="261"/>
                    <a:pt x="246" y="259"/>
                    <a:pt x="245" y="259"/>
                  </a:cubicBezTo>
                  <a:cubicBezTo>
                    <a:pt x="243" y="259"/>
                    <a:pt x="243" y="257"/>
                    <a:pt x="241" y="256"/>
                  </a:cubicBezTo>
                  <a:cubicBezTo>
                    <a:pt x="240" y="256"/>
                    <a:pt x="240" y="254"/>
                    <a:pt x="239" y="254"/>
                  </a:cubicBezTo>
                  <a:cubicBezTo>
                    <a:pt x="238" y="253"/>
                    <a:pt x="235" y="252"/>
                    <a:pt x="235" y="252"/>
                  </a:cubicBezTo>
                  <a:cubicBezTo>
                    <a:pt x="234" y="252"/>
                    <a:pt x="233" y="250"/>
                    <a:pt x="233" y="251"/>
                  </a:cubicBezTo>
                  <a:cubicBezTo>
                    <a:pt x="233" y="251"/>
                    <a:pt x="231" y="252"/>
                    <a:pt x="230" y="252"/>
                  </a:cubicBezTo>
                  <a:cubicBezTo>
                    <a:pt x="229" y="252"/>
                    <a:pt x="227" y="253"/>
                    <a:pt x="227" y="253"/>
                  </a:cubicBezTo>
                  <a:cubicBezTo>
                    <a:pt x="227" y="253"/>
                    <a:pt x="224" y="253"/>
                    <a:pt x="221" y="253"/>
                  </a:cubicBezTo>
                  <a:cubicBezTo>
                    <a:pt x="220" y="253"/>
                    <a:pt x="219" y="250"/>
                    <a:pt x="217" y="250"/>
                  </a:cubicBezTo>
                  <a:cubicBezTo>
                    <a:pt x="216" y="251"/>
                    <a:pt x="215" y="251"/>
                    <a:pt x="213" y="252"/>
                  </a:cubicBezTo>
                  <a:cubicBezTo>
                    <a:pt x="213" y="253"/>
                    <a:pt x="210" y="252"/>
                    <a:pt x="209" y="253"/>
                  </a:cubicBezTo>
                  <a:cubicBezTo>
                    <a:pt x="209" y="253"/>
                    <a:pt x="206" y="254"/>
                    <a:pt x="206" y="255"/>
                  </a:cubicBezTo>
                  <a:cubicBezTo>
                    <a:pt x="205" y="255"/>
                    <a:pt x="202" y="256"/>
                    <a:pt x="201" y="256"/>
                  </a:cubicBezTo>
                  <a:cubicBezTo>
                    <a:pt x="201" y="256"/>
                    <a:pt x="201" y="256"/>
                    <a:pt x="201" y="256"/>
                  </a:cubicBezTo>
                  <a:cubicBezTo>
                    <a:pt x="201" y="256"/>
                    <a:pt x="201" y="255"/>
                    <a:pt x="201" y="255"/>
                  </a:cubicBezTo>
                  <a:cubicBezTo>
                    <a:pt x="200" y="255"/>
                    <a:pt x="199" y="256"/>
                    <a:pt x="199" y="255"/>
                  </a:cubicBezTo>
                  <a:cubicBezTo>
                    <a:pt x="199" y="255"/>
                    <a:pt x="198" y="256"/>
                    <a:pt x="198" y="257"/>
                  </a:cubicBezTo>
                  <a:cubicBezTo>
                    <a:pt x="197" y="257"/>
                    <a:pt x="196" y="256"/>
                    <a:pt x="195" y="256"/>
                  </a:cubicBezTo>
                  <a:cubicBezTo>
                    <a:pt x="195" y="256"/>
                    <a:pt x="194" y="255"/>
                    <a:pt x="192" y="255"/>
                  </a:cubicBezTo>
                  <a:cubicBezTo>
                    <a:pt x="192" y="255"/>
                    <a:pt x="190" y="254"/>
                    <a:pt x="190" y="253"/>
                  </a:cubicBezTo>
                  <a:cubicBezTo>
                    <a:pt x="191" y="251"/>
                    <a:pt x="191" y="251"/>
                    <a:pt x="192" y="249"/>
                  </a:cubicBezTo>
                  <a:cubicBezTo>
                    <a:pt x="193" y="246"/>
                    <a:pt x="193" y="245"/>
                    <a:pt x="193" y="243"/>
                  </a:cubicBezTo>
                  <a:cubicBezTo>
                    <a:pt x="193" y="243"/>
                    <a:pt x="193" y="243"/>
                    <a:pt x="190" y="243"/>
                  </a:cubicBezTo>
                  <a:cubicBezTo>
                    <a:pt x="189" y="242"/>
                    <a:pt x="187" y="243"/>
                    <a:pt x="187" y="243"/>
                  </a:cubicBezTo>
                  <a:cubicBezTo>
                    <a:pt x="185" y="243"/>
                    <a:pt x="184" y="244"/>
                    <a:pt x="183" y="243"/>
                  </a:cubicBezTo>
                  <a:cubicBezTo>
                    <a:pt x="182" y="242"/>
                    <a:pt x="182" y="242"/>
                    <a:pt x="182" y="240"/>
                  </a:cubicBezTo>
                  <a:cubicBezTo>
                    <a:pt x="182" y="240"/>
                    <a:pt x="182" y="239"/>
                    <a:pt x="182" y="238"/>
                  </a:cubicBezTo>
                  <a:cubicBezTo>
                    <a:pt x="184" y="236"/>
                    <a:pt x="184" y="236"/>
                    <a:pt x="184" y="236"/>
                  </a:cubicBezTo>
                  <a:cubicBezTo>
                    <a:pt x="184" y="236"/>
                    <a:pt x="184" y="234"/>
                    <a:pt x="185" y="233"/>
                  </a:cubicBezTo>
                  <a:cubicBezTo>
                    <a:pt x="185" y="233"/>
                    <a:pt x="185" y="231"/>
                    <a:pt x="184" y="229"/>
                  </a:cubicBezTo>
                  <a:cubicBezTo>
                    <a:pt x="183" y="229"/>
                    <a:pt x="181" y="232"/>
                    <a:pt x="180" y="232"/>
                  </a:cubicBezTo>
                  <a:cubicBezTo>
                    <a:pt x="180" y="232"/>
                    <a:pt x="179" y="233"/>
                    <a:pt x="178" y="233"/>
                  </a:cubicBezTo>
                  <a:cubicBezTo>
                    <a:pt x="178" y="232"/>
                    <a:pt x="177" y="232"/>
                    <a:pt x="176" y="232"/>
                  </a:cubicBezTo>
                  <a:cubicBezTo>
                    <a:pt x="176" y="231"/>
                    <a:pt x="175" y="232"/>
                    <a:pt x="175" y="233"/>
                  </a:cubicBezTo>
                  <a:cubicBezTo>
                    <a:pt x="175" y="234"/>
                    <a:pt x="174" y="239"/>
                    <a:pt x="173" y="239"/>
                  </a:cubicBezTo>
                  <a:cubicBezTo>
                    <a:pt x="172" y="239"/>
                    <a:pt x="169" y="238"/>
                    <a:pt x="168" y="238"/>
                  </a:cubicBezTo>
                  <a:cubicBezTo>
                    <a:pt x="166" y="238"/>
                    <a:pt x="165" y="237"/>
                    <a:pt x="164" y="236"/>
                  </a:cubicBezTo>
                  <a:cubicBezTo>
                    <a:pt x="163" y="235"/>
                    <a:pt x="162" y="234"/>
                    <a:pt x="162" y="234"/>
                  </a:cubicBezTo>
                  <a:cubicBezTo>
                    <a:pt x="161" y="233"/>
                    <a:pt x="163" y="232"/>
                    <a:pt x="162" y="231"/>
                  </a:cubicBezTo>
                  <a:cubicBezTo>
                    <a:pt x="160" y="231"/>
                    <a:pt x="161" y="230"/>
                    <a:pt x="160" y="229"/>
                  </a:cubicBezTo>
                  <a:cubicBezTo>
                    <a:pt x="159" y="228"/>
                    <a:pt x="161" y="227"/>
                    <a:pt x="161" y="227"/>
                  </a:cubicBezTo>
                  <a:cubicBezTo>
                    <a:pt x="160" y="226"/>
                    <a:pt x="162" y="225"/>
                    <a:pt x="161" y="225"/>
                  </a:cubicBezTo>
                  <a:cubicBezTo>
                    <a:pt x="161" y="224"/>
                    <a:pt x="161" y="223"/>
                    <a:pt x="161" y="223"/>
                  </a:cubicBezTo>
                  <a:cubicBezTo>
                    <a:pt x="160" y="222"/>
                    <a:pt x="162" y="219"/>
                    <a:pt x="162" y="219"/>
                  </a:cubicBezTo>
                  <a:cubicBezTo>
                    <a:pt x="163" y="217"/>
                    <a:pt x="164" y="219"/>
                    <a:pt x="166" y="219"/>
                  </a:cubicBezTo>
                  <a:cubicBezTo>
                    <a:pt x="168" y="217"/>
                    <a:pt x="169" y="217"/>
                    <a:pt x="169" y="217"/>
                  </a:cubicBezTo>
                  <a:cubicBezTo>
                    <a:pt x="169" y="217"/>
                    <a:pt x="171" y="216"/>
                    <a:pt x="172" y="216"/>
                  </a:cubicBezTo>
                  <a:cubicBezTo>
                    <a:pt x="173" y="217"/>
                    <a:pt x="174" y="218"/>
                    <a:pt x="176" y="218"/>
                  </a:cubicBezTo>
                  <a:cubicBezTo>
                    <a:pt x="176" y="218"/>
                    <a:pt x="178" y="219"/>
                    <a:pt x="179" y="218"/>
                  </a:cubicBezTo>
                  <a:cubicBezTo>
                    <a:pt x="179" y="217"/>
                    <a:pt x="181" y="215"/>
                    <a:pt x="182" y="215"/>
                  </a:cubicBezTo>
                  <a:cubicBezTo>
                    <a:pt x="184" y="214"/>
                    <a:pt x="187" y="216"/>
                    <a:pt x="187" y="217"/>
                  </a:cubicBezTo>
                  <a:cubicBezTo>
                    <a:pt x="188" y="217"/>
                    <a:pt x="190" y="217"/>
                    <a:pt x="191" y="217"/>
                  </a:cubicBezTo>
                  <a:cubicBezTo>
                    <a:pt x="193" y="218"/>
                    <a:pt x="194" y="219"/>
                    <a:pt x="193" y="220"/>
                  </a:cubicBezTo>
                  <a:cubicBezTo>
                    <a:pt x="193" y="220"/>
                    <a:pt x="193" y="222"/>
                    <a:pt x="194" y="223"/>
                  </a:cubicBezTo>
                  <a:cubicBezTo>
                    <a:pt x="196" y="227"/>
                    <a:pt x="196" y="226"/>
                    <a:pt x="198" y="226"/>
                  </a:cubicBezTo>
                  <a:cubicBezTo>
                    <a:pt x="200" y="226"/>
                    <a:pt x="199" y="225"/>
                    <a:pt x="199" y="223"/>
                  </a:cubicBezTo>
                  <a:cubicBezTo>
                    <a:pt x="199" y="222"/>
                    <a:pt x="199" y="221"/>
                    <a:pt x="199" y="221"/>
                  </a:cubicBezTo>
                  <a:cubicBezTo>
                    <a:pt x="198" y="220"/>
                    <a:pt x="196" y="218"/>
                    <a:pt x="197" y="216"/>
                  </a:cubicBezTo>
                  <a:cubicBezTo>
                    <a:pt x="198" y="215"/>
                    <a:pt x="196" y="214"/>
                    <a:pt x="197" y="212"/>
                  </a:cubicBezTo>
                  <a:cubicBezTo>
                    <a:pt x="197" y="211"/>
                    <a:pt x="198" y="211"/>
                    <a:pt x="198" y="210"/>
                  </a:cubicBezTo>
                  <a:cubicBezTo>
                    <a:pt x="199" y="209"/>
                    <a:pt x="201" y="209"/>
                    <a:pt x="201" y="208"/>
                  </a:cubicBezTo>
                  <a:cubicBezTo>
                    <a:pt x="202" y="207"/>
                    <a:pt x="204" y="207"/>
                    <a:pt x="204" y="206"/>
                  </a:cubicBezTo>
                  <a:cubicBezTo>
                    <a:pt x="205" y="205"/>
                    <a:pt x="206" y="206"/>
                    <a:pt x="207" y="205"/>
                  </a:cubicBezTo>
                  <a:cubicBezTo>
                    <a:pt x="210" y="202"/>
                    <a:pt x="207" y="200"/>
                    <a:pt x="208" y="199"/>
                  </a:cubicBezTo>
                  <a:cubicBezTo>
                    <a:pt x="208" y="198"/>
                    <a:pt x="209" y="199"/>
                    <a:pt x="210" y="198"/>
                  </a:cubicBezTo>
                  <a:cubicBezTo>
                    <a:pt x="211" y="196"/>
                    <a:pt x="211" y="194"/>
                    <a:pt x="211" y="194"/>
                  </a:cubicBezTo>
                  <a:cubicBezTo>
                    <a:pt x="212" y="193"/>
                    <a:pt x="214" y="192"/>
                    <a:pt x="215" y="191"/>
                  </a:cubicBezTo>
                  <a:cubicBezTo>
                    <a:pt x="216" y="190"/>
                    <a:pt x="219" y="189"/>
                    <a:pt x="220" y="189"/>
                  </a:cubicBezTo>
                  <a:cubicBezTo>
                    <a:pt x="220" y="188"/>
                    <a:pt x="221" y="190"/>
                    <a:pt x="221" y="189"/>
                  </a:cubicBezTo>
                  <a:cubicBezTo>
                    <a:pt x="220" y="187"/>
                    <a:pt x="220" y="186"/>
                    <a:pt x="220" y="186"/>
                  </a:cubicBezTo>
                  <a:cubicBezTo>
                    <a:pt x="221" y="184"/>
                    <a:pt x="220" y="186"/>
                    <a:pt x="221" y="184"/>
                  </a:cubicBezTo>
                  <a:cubicBezTo>
                    <a:pt x="221" y="183"/>
                    <a:pt x="224" y="184"/>
                    <a:pt x="224" y="182"/>
                  </a:cubicBezTo>
                  <a:cubicBezTo>
                    <a:pt x="225" y="180"/>
                    <a:pt x="225" y="182"/>
                    <a:pt x="228" y="180"/>
                  </a:cubicBezTo>
                  <a:cubicBezTo>
                    <a:pt x="230" y="179"/>
                    <a:pt x="231" y="179"/>
                    <a:pt x="231" y="179"/>
                  </a:cubicBezTo>
                  <a:cubicBezTo>
                    <a:pt x="232" y="179"/>
                    <a:pt x="230" y="181"/>
                    <a:pt x="229" y="181"/>
                  </a:cubicBezTo>
                  <a:cubicBezTo>
                    <a:pt x="228" y="181"/>
                    <a:pt x="228" y="183"/>
                    <a:pt x="228" y="183"/>
                  </a:cubicBezTo>
                  <a:cubicBezTo>
                    <a:pt x="227" y="184"/>
                    <a:pt x="231" y="185"/>
                    <a:pt x="232" y="183"/>
                  </a:cubicBezTo>
                  <a:cubicBezTo>
                    <a:pt x="233" y="182"/>
                    <a:pt x="232" y="181"/>
                    <a:pt x="234" y="181"/>
                  </a:cubicBezTo>
                  <a:cubicBezTo>
                    <a:pt x="234" y="181"/>
                    <a:pt x="237" y="180"/>
                    <a:pt x="238" y="180"/>
                  </a:cubicBezTo>
                  <a:cubicBezTo>
                    <a:pt x="240" y="179"/>
                    <a:pt x="242" y="179"/>
                    <a:pt x="242" y="178"/>
                  </a:cubicBezTo>
                  <a:cubicBezTo>
                    <a:pt x="243" y="178"/>
                    <a:pt x="243" y="177"/>
                    <a:pt x="242" y="176"/>
                  </a:cubicBezTo>
                  <a:cubicBezTo>
                    <a:pt x="242" y="176"/>
                    <a:pt x="242" y="175"/>
                    <a:pt x="242" y="175"/>
                  </a:cubicBezTo>
                  <a:cubicBezTo>
                    <a:pt x="242" y="174"/>
                    <a:pt x="242" y="174"/>
                    <a:pt x="242" y="174"/>
                  </a:cubicBezTo>
                  <a:cubicBezTo>
                    <a:pt x="241" y="175"/>
                    <a:pt x="241" y="175"/>
                    <a:pt x="241" y="175"/>
                  </a:cubicBezTo>
                  <a:cubicBezTo>
                    <a:pt x="241" y="175"/>
                    <a:pt x="240" y="177"/>
                    <a:pt x="239" y="176"/>
                  </a:cubicBezTo>
                  <a:cubicBezTo>
                    <a:pt x="239" y="176"/>
                    <a:pt x="237" y="176"/>
                    <a:pt x="236" y="174"/>
                  </a:cubicBezTo>
                  <a:cubicBezTo>
                    <a:pt x="234" y="173"/>
                    <a:pt x="233" y="175"/>
                    <a:pt x="233" y="175"/>
                  </a:cubicBezTo>
                  <a:cubicBezTo>
                    <a:pt x="229" y="177"/>
                    <a:pt x="234" y="171"/>
                    <a:pt x="233" y="171"/>
                  </a:cubicBezTo>
                  <a:cubicBezTo>
                    <a:pt x="232" y="170"/>
                    <a:pt x="232" y="168"/>
                    <a:pt x="232" y="168"/>
                  </a:cubicBezTo>
                  <a:cubicBezTo>
                    <a:pt x="233" y="167"/>
                    <a:pt x="231" y="168"/>
                    <a:pt x="230" y="168"/>
                  </a:cubicBezTo>
                  <a:cubicBezTo>
                    <a:pt x="228" y="168"/>
                    <a:pt x="227" y="169"/>
                    <a:pt x="226" y="169"/>
                  </a:cubicBezTo>
                  <a:cubicBezTo>
                    <a:pt x="224" y="169"/>
                    <a:pt x="226" y="171"/>
                    <a:pt x="225" y="171"/>
                  </a:cubicBezTo>
                  <a:cubicBezTo>
                    <a:pt x="223" y="171"/>
                    <a:pt x="220" y="175"/>
                    <a:pt x="220" y="174"/>
                  </a:cubicBezTo>
                  <a:cubicBezTo>
                    <a:pt x="220" y="174"/>
                    <a:pt x="219" y="172"/>
                    <a:pt x="220" y="172"/>
                  </a:cubicBezTo>
                  <a:cubicBezTo>
                    <a:pt x="220" y="171"/>
                    <a:pt x="221" y="171"/>
                    <a:pt x="221" y="171"/>
                  </a:cubicBezTo>
                  <a:cubicBezTo>
                    <a:pt x="222" y="171"/>
                    <a:pt x="223" y="169"/>
                    <a:pt x="224" y="168"/>
                  </a:cubicBezTo>
                  <a:cubicBezTo>
                    <a:pt x="225" y="168"/>
                    <a:pt x="225" y="167"/>
                    <a:pt x="227" y="167"/>
                  </a:cubicBezTo>
                  <a:cubicBezTo>
                    <a:pt x="227" y="167"/>
                    <a:pt x="227" y="166"/>
                    <a:pt x="228" y="166"/>
                  </a:cubicBezTo>
                  <a:cubicBezTo>
                    <a:pt x="230" y="166"/>
                    <a:pt x="228" y="162"/>
                    <a:pt x="230" y="165"/>
                  </a:cubicBezTo>
                  <a:cubicBezTo>
                    <a:pt x="237" y="170"/>
                    <a:pt x="237" y="169"/>
                    <a:pt x="237" y="169"/>
                  </a:cubicBezTo>
                  <a:cubicBezTo>
                    <a:pt x="238" y="168"/>
                    <a:pt x="235" y="166"/>
                    <a:pt x="236" y="166"/>
                  </a:cubicBezTo>
                  <a:cubicBezTo>
                    <a:pt x="237" y="165"/>
                    <a:pt x="241" y="165"/>
                    <a:pt x="241" y="165"/>
                  </a:cubicBezTo>
                  <a:cubicBezTo>
                    <a:pt x="241" y="165"/>
                    <a:pt x="243" y="164"/>
                    <a:pt x="244" y="163"/>
                  </a:cubicBezTo>
                  <a:cubicBezTo>
                    <a:pt x="244" y="163"/>
                    <a:pt x="245" y="163"/>
                    <a:pt x="244" y="162"/>
                  </a:cubicBezTo>
                  <a:cubicBezTo>
                    <a:pt x="244" y="162"/>
                    <a:pt x="246" y="161"/>
                    <a:pt x="246" y="161"/>
                  </a:cubicBezTo>
                  <a:cubicBezTo>
                    <a:pt x="248" y="160"/>
                    <a:pt x="245" y="162"/>
                    <a:pt x="248" y="162"/>
                  </a:cubicBezTo>
                  <a:cubicBezTo>
                    <a:pt x="250" y="163"/>
                    <a:pt x="246" y="164"/>
                    <a:pt x="247" y="165"/>
                  </a:cubicBezTo>
                  <a:cubicBezTo>
                    <a:pt x="248" y="166"/>
                    <a:pt x="245" y="167"/>
                    <a:pt x="244" y="168"/>
                  </a:cubicBezTo>
                  <a:cubicBezTo>
                    <a:pt x="241" y="170"/>
                    <a:pt x="243" y="171"/>
                    <a:pt x="243" y="171"/>
                  </a:cubicBezTo>
                  <a:cubicBezTo>
                    <a:pt x="244" y="172"/>
                    <a:pt x="245" y="174"/>
                    <a:pt x="246" y="173"/>
                  </a:cubicBezTo>
                  <a:cubicBezTo>
                    <a:pt x="247" y="172"/>
                    <a:pt x="248" y="172"/>
                    <a:pt x="249" y="172"/>
                  </a:cubicBezTo>
                  <a:cubicBezTo>
                    <a:pt x="249" y="172"/>
                    <a:pt x="250" y="173"/>
                    <a:pt x="250" y="174"/>
                  </a:cubicBezTo>
                  <a:cubicBezTo>
                    <a:pt x="251" y="175"/>
                    <a:pt x="250" y="176"/>
                    <a:pt x="251" y="176"/>
                  </a:cubicBezTo>
                  <a:cubicBezTo>
                    <a:pt x="252" y="176"/>
                    <a:pt x="253" y="174"/>
                    <a:pt x="254" y="174"/>
                  </a:cubicBezTo>
                  <a:cubicBezTo>
                    <a:pt x="255" y="174"/>
                    <a:pt x="256" y="176"/>
                    <a:pt x="257" y="176"/>
                  </a:cubicBezTo>
                  <a:cubicBezTo>
                    <a:pt x="258" y="176"/>
                    <a:pt x="258" y="173"/>
                    <a:pt x="259" y="173"/>
                  </a:cubicBezTo>
                  <a:cubicBezTo>
                    <a:pt x="261" y="173"/>
                    <a:pt x="259" y="171"/>
                    <a:pt x="258" y="170"/>
                  </a:cubicBezTo>
                  <a:cubicBezTo>
                    <a:pt x="257" y="169"/>
                    <a:pt x="256" y="168"/>
                    <a:pt x="255" y="167"/>
                  </a:cubicBezTo>
                  <a:cubicBezTo>
                    <a:pt x="254" y="167"/>
                    <a:pt x="252" y="168"/>
                    <a:pt x="251" y="166"/>
                  </a:cubicBezTo>
                  <a:cubicBezTo>
                    <a:pt x="248" y="162"/>
                    <a:pt x="251" y="162"/>
                    <a:pt x="252" y="161"/>
                  </a:cubicBezTo>
                  <a:cubicBezTo>
                    <a:pt x="253" y="160"/>
                    <a:pt x="252" y="159"/>
                    <a:pt x="252" y="159"/>
                  </a:cubicBezTo>
                  <a:cubicBezTo>
                    <a:pt x="252" y="159"/>
                    <a:pt x="252" y="157"/>
                    <a:pt x="252" y="155"/>
                  </a:cubicBezTo>
                  <a:cubicBezTo>
                    <a:pt x="252" y="154"/>
                    <a:pt x="249" y="154"/>
                    <a:pt x="249" y="153"/>
                  </a:cubicBezTo>
                  <a:cubicBezTo>
                    <a:pt x="249" y="152"/>
                    <a:pt x="249" y="152"/>
                    <a:pt x="249" y="151"/>
                  </a:cubicBezTo>
                  <a:cubicBezTo>
                    <a:pt x="249" y="150"/>
                    <a:pt x="245" y="151"/>
                    <a:pt x="245" y="150"/>
                  </a:cubicBezTo>
                  <a:cubicBezTo>
                    <a:pt x="245" y="149"/>
                    <a:pt x="241" y="149"/>
                    <a:pt x="241" y="147"/>
                  </a:cubicBezTo>
                  <a:cubicBezTo>
                    <a:pt x="241" y="147"/>
                    <a:pt x="238" y="146"/>
                    <a:pt x="239" y="144"/>
                  </a:cubicBezTo>
                  <a:cubicBezTo>
                    <a:pt x="240" y="142"/>
                    <a:pt x="237" y="141"/>
                    <a:pt x="237" y="140"/>
                  </a:cubicBezTo>
                  <a:cubicBezTo>
                    <a:pt x="237" y="139"/>
                    <a:pt x="236" y="138"/>
                    <a:pt x="236" y="137"/>
                  </a:cubicBezTo>
                  <a:cubicBezTo>
                    <a:pt x="236" y="136"/>
                    <a:pt x="234" y="135"/>
                    <a:pt x="234" y="134"/>
                  </a:cubicBezTo>
                  <a:cubicBezTo>
                    <a:pt x="234" y="133"/>
                    <a:pt x="234" y="132"/>
                    <a:pt x="234" y="132"/>
                  </a:cubicBezTo>
                  <a:cubicBezTo>
                    <a:pt x="234" y="128"/>
                    <a:pt x="232" y="129"/>
                    <a:pt x="232" y="130"/>
                  </a:cubicBezTo>
                  <a:cubicBezTo>
                    <a:pt x="230" y="130"/>
                    <a:pt x="232" y="134"/>
                    <a:pt x="231" y="134"/>
                  </a:cubicBezTo>
                  <a:cubicBezTo>
                    <a:pt x="230" y="133"/>
                    <a:pt x="230" y="138"/>
                    <a:pt x="229" y="138"/>
                  </a:cubicBezTo>
                  <a:cubicBezTo>
                    <a:pt x="228" y="138"/>
                    <a:pt x="226" y="139"/>
                    <a:pt x="225" y="138"/>
                  </a:cubicBezTo>
                  <a:cubicBezTo>
                    <a:pt x="225" y="137"/>
                    <a:pt x="222" y="137"/>
                    <a:pt x="222" y="136"/>
                  </a:cubicBezTo>
                  <a:cubicBezTo>
                    <a:pt x="221" y="135"/>
                    <a:pt x="222" y="133"/>
                    <a:pt x="221" y="132"/>
                  </a:cubicBezTo>
                  <a:cubicBezTo>
                    <a:pt x="221" y="131"/>
                    <a:pt x="223" y="130"/>
                    <a:pt x="222" y="129"/>
                  </a:cubicBezTo>
                  <a:cubicBezTo>
                    <a:pt x="221" y="128"/>
                    <a:pt x="218" y="128"/>
                    <a:pt x="217" y="127"/>
                  </a:cubicBezTo>
                  <a:cubicBezTo>
                    <a:pt x="216" y="125"/>
                    <a:pt x="216" y="126"/>
                    <a:pt x="215" y="124"/>
                  </a:cubicBezTo>
                  <a:cubicBezTo>
                    <a:pt x="213" y="122"/>
                    <a:pt x="210" y="120"/>
                    <a:pt x="210" y="121"/>
                  </a:cubicBezTo>
                  <a:cubicBezTo>
                    <a:pt x="210" y="121"/>
                    <a:pt x="210" y="126"/>
                    <a:pt x="207" y="124"/>
                  </a:cubicBezTo>
                  <a:cubicBezTo>
                    <a:pt x="205" y="123"/>
                    <a:pt x="204" y="122"/>
                    <a:pt x="203" y="122"/>
                  </a:cubicBezTo>
                  <a:cubicBezTo>
                    <a:pt x="199" y="123"/>
                    <a:pt x="203" y="124"/>
                    <a:pt x="202" y="126"/>
                  </a:cubicBezTo>
                  <a:cubicBezTo>
                    <a:pt x="202" y="126"/>
                    <a:pt x="202" y="128"/>
                    <a:pt x="202" y="128"/>
                  </a:cubicBezTo>
                  <a:cubicBezTo>
                    <a:pt x="201" y="129"/>
                    <a:pt x="200" y="129"/>
                    <a:pt x="200" y="130"/>
                  </a:cubicBezTo>
                  <a:cubicBezTo>
                    <a:pt x="201" y="132"/>
                    <a:pt x="203" y="130"/>
                    <a:pt x="203" y="131"/>
                  </a:cubicBezTo>
                  <a:cubicBezTo>
                    <a:pt x="203" y="134"/>
                    <a:pt x="200" y="134"/>
                    <a:pt x="200" y="135"/>
                  </a:cubicBezTo>
                  <a:cubicBezTo>
                    <a:pt x="200" y="135"/>
                    <a:pt x="202" y="137"/>
                    <a:pt x="201" y="138"/>
                  </a:cubicBezTo>
                  <a:cubicBezTo>
                    <a:pt x="201" y="139"/>
                    <a:pt x="204" y="139"/>
                    <a:pt x="204" y="140"/>
                  </a:cubicBezTo>
                  <a:cubicBezTo>
                    <a:pt x="204" y="141"/>
                    <a:pt x="206" y="142"/>
                    <a:pt x="206" y="143"/>
                  </a:cubicBezTo>
                  <a:cubicBezTo>
                    <a:pt x="206" y="144"/>
                    <a:pt x="205" y="145"/>
                    <a:pt x="205" y="146"/>
                  </a:cubicBezTo>
                  <a:cubicBezTo>
                    <a:pt x="205" y="147"/>
                    <a:pt x="204" y="148"/>
                    <a:pt x="203" y="148"/>
                  </a:cubicBezTo>
                  <a:cubicBezTo>
                    <a:pt x="201" y="150"/>
                    <a:pt x="200" y="150"/>
                    <a:pt x="199" y="151"/>
                  </a:cubicBezTo>
                  <a:cubicBezTo>
                    <a:pt x="198" y="151"/>
                    <a:pt x="199" y="152"/>
                    <a:pt x="199" y="154"/>
                  </a:cubicBezTo>
                  <a:cubicBezTo>
                    <a:pt x="200" y="155"/>
                    <a:pt x="200" y="156"/>
                    <a:pt x="200" y="157"/>
                  </a:cubicBezTo>
                  <a:cubicBezTo>
                    <a:pt x="201" y="159"/>
                    <a:pt x="201" y="160"/>
                    <a:pt x="201" y="161"/>
                  </a:cubicBezTo>
                  <a:cubicBezTo>
                    <a:pt x="201" y="161"/>
                    <a:pt x="201" y="163"/>
                    <a:pt x="197" y="161"/>
                  </a:cubicBezTo>
                  <a:cubicBezTo>
                    <a:pt x="196" y="161"/>
                    <a:pt x="195" y="161"/>
                    <a:pt x="195" y="159"/>
                  </a:cubicBezTo>
                  <a:cubicBezTo>
                    <a:pt x="195" y="159"/>
                    <a:pt x="194" y="158"/>
                    <a:pt x="194" y="157"/>
                  </a:cubicBezTo>
                  <a:cubicBezTo>
                    <a:pt x="194" y="156"/>
                    <a:pt x="194" y="154"/>
                    <a:pt x="193" y="153"/>
                  </a:cubicBezTo>
                  <a:cubicBezTo>
                    <a:pt x="193" y="152"/>
                    <a:pt x="195" y="150"/>
                    <a:pt x="194" y="150"/>
                  </a:cubicBezTo>
                  <a:cubicBezTo>
                    <a:pt x="191" y="149"/>
                    <a:pt x="191" y="149"/>
                    <a:pt x="191" y="149"/>
                  </a:cubicBezTo>
                  <a:cubicBezTo>
                    <a:pt x="191" y="149"/>
                    <a:pt x="183" y="149"/>
                    <a:pt x="183" y="147"/>
                  </a:cubicBezTo>
                  <a:cubicBezTo>
                    <a:pt x="183" y="147"/>
                    <a:pt x="181" y="146"/>
                    <a:pt x="180" y="145"/>
                  </a:cubicBezTo>
                  <a:cubicBezTo>
                    <a:pt x="180" y="145"/>
                    <a:pt x="179" y="144"/>
                    <a:pt x="176" y="143"/>
                  </a:cubicBezTo>
                  <a:cubicBezTo>
                    <a:pt x="173" y="142"/>
                    <a:pt x="171" y="143"/>
                    <a:pt x="171" y="142"/>
                  </a:cubicBezTo>
                  <a:cubicBezTo>
                    <a:pt x="170" y="140"/>
                    <a:pt x="172" y="137"/>
                    <a:pt x="169" y="137"/>
                  </a:cubicBezTo>
                  <a:cubicBezTo>
                    <a:pt x="168" y="137"/>
                    <a:pt x="167" y="137"/>
                    <a:pt x="166" y="137"/>
                  </a:cubicBezTo>
                  <a:cubicBezTo>
                    <a:pt x="166" y="137"/>
                    <a:pt x="166" y="137"/>
                    <a:pt x="166" y="137"/>
                  </a:cubicBezTo>
                  <a:cubicBezTo>
                    <a:pt x="165" y="137"/>
                    <a:pt x="165" y="137"/>
                    <a:pt x="165" y="137"/>
                  </a:cubicBezTo>
                  <a:cubicBezTo>
                    <a:pt x="165" y="136"/>
                    <a:pt x="165" y="132"/>
                    <a:pt x="166" y="132"/>
                  </a:cubicBezTo>
                  <a:cubicBezTo>
                    <a:pt x="166" y="132"/>
                    <a:pt x="167" y="129"/>
                    <a:pt x="168" y="128"/>
                  </a:cubicBezTo>
                  <a:cubicBezTo>
                    <a:pt x="168" y="127"/>
                    <a:pt x="169" y="126"/>
                    <a:pt x="169" y="126"/>
                  </a:cubicBezTo>
                  <a:cubicBezTo>
                    <a:pt x="170" y="125"/>
                    <a:pt x="171" y="124"/>
                    <a:pt x="172" y="123"/>
                  </a:cubicBezTo>
                  <a:cubicBezTo>
                    <a:pt x="173" y="122"/>
                    <a:pt x="174" y="121"/>
                    <a:pt x="175" y="120"/>
                  </a:cubicBezTo>
                  <a:cubicBezTo>
                    <a:pt x="176" y="120"/>
                    <a:pt x="174" y="119"/>
                    <a:pt x="174" y="119"/>
                  </a:cubicBezTo>
                  <a:cubicBezTo>
                    <a:pt x="175" y="118"/>
                    <a:pt x="178" y="118"/>
                    <a:pt x="179" y="117"/>
                  </a:cubicBezTo>
                  <a:cubicBezTo>
                    <a:pt x="183" y="116"/>
                    <a:pt x="181" y="110"/>
                    <a:pt x="184" y="111"/>
                  </a:cubicBezTo>
                  <a:cubicBezTo>
                    <a:pt x="184" y="111"/>
                    <a:pt x="184" y="112"/>
                    <a:pt x="184" y="113"/>
                  </a:cubicBezTo>
                  <a:cubicBezTo>
                    <a:pt x="184" y="114"/>
                    <a:pt x="184" y="115"/>
                    <a:pt x="183" y="116"/>
                  </a:cubicBezTo>
                  <a:cubicBezTo>
                    <a:pt x="182" y="118"/>
                    <a:pt x="181" y="119"/>
                    <a:pt x="181" y="119"/>
                  </a:cubicBezTo>
                  <a:cubicBezTo>
                    <a:pt x="181" y="120"/>
                    <a:pt x="184" y="119"/>
                    <a:pt x="185" y="120"/>
                  </a:cubicBezTo>
                  <a:cubicBezTo>
                    <a:pt x="186" y="120"/>
                    <a:pt x="186" y="121"/>
                    <a:pt x="186" y="121"/>
                  </a:cubicBezTo>
                  <a:cubicBezTo>
                    <a:pt x="186" y="122"/>
                    <a:pt x="187" y="121"/>
                    <a:pt x="188" y="120"/>
                  </a:cubicBezTo>
                  <a:cubicBezTo>
                    <a:pt x="189" y="120"/>
                    <a:pt x="190" y="118"/>
                    <a:pt x="190" y="117"/>
                  </a:cubicBezTo>
                  <a:cubicBezTo>
                    <a:pt x="192" y="116"/>
                    <a:pt x="192" y="118"/>
                    <a:pt x="193" y="118"/>
                  </a:cubicBezTo>
                  <a:cubicBezTo>
                    <a:pt x="195" y="120"/>
                    <a:pt x="198" y="119"/>
                    <a:pt x="198" y="118"/>
                  </a:cubicBezTo>
                  <a:cubicBezTo>
                    <a:pt x="198" y="115"/>
                    <a:pt x="192" y="114"/>
                    <a:pt x="191" y="113"/>
                  </a:cubicBezTo>
                  <a:cubicBezTo>
                    <a:pt x="190" y="111"/>
                    <a:pt x="189" y="111"/>
                    <a:pt x="189" y="110"/>
                  </a:cubicBezTo>
                  <a:cubicBezTo>
                    <a:pt x="188" y="109"/>
                    <a:pt x="192" y="110"/>
                    <a:pt x="192" y="110"/>
                  </a:cubicBezTo>
                  <a:cubicBezTo>
                    <a:pt x="193" y="110"/>
                    <a:pt x="191" y="109"/>
                    <a:pt x="191" y="107"/>
                  </a:cubicBezTo>
                  <a:cubicBezTo>
                    <a:pt x="191" y="107"/>
                    <a:pt x="192" y="105"/>
                    <a:pt x="193" y="105"/>
                  </a:cubicBezTo>
                  <a:cubicBezTo>
                    <a:pt x="194" y="105"/>
                    <a:pt x="194" y="106"/>
                    <a:pt x="194" y="105"/>
                  </a:cubicBezTo>
                  <a:cubicBezTo>
                    <a:pt x="195" y="104"/>
                    <a:pt x="196" y="103"/>
                    <a:pt x="195" y="101"/>
                  </a:cubicBezTo>
                  <a:cubicBezTo>
                    <a:pt x="193" y="99"/>
                    <a:pt x="195" y="98"/>
                    <a:pt x="195" y="98"/>
                  </a:cubicBezTo>
                  <a:cubicBezTo>
                    <a:pt x="195" y="96"/>
                    <a:pt x="196" y="95"/>
                    <a:pt x="196" y="94"/>
                  </a:cubicBezTo>
                  <a:cubicBezTo>
                    <a:pt x="197" y="92"/>
                    <a:pt x="197" y="92"/>
                    <a:pt x="196" y="91"/>
                  </a:cubicBezTo>
                  <a:cubicBezTo>
                    <a:pt x="195" y="91"/>
                    <a:pt x="194" y="90"/>
                    <a:pt x="191" y="89"/>
                  </a:cubicBezTo>
                  <a:cubicBezTo>
                    <a:pt x="190" y="89"/>
                    <a:pt x="189" y="88"/>
                    <a:pt x="188" y="89"/>
                  </a:cubicBezTo>
                  <a:cubicBezTo>
                    <a:pt x="187" y="89"/>
                    <a:pt x="187" y="90"/>
                    <a:pt x="186" y="90"/>
                  </a:cubicBezTo>
                  <a:cubicBezTo>
                    <a:pt x="186" y="91"/>
                    <a:pt x="186" y="91"/>
                    <a:pt x="186" y="91"/>
                  </a:cubicBezTo>
                  <a:cubicBezTo>
                    <a:pt x="186" y="91"/>
                    <a:pt x="186" y="91"/>
                    <a:pt x="186" y="91"/>
                  </a:cubicBezTo>
                  <a:cubicBezTo>
                    <a:pt x="187" y="91"/>
                    <a:pt x="188" y="92"/>
                    <a:pt x="185" y="94"/>
                  </a:cubicBezTo>
                  <a:cubicBezTo>
                    <a:pt x="184" y="95"/>
                    <a:pt x="183" y="96"/>
                    <a:pt x="183" y="97"/>
                  </a:cubicBezTo>
                  <a:cubicBezTo>
                    <a:pt x="183" y="98"/>
                    <a:pt x="185" y="100"/>
                    <a:pt x="185" y="101"/>
                  </a:cubicBezTo>
                  <a:cubicBezTo>
                    <a:pt x="184" y="103"/>
                    <a:pt x="182" y="101"/>
                    <a:pt x="182" y="101"/>
                  </a:cubicBezTo>
                  <a:cubicBezTo>
                    <a:pt x="181" y="100"/>
                    <a:pt x="181" y="98"/>
                    <a:pt x="181" y="97"/>
                  </a:cubicBezTo>
                  <a:cubicBezTo>
                    <a:pt x="181" y="96"/>
                    <a:pt x="181" y="95"/>
                    <a:pt x="181" y="94"/>
                  </a:cubicBezTo>
                  <a:cubicBezTo>
                    <a:pt x="181" y="92"/>
                    <a:pt x="181" y="92"/>
                    <a:pt x="180" y="91"/>
                  </a:cubicBezTo>
                  <a:cubicBezTo>
                    <a:pt x="180" y="92"/>
                    <a:pt x="178" y="90"/>
                    <a:pt x="177" y="92"/>
                  </a:cubicBezTo>
                  <a:cubicBezTo>
                    <a:pt x="176" y="93"/>
                    <a:pt x="175" y="97"/>
                    <a:pt x="175" y="97"/>
                  </a:cubicBezTo>
                  <a:cubicBezTo>
                    <a:pt x="174" y="99"/>
                    <a:pt x="175" y="91"/>
                    <a:pt x="174" y="90"/>
                  </a:cubicBezTo>
                  <a:cubicBezTo>
                    <a:pt x="173" y="89"/>
                    <a:pt x="174" y="89"/>
                    <a:pt x="173" y="88"/>
                  </a:cubicBezTo>
                  <a:cubicBezTo>
                    <a:pt x="172" y="87"/>
                    <a:pt x="174" y="83"/>
                    <a:pt x="171" y="85"/>
                  </a:cubicBezTo>
                  <a:cubicBezTo>
                    <a:pt x="170" y="85"/>
                    <a:pt x="170" y="83"/>
                    <a:pt x="170" y="82"/>
                  </a:cubicBezTo>
                  <a:cubicBezTo>
                    <a:pt x="170" y="81"/>
                    <a:pt x="171" y="78"/>
                    <a:pt x="170" y="79"/>
                  </a:cubicBezTo>
                  <a:cubicBezTo>
                    <a:pt x="168" y="80"/>
                    <a:pt x="168" y="80"/>
                    <a:pt x="168" y="80"/>
                  </a:cubicBezTo>
                  <a:cubicBezTo>
                    <a:pt x="167" y="80"/>
                    <a:pt x="168" y="78"/>
                    <a:pt x="168" y="78"/>
                  </a:cubicBezTo>
                  <a:cubicBezTo>
                    <a:pt x="168" y="78"/>
                    <a:pt x="167" y="77"/>
                    <a:pt x="167" y="77"/>
                  </a:cubicBezTo>
                  <a:cubicBezTo>
                    <a:pt x="166" y="77"/>
                    <a:pt x="166" y="78"/>
                    <a:pt x="165" y="78"/>
                  </a:cubicBezTo>
                  <a:cubicBezTo>
                    <a:pt x="163" y="77"/>
                    <a:pt x="162" y="78"/>
                    <a:pt x="162" y="80"/>
                  </a:cubicBezTo>
                  <a:cubicBezTo>
                    <a:pt x="161" y="81"/>
                    <a:pt x="161" y="83"/>
                    <a:pt x="161" y="84"/>
                  </a:cubicBezTo>
                  <a:cubicBezTo>
                    <a:pt x="160" y="85"/>
                    <a:pt x="160" y="86"/>
                    <a:pt x="160" y="86"/>
                  </a:cubicBezTo>
                  <a:cubicBezTo>
                    <a:pt x="159" y="87"/>
                    <a:pt x="161" y="89"/>
                    <a:pt x="165" y="89"/>
                  </a:cubicBezTo>
                  <a:cubicBezTo>
                    <a:pt x="167" y="89"/>
                    <a:pt x="167" y="92"/>
                    <a:pt x="167" y="93"/>
                  </a:cubicBezTo>
                  <a:cubicBezTo>
                    <a:pt x="167" y="94"/>
                    <a:pt x="167" y="95"/>
                    <a:pt x="167" y="97"/>
                  </a:cubicBezTo>
                  <a:cubicBezTo>
                    <a:pt x="167" y="98"/>
                    <a:pt x="165" y="98"/>
                    <a:pt x="165" y="98"/>
                  </a:cubicBezTo>
                  <a:cubicBezTo>
                    <a:pt x="164" y="101"/>
                    <a:pt x="165" y="102"/>
                    <a:pt x="164" y="102"/>
                  </a:cubicBezTo>
                  <a:cubicBezTo>
                    <a:pt x="164" y="102"/>
                    <a:pt x="163" y="100"/>
                    <a:pt x="163" y="99"/>
                  </a:cubicBezTo>
                  <a:cubicBezTo>
                    <a:pt x="162" y="95"/>
                    <a:pt x="159" y="94"/>
                    <a:pt x="157" y="95"/>
                  </a:cubicBezTo>
                  <a:cubicBezTo>
                    <a:pt x="156" y="97"/>
                    <a:pt x="156" y="100"/>
                    <a:pt x="155" y="99"/>
                  </a:cubicBezTo>
                  <a:cubicBezTo>
                    <a:pt x="152" y="98"/>
                    <a:pt x="150" y="99"/>
                    <a:pt x="147" y="98"/>
                  </a:cubicBezTo>
                  <a:cubicBezTo>
                    <a:pt x="144" y="98"/>
                    <a:pt x="144" y="94"/>
                    <a:pt x="142" y="93"/>
                  </a:cubicBezTo>
                  <a:cubicBezTo>
                    <a:pt x="141" y="93"/>
                    <a:pt x="138" y="93"/>
                    <a:pt x="137" y="93"/>
                  </a:cubicBezTo>
                  <a:cubicBezTo>
                    <a:pt x="137" y="93"/>
                    <a:pt x="138" y="96"/>
                    <a:pt x="137" y="96"/>
                  </a:cubicBezTo>
                  <a:cubicBezTo>
                    <a:pt x="136" y="96"/>
                    <a:pt x="136" y="99"/>
                    <a:pt x="135" y="99"/>
                  </a:cubicBezTo>
                  <a:cubicBezTo>
                    <a:pt x="134" y="100"/>
                    <a:pt x="132" y="98"/>
                    <a:pt x="129" y="98"/>
                  </a:cubicBezTo>
                  <a:cubicBezTo>
                    <a:pt x="126" y="99"/>
                    <a:pt x="128" y="97"/>
                    <a:pt x="123" y="98"/>
                  </a:cubicBezTo>
                  <a:cubicBezTo>
                    <a:pt x="121" y="98"/>
                    <a:pt x="122" y="93"/>
                    <a:pt x="120" y="93"/>
                  </a:cubicBezTo>
                  <a:cubicBezTo>
                    <a:pt x="117" y="93"/>
                    <a:pt x="118" y="92"/>
                    <a:pt x="115" y="93"/>
                  </a:cubicBezTo>
                  <a:cubicBezTo>
                    <a:pt x="115" y="93"/>
                    <a:pt x="113" y="93"/>
                    <a:pt x="111" y="92"/>
                  </a:cubicBezTo>
                  <a:cubicBezTo>
                    <a:pt x="110" y="92"/>
                    <a:pt x="109" y="89"/>
                    <a:pt x="109" y="90"/>
                  </a:cubicBezTo>
                  <a:cubicBezTo>
                    <a:pt x="106" y="89"/>
                    <a:pt x="106" y="89"/>
                    <a:pt x="103" y="90"/>
                  </a:cubicBezTo>
                  <a:cubicBezTo>
                    <a:pt x="102" y="91"/>
                    <a:pt x="100" y="85"/>
                    <a:pt x="99" y="87"/>
                  </a:cubicBezTo>
                  <a:cubicBezTo>
                    <a:pt x="99" y="87"/>
                    <a:pt x="99" y="87"/>
                    <a:pt x="99" y="87"/>
                  </a:cubicBezTo>
                  <a:cubicBezTo>
                    <a:pt x="99" y="88"/>
                    <a:pt x="99" y="88"/>
                    <a:pt x="99" y="88"/>
                  </a:cubicBezTo>
                  <a:cubicBezTo>
                    <a:pt x="100" y="89"/>
                    <a:pt x="100" y="90"/>
                    <a:pt x="98" y="91"/>
                  </a:cubicBezTo>
                  <a:cubicBezTo>
                    <a:pt x="97" y="91"/>
                    <a:pt x="97" y="84"/>
                    <a:pt x="92" y="84"/>
                  </a:cubicBezTo>
                  <a:cubicBezTo>
                    <a:pt x="90" y="84"/>
                    <a:pt x="91" y="86"/>
                    <a:pt x="90" y="87"/>
                  </a:cubicBezTo>
                  <a:cubicBezTo>
                    <a:pt x="88" y="87"/>
                    <a:pt x="87" y="89"/>
                    <a:pt x="85" y="89"/>
                  </a:cubicBezTo>
                  <a:cubicBezTo>
                    <a:pt x="83" y="89"/>
                    <a:pt x="82" y="91"/>
                    <a:pt x="78" y="89"/>
                  </a:cubicBezTo>
                  <a:cubicBezTo>
                    <a:pt x="75" y="89"/>
                    <a:pt x="76" y="95"/>
                    <a:pt x="74" y="95"/>
                  </a:cubicBezTo>
                  <a:cubicBezTo>
                    <a:pt x="71" y="95"/>
                    <a:pt x="70" y="91"/>
                    <a:pt x="68" y="90"/>
                  </a:cubicBezTo>
                  <a:cubicBezTo>
                    <a:pt x="66" y="89"/>
                    <a:pt x="64" y="89"/>
                    <a:pt x="61" y="87"/>
                  </a:cubicBezTo>
                  <a:cubicBezTo>
                    <a:pt x="59" y="86"/>
                    <a:pt x="59" y="88"/>
                    <a:pt x="57" y="88"/>
                  </a:cubicBezTo>
                  <a:cubicBezTo>
                    <a:pt x="56" y="88"/>
                    <a:pt x="54" y="88"/>
                    <a:pt x="53" y="87"/>
                  </a:cubicBezTo>
                  <a:cubicBezTo>
                    <a:pt x="51" y="87"/>
                    <a:pt x="50" y="86"/>
                    <a:pt x="48" y="85"/>
                  </a:cubicBezTo>
                  <a:cubicBezTo>
                    <a:pt x="45" y="84"/>
                    <a:pt x="44" y="84"/>
                    <a:pt x="42" y="84"/>
                  </a:cubicBezTo>
                  <a:cubicBezTo>
                    <a:pt x="39" y="83"/>
                    <a:pt x="37" y="82"/>
                    <a:pt x="35" y="81"/>
                  </a:cubicBezTo>
                  <a:cubicBezTo>
                    <a:pt x="33" y="81"/>
                    <a:pt x="31" y="80"/>
                    <a:pt x="30" y="81"/>
                  </a:cubicBezTo>
                  <a:cubicBezTo>
                    <a:pt x="29" y="81"/>
                    <a:pt x="29" y="84"/>
                    <a:pt x="28" y="85"/>
                  </a:cubicBezTo>
                  <a:cubicBezTo>
                    <a:pt x="26" y="85"/>
                    <a:pt x="24" y="83"/>
                    <a:pt x="24" y="84"/>
                  </a:cubicBezTo>
                  <a:cubicBezTo>
                    <a:pt x="23" y="87"/>
                    <a:pt x="19" y="87"/>
                    <a:pt x="17" y="88"/>
                  </a:cubicBezTo>
                  <a:cubicBezTo>
                    <a:pt x="15" y="90"/>
                    <a:pt x="18" y="89"/>
                    <a:pt x="13" y="91"/>
                  </a:cubicBezTo>
                  <a:cubicBezTo>
                    <a:pt x="11" y="93"/>
                    <a:pt x="9" y="89"/>
                    <a:pt x="9" y="96"/>
                  </a:cubicBezTo>
                  <a:cubicBezTo>
                    <a:pt x="9" y="100"/>
                    <a:pt x="14" y="98"/>
                    <a:pt x="14" y="101"/>
                  </a:cubicBezTo>
                  <a:cubicBezTo>
                    <a:pt x="14" y="102"/>
                    <a:pt x="20" y="106"/>
                    <a:pt x="19" y="107"/>
                  </a:cubicBezTo>
                  <a:cubicBezTo>
                    <a:pt x="18" y="108"/>
                    <a:pt x="17" y="109"/>
                    <a:pt x="15" y="105"/>
                  </a:cubicBezTo>
                  <a:cubicBezTo>
                    <a:pt x="14" y="103"/>
                    <a:pt x="11" y="107"/>
                    <a:pt x="9" y="107"/>
                  </a:cubicBezTo>
                  <a:cubicBezTo>
                    <a:pt x="8" y="108"/>
                    <a:pt x="6" y="110"/>
                    <a:pt x="6" y="110"/>
                  </a:cubicBezTo>
                  <a:cubicBezTo>
                    <a:pt x="7" y="111"/>
                    <a:pt x="6" y="112"/>
                    <a:pt x="6" y="112"/>
                  </a:cubicBezTo>
                  <a:cubicBezTo>
                    <a:pt x="7" y="113"/>
                    <a:pt x="5" y="117"/>
                    <a:pt x="6" y="117"/>
                  </a:cubicBezTo>
                  <a:cubicBezTo>
                    <a:pt x="8" y="118"/>
                    <a:pt x="13" y="116"/>
                    <a:pt x="15" y="116"/>
                  </a:cubicBezTo>
                  <a:cubicBezTo>
                    <a:pt x="17" y="115"/>
                    <a:pt x="18" y="114"/>
                    <a:pt x="19" y="114"/>
                  </a:cubicBezTo>
                  <a:cubicBezTo>
                    <a:pt x="20" y="115"/>
                    <a:pt x="19" y="116"/>
                    <a:pt x="19" y="117"/>
                  </a:cubicBezTo>
                  <a:cubicBezTo>
                    <a:pt x="19" y="117"/>
                    <a:pt x="18" y="118"/>
                    <a:pt x="18" y="119"/>
                  </a:cubicBezTo>
                  <a:cubicBezTo>
                    <a:pt x="18" y="119"/>
                    <a:pt x="18" y="120"/>
                    <a:pt x="16" y="120"/>
                  </a:cubicBezTo>
                  <a:cubicBezTo>
                    <a:pt x="15" y="121"/>
                    <a:pt x="12" y="120"/>
                    <a:pt x="12" y="121"/>
                  </a:cubicBezTo>
                  <a:cubicBezTo>
                    <a:pt x="11" y="122"/>
                    <a:pt x="11" y="124"/>
                    <a:pt x="10" y="125"/>
                  </a:cubicBezTo>
                  <a:cubicBezTo>
                    <a:pt x="9" y="125"/>
                    <a:pt x="8" y="125"/>
                    <a:pt x="8" y="127"/>
                  </a:cubicBezTo>
                  <a:cubicBezTo>
                    <a:pt x="8" y="128"/>
                    <a:pt x="11" y="128"/>
                    <a:pt x="12" y="130"/>
                  </a:cubicBezTo>
                  <a:cubicBezTo>
                    <a:pt x="12" y="130"/>
                    <a:pt x="12" y="132"/>
                    <a:pt x="10" y="132"/>
                  </a:cubicBezTo>
                  <a:cubicBezTo>
                    <a:pt x="9" y="133"/>
                    <a:pt x="8" y="131"/>
                    <a:pt x="8" y="133"/>
                  </a:cubicBezTo>
                  <a:cubicBezTo>
                    <a:pt x="9" y="135"/>
                    <a:pt x="11" y="135"/>
                    <a:pt x="12" y="134"/>
                  </a:cubicBezTo>
                  <a:cubicBezTo>
                    <a:pt x="12" y="134"/>
                    <a:pt x="13" y="132"/>
                    <a:pt x="16" y="135"/>
                  </a:cubicBezTo>
                  <a:cubicBezTo>
                    <a:pt x="18" y="136"/>
                    <a:pt x="19" y="134"/>
                    <a:pt x="19" y="135"/>
                  </a:cubicBezTo>
                  <a:cubicBezTo>
                    <a:pt x="20" y="136"/>
                    <a:pt x="17" y="140"/>
                    <a:pt x="19" y="139"/>
                  </a:cubicBezTo>
                  <a:cubicBezTo>
                    <a:pt x="19" y="139"/>
                    <a:pt x="21" y="139"/>
                    <a:pt x="23" y="140"/>
                  </a:cubicBezTo>
                  <a:cubicBezTo>
                    <a:pt x="24" y="140"/>
                    <a:pt x="24" y="136"/>
                    <a:pt x="30" y="139"/>
                  </a:cubicBezTo>
                  <a:cubicBezTo>
                    <a:pt x="31" y="139"/>
                    <a:pt x="29" y="141"/>
                    <a:pt x="28" y="142"/>
                  </a:cubicBezTo>
                  <a:cubicBezTo>
                    <a:pt x="28" y="143"/>
                    <a:pt x="26" y="144"/>
                    <a:pt x="24" y="144"/>
                  </a:cubicBezTo>
                  <a:cubicBezTo>
                    <a:pt x="23" y="145"/>
                    <a:pt x="24" y="145"/>
                    <a:pt x="23" y="146"/>
                  </a:cubicBezTo>
                  <a:cubicBezTo>
                    <a:pt x="22" y="147"/>
                    <a:pt x="20" y="147"/>
                    <a:pt x="19" y="148"/>
                  </a:cubicBezTo>
                  <a:cubicBezTo>
                    <a:pt x="18" y="149"/>
                    <a:pt x="16" y="150"/>
                    <a:pt x="15" y="150"/>
                  </a:cubicBezTo>
                  <a:cubicBezTo>
                    <a:pt x="14" y="151"/>
                    <a:pt x="13" y="152"/>
                    <a:pt x="11" y="153"/>
                  </a:cubicBezTo>
                  <a:cubicBezTo>
                    <a:pt x="10" y="154"/>
                    <a:pt x="8" y="153"/>
                    <a:pt x="7" y="154"/>
                  </a:cubicBezTo>
                  <a:cubicBezTo>
                    <a:pt x="6" y="154"/>
                    <a:pt x="6" y="156"/>
                    <a:pt x="6" y="157"/>
                  </a:cubicBezTo>
                  <a:cubicBezTo>
                    <a:pt x="5" y="157"/>
                    <a:pt x="3" y="156"/>
                    <a:pt x="2" y="157"/>
                  </a:cubicBezTo>
                  <a:cubicBezTo>
                    <a:pt x="1" y="157"/>
                    <a:pt x="0" y="159"/>
                    <a:pt x="0" y="160"/>
                  </a:cubicBezTo>
                  <a:cubicBezTo>
                    <a:pt x="0" y="161"/>
                    <a:pt x="3" y="158"/>
                    <a:pt x="6" y="157"/>
                  </a:cubicBezTo>
                  <a:cubicBezTo>
                    <a:pt x="8" y="157"/>
                    <a:pt x="9" y="156"/>
                    <a:pt x="11" y="156"/>
                  </a:cubicBezTo>
                  <a:cubicBezTo>
                    <a:pt x="16" y="154"/>
                    <a:pt x="13" y="153"/>
                    <a:pt x="16" y="153"/>
                  </a:cubicBezTo>
                  <a:cubicBezTo>
                    <a:pt x="21" y="154"/>
                    <a:pt x="19" y="151"/>
                    <a:pt x="21" y="151"/>
                  </a:cubicBezTo>
                  <a:cubicBezTo>
                    <a:pt x="22" y="151"/>
                    <a:pt x="22" y="150"/>
                    <a:pt x="25" y="151"/>
                  </a:cubicBezTo>
                  <a:cubicBezTo>
                    <a:pt x="26" y="152"/>
                    <a:pt x="28" y="151"/>
                    <a:pt x="24" y="149"/>
                  </a:cubicBezTo>
                  <a:cubicBezTo>
                    <a:pt x="23" y="148"/>
                    <a:pt x="29" y="147"/>
                    <a:pt x="30" y="146"/>
                  </a:cubicBezTo>
                  <a:cubicBezTo>
                    <a:pt x="31" y="145"/>
                    <a:pt x="32" y="142"/>
                    <a:pt x="33" y="142"/>
                  </a:cubicBezTo>
                  <a:cubicBezTo>
                    <a:pt x="35" y="142"/>
                    <a:pt x="37" y="140"/>
                    <a:pt x="38" y="138"/>
                  </a:cubicBezTo>
                  <a:cubicBezTo>
                    <a:pt x="39" y="137"/>
                    <a:pt x="38" y="136"/>
                    <a:pt x="38" y="135"/>
                  </a:cubicBezTo>
                  <a:cubicBezTo>
                    <a:pt x="40" y="134"/>
                    <a:pt x="41" y="132"/>
                    <a:pt x="41" y="132"/>
                  </a:cubicBezTo>
                  <a:cubicBezTo>
                    <a:pt x="42" y="133"/>
                    <a:pt x="42" y="133"/>
                    <a:pt x="41" y="136"/>
                  </a:cubicBezTo>
                  <a:cubicBezTo>
                    <a:pt x="40" y="137"/>
                    <a:pt x="39" y="140"/>
                    <a:pt x="37" y="141"/>
                  </a:cubicBezTo>
                  <a:cubicBezTo>
                    <a:pt x="35" y="144"/>
                    <a:pt x="34" y="144"/>
                    <a:pt x="35" y="147"/>
                  </a:cubicBezTo>
                  <a:cubicBezTo>
                    <a:pt x="36" y="148"/>
                    <a:pt x="38" y="146"/>
                    <a:pt x="39" y="144"/>
                  </a:cubicBezTo>
                  <a:cubicBezTo>
                    <a:pt x="39" y="144"/>
                    <a:pt x="43" y="146"/>
                    <a:pt x="43" y="141"/>
                  </a:cubicBezTo>
                  <a:cubicBezTo>
                    <a:pt x="43" y="141"/>
                    <a:pt x="43" y="140"/>
                    <a:pt x="42" y="139"/>
                  </a:cubicBezTo>
                  <a:cubicBezTo>
                    <a:pt x="40" y="138"/>
                    <a:pt x="42" y="136"/>
                    <a:pt x="43" y="137"/>
                  </a:cubicBezTo>
                  <a:cubicBezTo>
                    <a:pt x="44" y="136"/>
                    <a:pt x="43" y="135"/>
                    <a:pt x="44" y="135"/>
                  </a:cubicBezTo>
                  <a:cubicBezTo>
                    <a:pt x="45" y="136"/>
                    <a:pt x="46" y="135"/>
                    <a:pt x="47" y="134"/>
                  </a:cubicBezTo>
                  <a:cubicBezTo>
                    <a:pt x="49" y="133"/>
                    <a:pt x="51" y="133"/>
                    <a:pt x="52" y="134"/>
                  </a:cubicBezTo>
                  <a:cubicBezTo>
                    <a:pt x="54" y="134"/>
                    <a:pt x="48" y="130"/>
                    <a:pt x="51" y="130"/>
                  </a:cubicBezTo>
                  <a:cubicBezTo>
                    <a:pt x="53" y="129"/>
                    <a:pt x="52" y="132"/>
                    <a:pt x="55" y="132"/>
                  </a:cubicBezTo>
                  <a:cubicBezTo>
                    <a:pt x="57" y="132"/>
                    <a:pt x="57" y="134"/>
                    <a:pt x="59" y="134"/>
                  </a:cubicBezTo>
                  <a:cubicBezTo>
                    <a:pt x="62" y="134"/>
                    <a:pt x="61" y="134"/>
                    <a:pt x="63" y="134"/>
                  </a:cubicBezTo>
                  <a:cubicBezTo>
                    <a:pt x="64" y="134"/>
                    <a:pt x="62" y="139"/>
                    <a:pt x="67" y="136"/>
                  </a:cubicBezTo>
                  <a:cubicBezTo>
                    <a:pt x="67" y="136"/>
                    <a:pt x="69" y="135"/>
                    <a:pt x="70" y="136"/>
                  </a:cubicBezTo>
                  <a:cubicBezTo>
                    <a:pt x="70" y="137"/>
                    <a:pt x="72" y="138"/>
                    <a:pt x="73" y="138"/>
                  </a:cubicBezTo>
                  <a:cubicBezTo>
                    <a:pt x="74" y="139"/>
                    <a:pt x="74" y="141"/>
                    <a:pt x="75" y="142"/>
                  </a:cubicBezTo>
                  <a:cubicBezTo>
                    <a:pt x="75" y="143"/>
                    <a:pt x="75" y="144"/>
                    <a:pt x="76" y="145"/>
                  </a:cubicBezTo>
                  <a:cubicBezTo>
                    <a:pt x="77" y="146"/>
                    <a:pt x="79" y="147"/>
                    <a:pt x="80" y="148"/>
                  </a:cubicBezTo>
                  <a:cubicBezTo>
                    <a:pt x="80" y="148"/>
                    <a:pt x="81" y="151"/>
                    <a:pt x="81" y="152"/>
                  </a:cubicBezTo>
                  <a:cubicBezTo>
                    <a:pt x="82" y="153"/>
                    <a:pt x="82" y="154"/>
                    <a:pt x="83" y="155"/>
                  </a:cubicBezTo>
                  <a:cubicBezTo>
                    <a:pt x="83" y="156"/>
                    <a:pt x="82" y="156"/>
                    <a:pt x="83" y="157"/>
                  </a:cubicBezTo>
                  <a:cubicBezTo>
                    <a:pt x="84" y="158"/>
                    <a:pt x="84" y="159"/>
                    <a:pt x="85" y="160"/>
                  </a:cubicBezTo>
                  <a:cubicBezTo>
                    <a:pt x="86" y="161"/>
                    <a:pt x="87" y="160"/>
                    <a:pt x="88" y="161"/>
                  </a:cubicBezTo>
                  <a:cubicBezTo>
                    <a:pt x="89" y="163"/>
                    <a:pt x="88" y="158"/>
                    <a:pt x="88" y="157"/>
                  </a:cubicBezTo>
                  <a:cubicBezTo>
                    <a:pt x="86" y="155"/>
                    <a:pt x="85" y="150"/>
                    <a:pt x="86" y="151"/>
                  </a:cubicBezTo>
                  <a:cubicBezTo>
                    <a:pt x="87" y="154"/>
                    <a:pt x="89" y="156"/>
                    <a:pt x="89" y="156"/>
                  </a:cubicBezTo>
                  <a:cubicBezTo>
                    <a:pt x="91" y="159"/>
                    <a:pt x="91" y="159"/>
                    <a:pt x="91" y="159"/>
                  </a:cubicBezTo>
                  <a:cubicBezTo>
                    <a:pt x="92" y="160"/>
                    <a:pt x="94" y="160"/>
                    <a:pt x="94" y="162"/>
                  </a:cubicBezTo>
                  <a:cubicBezTo>
                    <a:pt x="94" y="163"/>
                    <a:pt x="94" y="164"/>
                    <a:pt x="93" y="165"/>
                  </a:cubicBezTo>
                  <a:cubicBezTo>
                    <a:pt x="91" y="165"/>
                    <a:pt x="95" y="167"/>
                    <a:pt x="95" y="167"/>
                  </a:cubicBezTo>
                  <a:cubicBezTo>
                    <a:pt x="97" y="169"/>
                    <a:pt x="97" y="169"/>
                    <a:pt x="97" y="169"/>
                  </a:cubicBezTo>
                  <a:cubicBezTo>
                    <a:pt x="98" y="170"/>
                    <a:pt x="99" y="169"/>
                    <a:pt x="100" y="170"/>
                  </a:cubicBezTo>
                  <a:cubicBezTo>
                    <a:pt x="100" y="171"/>
                    <a:pt x="101" y="172"/>
                    <a:pt x="101" y="172"/>
                  </a:cubicBezTo>
                  <a:cubicBezTo>
                    <a:pt x="102" y="173"/>
                    <a:pt x="101" y="175"/>
                    <a:pt x="101" y="175"/>
                  </a:cubicBezTo>
                  <a:cubicBezTo>
                    <a:pt x="102" y="177"/>
                    <a:pt x="102" y="177"/>
                    <a:pt x="102" y="177"/>
                  </a:cubicBezTo>
                  <a:cubicBezTo>
                    <a:pt x="101" y="180"/>
                    <a:pt x="101" y="180"/>
                    <a:pt x="101" y="180"/>
                  </a:cubicBezTo>
                  <a:cubicBezTo>
                    <a:pt x="101" y="181"/>
                    <a:pt x="101" y="182"/>
                    <a:pt x="101" y="183"/>
                  </a:cubicBezTo>
                  <a:cubicBezTo>
                    <a:pt x="101" y="184"/>
                    <a:pt x="101" y="188"/>
                    <a:pt x="101" y="188"/>
                  </a:cubicBezTo>
                  <a:cubicBezTo>
                    <a:pt x="101" y="188"/>
                    <a:pt x="101" y="190"/>
                    <a:pt x="102" y="192"/>
                  </a:cubicBezTo>
                  <a:cubicBezTo>
                    <a:pt x="102" y="194"/>
                    <a:pt x="102" y="196"/>
                    <a:pt x="104" y="198"/>
                  </a:cubicBezTo>
                  <a:cubicBezTo>
                    <a:pt x="105" y="199"/>
                    <a:pt x="106" y="202"/>
                    <a:pt x="110" y="204"/>
                  </a:cubicBezTo>
                  <a:cubicBezTo>
                    <a:pt x="114" y="207"/>
                    <a:pt x="114" y="207"/>
                    <a:pt x="114" y="207"/>
                  </a:cubicBezTo>
                  <a:cubicBezTo>
                    <a:pt x="114" y="207"/>
                    <a:pt x="116" y="207"/>
                    <a:pt x="116" y="209"/>
                  </a:cubicBezTo>
                  <a:cubicBezTo>
                    <a:pt x="116" y="209"/>
                    <a:pt x="117" y="211"/>
                    <a:pt x="117" y="213"/>
                  </a:cubicBezTo>
                  <a:cubicBezTo>
                    <a:pt x="117" y="213"/>
                    <a:pt x="117" y="216"/>
                    <a:pt x="121" y="217"/>
                  </a:cubicBezTo>
                  <a:cubicBezTo>
                    <a:pt x="122" y="217"/>
                    <a:pt x="123" y="217"/>
                    <a:pt x="123" y="218"/>
                  </a:cubicBezTo>
                  <a:cubicBezTo>
                    <a:pt x="123" y="218"/>
                    <a:pt x="123" y="219"/>
                    <a:pt x="124" y="220"/>
                  </a:cubicBezTo>
                  <a:cubicBezTo>
                    <a:pt x="125" y="221"/>
                    <a:pt x="125" y="220"/>
                    <a:pt x="126" y="222"/>
                  </a:cubicBezTo>
                  <a:cubicBezTo>
                    <a:pt x="127" y="223"/>
                    <a:pt x="129" y="224"/>
                    <a:pt x="128" y="224"/>
                  </a:cubicBezTo>
                  <a:cubicBezTo>
                    <a:pt x="128" y="224"/>
                    <a:pt x="128" y="225"/>
                    <a:pt x="129" y="226"/>
                  </a:cubicBezTo>
                  <a:cubicBezTo>
                    <a:pt x="131" y="227"/>
                    <a:pt x="131" y="228"/>
                    <a:pt x="131" y="228"/>
                  </a:cubicBezTo>
                  <a:cubicBezTo>
                    <a:pt x="133" y="230"/>
                    <a:pt x="132" y="231"/>
                    <a:pt x="134" y="231"/>
                  </a:cubicBezTo>
                  <a:cubicBezTo>
                    <a:pt x="137" y="231"/>
                    <a:pt x="135" y="229"/>
                    <a:pt x="134" y="228"/>
                  </a:cubicBezTo>
                  <a:cubicBezTo>
                    <a:pt x="134" y="227"/>
                    <a:pt x="133" y="226"/>
                    <a:pt x="132" y="225"/>
                  </a:cubicBezTo>
                  <a:cubicBezTo>
                    <a:pt x="131" y="225"/>
                    <a:pt x="129" y="223"/>
                    <a:pt x="131" y="223"/>
                  </a:cubicBezTo>
                  <a:cubicBezTo>
                    <a:pt x="133" y="223"/>
                    <a:pt x="128" y="221"/>
                    <a:pt x="128" y="221"/>
                  </a:cubicBezTo>
                  <a:cubicBezTo>
                    <a:pt x="128" y="221"/>
                    <a:pt x="126" y="220"/>
                    <a:pt x="126" y="218"/>
                  </a:cubicBezTo>
                  <a:cubicBezTo>
                    <a:pt x="125" y="216"/>
                    <a:pt x="122" y="216"/>
                    <a:pt x="123" y="214"/>
                  </a:cubicBezTo>
                  <a:cubicBezTo>
                    <a:pt x="123" y="213"/>
                    <a:pt x="122" y="212"/>
                    <a:pt x="125" y="212"/>
                  </a:cubicBezTo>
                  <a:cubicBezTo>
                    <a:pt x="127" y="211"/>
                    <a:pt x="126" y="214"/>
                    <a:pt x="127" y="215"/>
                  </a:cubicBezTo>
                  <a:cubicBezTo>
                    <a:pt x="129" y="214"/>
                    <a:pt x="126" y="218"/>
                    <a:pt x="128" y="217"/>
                  </a:cubicBezTo>
                  <a:cubicBezTo>
                    <a:pt x="130" y="217"/>
                    <a:pt x="129" y="220"/>
                    <a:pt x="131" y="219"/>
                  </a:cubicBezTo>
                  <a:cubicBezTo>
                    <a:pt x="133" y="219"/>
                    <a:pt x="132" y="221"/>
                    <a:pt x="133" y="222"/>
                  </a:cubicBezTo>
                  <a:cubicBezTo>
                    <a:pt x="134" y="224"/>
                    <a:pt x="134" y="222"/>
                    <a:pt x="136" y="224"/>
                  </a:cubicBezTo>
                  <a:cubicBezTo>
                    <a:pt x="137" y="225"/>
                    <a:pt x="138" y="226"/>
                    <a:pt x="139" y="226"/>
                  </a:cubicBezTo>
                  <a:cubicBezTo>
                    <a:pt x="140" y="228"/>
                    <a:pt x="139" y="229"/>
                    <a:pt x="140" y="229"/>
                  </a:cubicBezTo>
                  <a:cubicBezTo>
                    <a:pt x="142" y="229"/>
                    <a:pt x="140" y="230"/>
                    <a:pt x="142" y="231"/>
                  </a:cubicBezTo>
                  <a:cubicBezTo>
                    <a:pt x="144" y="230"/>
                    <a:pt x="142" y="232"/>
                    <a:pt x="143" y="233"/>
                  </a:cubicBezTo>
                  <a:cubicBezTo>
                    <a:pt x="143" y="235"/>
                    <a:pt x="142" y="236"/>
                    <a:pt x="143" y="236"/>
                  </a:cubicBezTo>
                  <a:cubicBezTo>
                    <a:pt x="145" y="235"/>
                    <a:pt x="142" y="238"/>
                    <a:pt x="144" y="238"/>
                  </a:cubicBezTo>
                  <a:cubicBezTo>
                    <a:pt x="146" y="237"/>
                    <a:pt x="146" y="239"/>
                    <a:pt x="147" y="239"/>
                  </a:cubicBezTo>
                  <a:cubicBezTo>
                    <a:pt x="149" y="239"/>
                    <a:pt x="150" y="241"/>
                    <a:pt x="151" y="241"/>
                  </a:cubicBezTo>
                  <a:cubicBezTo>
                    <a:pt x="152" y="241"/>
                    <a:pt x="153" y="243"/>
                    <a:pt x="154" y="242"/>
                  </a:cubicBezTo>
                  <a:cubicBezTo>
                    <a:pt x="156" y="243"/>
                    <a:pt x="156" y="243"/>
                    <a:pt x="156" y="243"/>
                  </a:cubicBezTo>
                  <a:cubicBezTo>
                    <a:pt x="157" y="243"/>
                    <a:pt x="159" y="244"/>
                    <a:pt x="160" y="244"/>
                  </a:cubicBezTo>
                  <a:cubicBezTo>
                    <a:pt x="164" y="243"/>
                    <a:pt x="163" y="245"/>
                    <a:pt x="165" y="245"/>
                  </a:cubicBezTo>
                  <a:cubicBezTo>
                    <a:pt x="169" y="245"/>
                    <a:pt x="169" y="245"/>
                    <a:pt x="169" y="245"/>
                  </a:cubicBezTo>
                  <a:cubicBezTo>
                    <a:pt x="170" y="245"/>
                    <a:pt x="171" y="245"/>
                    <a:pt x="172" y="245"/>
                  </a:cubicBezTo>
                  <a:cubicBezTo>
                    <a:pt x="175" y="246"/>
                    <a:pt x="175" y="250"/>
                    <a:pt x="176" y="251"/>
                  </a:cubicBezTo>
                  <a:cubicBezTo>
                    <a:pt x="177" y="252"/>
                    <a:pt x="178" y="250"/>
                    <a:pt x="179" y="248"/>
                  </a:cubicBezTo>
                  <a:cubicBezTo>
                    <a:pt x="179" y="247"/>
                    <a:pt x="180" y="249"/>
                    <a:pt x="182" y="250"/>
                  </a:cubicBezTo>
                  <a:cubicBezTo>
                    <a:pt x="183" y="250"/>
                    <a:pt x="183" y="252"/>
                    <a:pt x="185" y="252"/>
                  </a:cubicBezTo>
                  <a:cubicBezTo>
                    <a:pt x="185" y="252"/>
                    <a:pt x="184" y="254"/>
                    <a:pt x="186" y="256"/>
                  </a:cubicBezTo>
                  <a:cubicBezTo>
                    <a:pt x="187" y="256"/>
                    <a:pt x="188" y="258"/>
                    <a:pt x="189" y="256"/>
                  </a:cubicBezTo>
                  <a:cubicBezTo>
                    <a:pt x="189" y="255"/>
                    <a:pt x="190" y="258"/>
                    <a:pt x="191" y="258"/>
                  </a:cubicBezTo>
                  <a:cubicBezTo>
                    <a:pt x="192" y="258"/>
                    <a:pt x="194" y="262"/>
                    <a:pt x="194" y="261"/>
                  </a:cubicBezTo>
                  <a:cubicBezTo>
                    <a:pt x="195" y="260"/>
                    <a:pt x="197" y="261"/>
                    <a:pt x="198" y="260"/>
                  </a:cubicBezTo>
                  <a:cubicBezTo>
                    <a:pt x="200" y="259"/>
                    <a:pt x="199" y="258"/>
                    <a:pt x="200" y="258"/>
                  </a:cubicBezTo>
                  <a:cubicBezTo>
                    <a:pt x="200" y="258"/>
                    <a:pt x="201" y="257"/>
                    <a:pt x="201" y="257"/>
                  </a:cubicBezTo>
                  <a:cubicBezTo>
                    <a:pt x="201" y="258"/>
                    <a:pt x="202" y="259"/>
                    <a:pt x="202" y="259"/>
                  </a:cubicBezTo>
                  <a:cubicBezTo>
                    <a:pt x="202" y="260"/>
                    <a:pt x="205" y="265"/>
                    <a:pt x="203" y="266"/>
                  </a:cubicBezTo>
                  <a:cubicBezTo>
                    <a:pt x="201" y="268"/>
                    <a:pt x="202" y="269"/>
                    <a:pt x="202" y="270"/>
                  </a:cubicBezTo>
                  <a:cubicBezTo>
                    <a:pt x="202" y="271"/>
                    <a:pt x="201" y="271"/>
                    <a:pt x="201" y="271"/>
                  </a:cubicBezTo>
                  <a:cubicBezTo>
                    <a:pt x="201" y="273"/>
                    <a:pt x="198" y="272"/>
                    <a:pt x="197" y="273"/>
                  </a:cubicBezTo>
                  <a:cubicBezTo>
                    <a:pt x="197" y="275"/>
                    <a:pt x="195" y="273"/>
                    <a:pt x="196" y="277"/>
                  </a:cubicBezTo>
                  <a:cubicBezTo>
                    <a:pt x="196" y="278"/>
                    <a:pt x="197" y="279"/>
                    <a:pt x="197" y="280"/>
                  </a:cubicBezTo>
                  <a:cubicBezTo>
                    <a:pt x="197" y="282"/>
                    <a:pt x="195" y="282"/>
                    <a:pt x="194" y="283"/>
                  </a:cubicBezTo>
                  <a:cubicBezTo>
                    <a:pt x="194" y="286"/>
                    <a:pt x="197" y="285"/>
                    <a:pt x="198" y="286"/>
                  </a:cubicBezTo>
                  <a:cubicBezTo>
                    <a:pt x="198" y="286"/>
                    <a:pt x="200" y="287"/>
                    <a:pt x="201" y="289"/>
                  </a:cubicBezTo>
                  <a:cubicBezTo>
                    <a:pt x="202" y="290"/>
                    <a:pt x="202" y="292"/>
                    <a:pt x="204" y="294"/>
                  </a:cubicBezTo>
                  <a:cubicBezTo>
                    <a:pt x="205" y="296"/>
                    <a:pt x="205" y="299"/>
                    <a:pt x="206" y="300"/>
                  </a:cubicBezTo>
                  <a:cubicBezTo>
                    <a:pt x="209" y="304"/>
                    <a:pt x="211" y="304"/>
                    <a:pt x="211" y="305"/>
                  </a:cubicBezTo>
                  <a:cubicBezTo>
                    <a:pt x="213" y="306"/>
                    <a:pt x="213" y="306"/>
                    <a:pt x="214" y="307"/>
                  </a:cubicBezTo>
                  <a:cubicBezTo>
                    <a:pt x="215" y="308"/>
                    <a:pt x="217" y="308"/>
                    <a:pt x="218" y="309"/>
                  </a:cubicBezTo>
                  <a:cubicBezTo>
                    <a:pt x="220" y="310"/>
                    <a:pt x="220" y="312"/>
                    <a:pt x="220" y="313"/>
                  </a:cubicBezTo>
                  <a:cubicBezTo>
                    <a:pt x="220" y="315"/>
                    <a:pt x="220" y="314"/>
                    <a:pt x="220" y="317"/>
                  </a:cubicBezTo>
                  <a:cubicBezTo>
                    <a:pt x="220" y="317"/>
                    <a:pt x="218" y="318"/>
                    <a:pt x="218" y="320"/>
                  </a:cubicBezTo>
                  <a:cubicBezTo>
                    <a:pt x="218" y="322"/>
                    <a:pt x="218" y="323"/>
                    <a:pt x="218" y="324"/>
                  </a:cubicBezTo>
                  <a:cubicBezTo>
                    <a:pt x="218" y="325"/>
                    <a:pt x="218" y="325"/>
                    <a:pt x="218" y="327"/>
                  </a:cubicBezTo>
                  <a:cubicBezTo>
                    <a:pt x="217" y="330"/>
                    <a:pt x="217" y="331"/>
                    <a:pt x="217" y="332"/>
                  </a:cubicBezTo>
                  <a:cubicBezTo>
                    <a:pt x="217" y="333"/>
                    <a:pt x="216" y="337"/>
                    <a:pt x="216" y="337"/>
                  </a:cubicBezTo>
                  <a:cubicBezTo>
                    <a:pt x="215" y="339"/>
                    <a:pt x="216" y="338"/>
                    <a:pt x="216" y="341"/>
                  </a:cubicBezTo>
                  <a:cubicBezTo>
                    <a:pt x="215" y="343"/>
                    <a:pt x="213" y="345"/>
                    <a:pt x="212" y="347"/>
                  </a:cubicBezTo>
                  <a:cubicBezTo>
                    <a:pt x="211" y="349"/>
                    <a:pt x="213" y="350"/>
                    <a:pt x="212" y="353"/>
                  </a:cubicBezTo>
                  <a:cubicBezTo>
                    <a:pt x="212" y="354"/>
                    <a:pt x="212" y="355"/>
                    <a:pt x="212" y="356"/>
                  </a:cubicBezTo>
                  <a:cubicBezTo>
                    <a:pt x="212" y="357"/>
                    <a:pt x="212" y="358"/>
                    <a:pt x="211" y="359"/>
                  </a:cubicBezTo>
                  <a:cubicBezTo>
                    <a:pt x="211" y="362"/>
                    <a:pt x="211" y="362"/>
                    <a:pt x="211" y="363"/>
                  </a:cubicBezTo>
                  <a:cubicBezTo>
                    <a:pt x="211" y="365"/>
                    <a:pt x="210" y="366"/>
                    <a:pt x="210" y="366"/>
                  </a:cubicBezTo>
                  <a:cubicBezTo>
                    <a:pt x="209" y="371"/>
                    <a:pt x="209" y="371"/>
                    <a:pt x="209" y="371"/>
                  </a:cubicBezTo>
                  <a:cubicBezTo>
                    <a:pt x="209" y="373"/>
                    <a:pt x="209" y="374"/>
                    <a:pt x="208" y="376"/>
                  </a:cubicBezTo>
                  <a:cubicBezTo>
                    <a:pt x="207" y="378"/>
                    <a:pt x="209" y="378"/>
                    <a:pt x="208" y="380"/>
                  </a:cubicBezTo>
                  <a:cubicBezTo>
                    <a:pt x="207" y="381"/>
                    <a:pt x="208" y="381"/>
                    <a:pt x="208" y="383"/>
                  </a:cubicBezTo>
                  <a:cubicBezTo>
                    <a:pt x="207" y="384"/>
                    <a:pt x="209" y="385"/>
                    <a:pt x="209" y="385"/>
                  </a:cubicBezTo>
                  <a:cubicBezTo>
                    <a:pt x="209" y="386"/>
                    <a:pt x="208" y="387"/>
                    <a:pt x="208" y="388"/>
                  </a:cubicBezTo>
                  <a:cubicBezTo>
                    <a:pt x="209" y="389"/>
                    <a:pt x="209" y="389"/>
                    <a:pt x="209" y="389"/>
                  </a:cubicBezTo>
                  <a:cubicBezTo>
                    <a:pt x="210" y="390"/>
                    <a:pt x="211" y="389"/>
                    <a:pt x="211" y="391"/>
                  </a:cubicBezTo>
                  <a:cubicBezTo>
                    <a:pt x="211" y="393"/>
                    <a:pt x="213" y="394"/>
                    <a:pt x="214" y="396"/>
                  </a:cubicBezTo>
                  <a:cubicBezTo>
                    <a:pt x="214" y="396"/>
                    <a:pt x="214" y="398"/>
                    <a:pt x="217" y="399"/>
                  </a:cubicBezTo>
                  <a:cubicBezTo>
                    <a:pt x="220" y="399"/>
                    <a:pt x="221" y="400"/>
                    <a:pt x="221" y="400"/>
                  </a:cubicBezTo>
                  <a:cubicBezTo>
                    <a:pt x="222" y="401"/>
                    <a:pt x="226" y="400"/>
                    <a:pt x="226" y="400"/>
                  </a:cubicBezTo>
                  <a:cubicBezTo>
                    <a:pt x="227" y="400"/>
                    <a:pt x="229" y="400"/>
                    <a:pt x="231" y="400"/>
                  </a:cubicBezTo>
                  <a:cubicBezTo>
                    <a:pt x="234" y="399"/>
                    <a:pt x="236" y="399"/>
                    <a:pt x="236" y="398"/>
                  </a:cubicBezTo>
                  <a:cubicBezTo>
                    <a:pt x="236" y="397"/>
                    <a:pt x="232" y="396"/>
                    <a:pt x="231" y="396"/>
                  </a:cubicBezTo>
                  <a:cubicBezTo>
                    <a:pt x="231" y="395"/>
                    <a:pt x="228" y="395"/>
                    <a:pt x="227" y="395"/>
                  </a:cubicBezTo>
                  <a:cubicBezTo>
                    <a:pt x="227" y="394"/>
                    <a:pt x="225" y="391"/>
                    <a:pt x="225" y="389"/>
                  </a:cubicBezTo>
                  <a:cubicBezTo>
                    <a:pt x="225" y="387"/>
                    <a:pt x="223" y="386"/>
                    <a:pt x="223" y="385"/>
                  </a:cubicBezTo>
                  <a:cubicBezTo>
                    <a:pt x="223" y="382"/>
                    <a:pt x="226" y="382"/>
                    <a:pt x="226" y="382"/>
                  </a:cubicBezTo>
                  <a:cubicBezTo>
                    <a:pt x="227" y="381"/>
                    <a:pt x="228" y="379"/>
                    <a:pt x="228" y="379"/>
                  </a:cubicBezTo>
                  <a:cubicBezTo>
                    <a:pt x="228" y="377"/>
                    <a:pt x="234" y="378"/>
                    <a:pt x="230" y="375"/>
                  </a:cubicBezTo>
                  <a:cubicBezTo>
                    <a:pt x="230" y="375"/>
                    <a:pt x="227" y="373"/>
                    <a:pt x="227" y="372"/>
                  </a:cubicBezTo>
                  <a:cubicBezTo>
                    <a:pt x="228" y="368"/>
                    <a:pt x="231" y="370"/>
                    <a:pt x="231" y="369"/>
                  </a:cubicBezTo>
                  <a:cubicBezTo>
                    <a:pt x="232" y="368"/>
                    <a:pt x="232" y="367"/>
                    <a:pt x="232" y="365"/>
                  </a:cubicBezTo>
                  <a:cubicBezTo>
                    <a:pt x="232" y="362"/>
                    <a:pt x="236" y="365"/>
                    <a:pt x="235" y="362"/>
                  </a:cubicBezTo>
                  <a:cubicBezTo>
                    <a:pt x="235" y="361"/>
                    <a:pt x="233" y="362"/>
                    <a:pt x="233" y="361"/>
                  </a:cubicBezTo>
                  <a:cubicBezTo>
                    <a:pt x="234" y="359"/>
                    <a:pt x="234" y="359"/>
                    <a:pt x="234" y="359"/>
                  </a:cubicBezTo>
                  <a:cubicBezTo>
                    <a:pt x="234" y="356"/>
                    <a:pt x="237" y="358"/>
                    <a:pt x="237" y="358"/>
                  </a:cubicBezTo>
                  <a:cubicBezTo>
                    <a:pt x="238" y="358"/>
                    <a:pt x="239" y="355"/>
                    <a:pt x="239" y="354"/>
                  </a:cubicBezTo>
                  <a:cubicBezTo>
                    <a:pt x="240" y="352"/>
                    <a:pt x="245" y="355"/>
                    <a:pt x="245" y="353"/>
                  </a:cubicBezTo>
                  <a:cubicBezTo>
                    <a:pt x="245" y="351"/>
                    <a:pt x="249" y="353"/>
                    <a:pt x="249" y="351"/>
                  </a:cubicBezTo>
                  <a:cubicBezTo>
                    <a:pt x="249" y="350"/>
                    <a:pt x="250" y="349"/>
                    <a:pt x="250" y="348"/>
                  </a:cubicBezTo>
                  <a:cubicBezTo>
                    <a:pt x="251" y="346"/>
                    <a:pt x="251" y="346"/>
                    <a:pt x="251" y="346"/>
                  </a:cubicBezTo>
                  <a:cubicBezTo>
                    <a:pt x="250" y="344"/>
                    <a:pt x="255" y="345"/>
                    <a:pt x="255" y="344"/>
                  </a:cubicBezTo>
                  <a:cubicBezTo>
                    <a:pt x="255" y="343"/>
                    <a:pt x="258" y="342"/>
                    <a:pt x="258" y="341"/>
                  </a:cubicBezTo>
                  <a:cubicBezTo>
                    <a:pt x="257" y="339"/>
                    <a:pt x="258" y="338"/>
                    <a:pt x="259" y="338"/>
                  </a:cubicBezTo>
                  <a:cubicBezTo>
                    <a:pt x="259" y="338"/>
                    <a:pt x="260" y="336"/>
                    <a:pt x="261" y="336"/>
                  </a:cubicBezTo>
                  <a:cubicBezTo>
                    <a:pt x="264" y="336"/>
                    <a:pt x="265" y="333"/>
                    <a:pt x="267" y="331"/>
                  </a:cubicBezTo>
                  <a:cubicBezTo>
                    <a:pt x="268" y="329"/>
                    <a:pt x="268" y="325"/>
                    <a:pt x="268" y="324"/>
                  </a:cubicBezTo>
                  <a:cubicBezTo>
                    <a:pt x="269" y="323"/>
                    <a:pt x="270" y="323"/>
                    <a:pt x="273" y="319"/>
                  </a:cubicBezTo>
                  <a:cubicBezTo>
                    <a:pt x="273" y="318"/>
                    <a:pt x="276" y="320"/>
                    <a:pt x="277" y="318"/>
                  </a:cubicBezTo>
                  <a:cubicBezTo>
                    <a:pt x="278" y="317"/>
                    <a:pt x="281" y="317"/>
                    <a:pt x="283" y="315"/>
                  </a:cubicBezTo>
                  <a:cubicBezTo>
                    <a:pt x="284" y="313"/>
                    <a:pt x="284" y="314"/>
                    <a:pt x="285" y="313"/>
                  </a:cubicBezTo>
                  <a:cubicBezTo>
                    <a:pt x="286" y="312"/>
                    <a:pt x="287" y="309"/>
                    <a:pt x="288" y="308"/>
                  </a:cubicBezTo>
                  <a:cubicBezTo>
                    <a:pt x="289" y="306"/>
                    <a:pt x="287" y="304"/>
                    <a:pt x="287" y="303"/>
                  </a:cubicBezTo>
                  <a:cubicBezTo>
                    <a:pt x="288" y="302"/>
                    <a:pt x="287" y="302"/>
                    <a:pt x="288" y="299"/>
                  </a:cubicBezTo>
                  <a:cubicBezTo>
                    <a:pt x="288" y="299"/>
                    <a:pt x="289" y="299"/>
                    <a:pt x="291" y="297"/>
                  </a:cubicBezTo>
                  <a:cubicBezTo>
                    <a:pt x="292" y="296"/>
                    <a:pt x="292" y="295"/>
                    <a:pt x="294" y="294"/>
                  </a:cubicBezTo>
                  <a:cubicBezTo>
                    <a:pt x="294" y="294"/>
                    <a:pt x="296" y="292"/>
                    <a:pt x="295" y="290"/>
                  </a:cubicBezTo>
                  <a:cubicBezTo>
                    <a:pt x="295" y="289"/>
                    <a:pt x="295" y="286"/>
                    <a:pt x="294" y="284"/>
                  </a:cubicBezTo>
                  <a:close/>
                  <a:moveTo>
                    <a:pt x="218" y="236"/>
                  </a:moveTo>
                  <a:cubicBezTo>
                    <a:pt x="217" y="236"/>
                    <a:pt x="216" y="237"/>
                    <a:pt x="215" y="237"/>
                  </a:cubicBezTo>
                  <a:cubicBezTo>
                    <a:pt x="212" y="237"/>
                    <a:pt x="211" y="238"/>
                    <a:pt x="211" y="239"/>
                  </a:cubicBezTo>
                  <a:cubicBezTo>
                    <a:pt x="206" y="241"/>
                    <a:pt x="213" y="241"/>
                    <a:pt x="216" y="241"/>
                  </a:cubicBezTo>
                  <a:cubicBezTo>
                    <a:pt x="218" y="241"/>
                    <a:pt x="219" y="240"/>
                    <a:pt x="220" y="240"/>
                  </a:cubicBezTo>
                  <a:cubicBezTo>
                    <a:pt x="221" y="239"/>
                    <a:pt x="225" y="239"/>
                    <a:pt x="225" y="239"/>
                  </a:cubicBezTo>
                  <a:cubicBezTo>
                    <a:pt x="225" y="238"/>
                    <a:pt x="223" y="237"/>
                    <a:pt x="221" y="237"/>
                  </a:cubicBezTo>
                  <a:cubicBezTo>
                    <a:pt x="220" y="237"/>
                    <a:pt x="219" y="236"/>
                    <a:pt x="218" y="236"/>
                  </a:cubicBezTo>
                  <a:close/>
                  <a:moveTo>
                    <a:pt x="139" y="92"/>
                  </a:moveTo>
                  <a:cubicBezTo>
                    <a:pt x="140" y="90"/>
                    <a:pt x="142" y="92"/>
                    <a:pt x="143" y="91"/>
                  </a:cubicBezTo>
                  <a:cubicBezTo>
                    <a:pt x="145" y="90"/>
                    <a:pt x="145" y="92"/>
                    <a:pt x="146" y="93"/>
                  </a:cubicBezTo>
                  <a:cubicBezTo>
                    <a:pt x="147" y="95"/>
                    <a:pt x="149" y="93"/>
                    <a:pt x="150" y="92"/>
                  </a:cubicBezTo>
                  <a:cubicBezTo>
                    <a:pt x="151" y="91"/>
                    <a:pt x="150" y="90"/>
                    <a:pt x="151" y="90"/>
                  </a:cubicBezTo>
                  <a:cubicBezTo>
                    <a:pt x="153" y="90"/>
                    <a:pt x="152" y="89"/>
                    <a:pt x="153" y="88"/>
                  </a:cubicBezTo>
                  <a:cubicBezTo>
                    <a:pt x="154" y="88"/>
                    <a:pt x="154" y="85"/>
                    <a:pt x="152" y="86"/>
                  </a:cubicBezTo>
                  <a:cubicBezTo>
                    <a:pt x="150" y="86"/>
                    <a:pt x="149" y="85"/>
                    <a:pt x="149" y="84"/>
                  </a:cubicBezTo>
                  <a:cubicBezTo>
                    <a:pt x="150" y="82"/>
                    <a:pt x="147" y="84"/>
                    <a:pt x="147" y="82"/>
                  </a:cubicBezTo>
                  <a:cubicBezTo>
                    <a:pt x="146" y="80"/>
                    <a:pt x="144" y="80"/>
                    <a:pt x="144" y="79"/>
                  </a:cubicBezTo>
                  <a:cubicBezTo>
                    <a:pt x="144" y="79"/>
                    <a:pt x="145" y="78"/>
                    <a:pt x="145" y="77"/>
                  </a:cubicBezTo>
                  <a:cubicBezTo>
                    <a:pt x="144" y="77"/>
                    <a:pt x="145" y="76"/>
                    <a:pt x="146" y="76"/>
                  </a:cubicBezTo>
                  <a:cubicBezTo>
                    <a:pt x="147" y="75"/>
                    <a:pt x="146" y="74"/>
                    <a:pt x="146" y="74"/>
                  </a:cubicBezTo>
                  <a:cubicBezTo>
                    <a:pt x="147" y="73"/>
                    <a:pt x="148" y="72"/>
                    <a:pt x="148" y="71"/>
                  </a:cubicBezTo>
                  <a:cubicBezTo>
                    <a:pt x="147" y="71"/>
                    <a:pt x="148" y="70"/>
                    <a:pt x="149" y="69"/>
                  </a:cubicBezTo>
                  <a:cubicBezTo>
                    <a:pt x="150" y="67"/>
                    <a:pt x="150" y="66"/>
                    <a:pt x="149" y="65"/>
                  </a:cubicBezTo>
                  <a:cubicBezTo>
                    <a:pt x="148" y="65"/>
                    <a:pt x="147" y="65"/>
                    <a:pt x="146" y="66"/>
                  </a:cubicBezTo>
                  <a:cubicBezTo>
                    <a:pt x="145" y="66"/>
                    <a:pt x="144" y="67"/>
                    <a:pt x="143" y="68"/>
                  </a:cubicBezTo>
                  <a:cubicBezTo>
                    <a:pt x="142" y="69"/>
                    <a:pt x="141" y="71"/>
                    <a:pt x="139" y="71"/>
                  </a:cubicBezTo>
                  <a:cubicBezTo>
                    <a:pt x="137" y="71"/>
                    <a:pt x="137" y="73"/>
                    <a:pt x="136" y="73"/>
                  </a:cubicBezTo>
                  <a:cubicBezTo>
                    <a:pt x="135" y="74"/>
                    <a:pt x="134" y="69"/>
                    <a:pt x="133" y="69"/>
                  </a:cubicBezTo>
                  <a:cubicBezTo>
                    <a:pt x="132" y="69"/>
                    <a:pt x="130" y="72"/>
                    <a:pt x="128" y="71"/>
                  </a:cubicBezTo>
                  <a:cubicBezTo>
                    <a:pt x="127" y="70"/>
                    <a:pt x="128" y="66"/>
                    <a:pt x="125" y="70"/>
                  </a:cubicBezTo>
                  <a:cubicBezTo>
                    <a:pt x="124" y="71"/>
                    <a:pt x="123" y="68"/>
                    <a:pt x="123" y="69"/>
                  </a:cubicBezTo>
                  <a:cubicBezTo>
                    <a:pt x="122" y="69"/>
                    <a:pt x="121" y="70"/>
                    <a:pt x="120" y="71"/>
                  </a:cubicBezTo>
                  <a:cubicBezTo>
                    <a:pt x="120" y="72"/>
                    <a:pt x="120" y="73"/>
                    <a:pt x="119" y="74"/>
                  </a:cubicBezTo>
                  <a:cubicBezTo>
                    <a:pt x="119" y="75"/>
                    <a:pt x="118" y="76"/>
                    <a:pt x="118" y="77"/>
                  </a:cubicBezTo>
                  <a:cubicBezTo>
                    <a:pt x="117" y="78"/>
                    <a:pt x="118" y="79"/>
                    <a:pt x="118" y="80"/>
                  </a:cubicBezTo>
                  <a:cubicBezTo>
                    <a:pt x="118" y="81"/>
                    <a:pt x="117" y="82"/>
                    <a:pt x="117" y="83"/>
                  </a:cubicBezTo>
                  <a:cubicBezTo>
                    <a:pt x="117" y="83"/>
                    <a:pt x="117" y="84"/>
                    <a:pt x="117" y="85"/>
                  </a:cubicBezTo>
                  <a:cubicBezTo>
                    <a:pt x="118" y="86"/>
                    <a:pt x="119" y="86"/>
                    <a:pt x="119" y="87"/>
                  </a:cubicBezTo>
                  <a:cubicBezTo>
                    <a:pt x="120" y="88"/>
                    <a:pt x="120" y="91"/>
                    <a:pt x="122" y="91"/>
                  </a:cubicBezTo>
                  <a:cubicBezTo>
                    <a:pt x="124" y="91"/>
                    <a:pt x="123" y="93"/>
                    <a:pt x="124" y="93"/>
                  </a:cubicBezTo>
                  <a:cubicBezTo>
                    <a:pt x="125" y="94"/>
                    <a:pt x="128" y="97"/>
                    <a:pt x="128" y="96"/>
                  </a:cubicBezTo>
                  <a:cubicBezTo>
                    <a:pt x="129" y="94"/>
                    <a:pt x="133" y="95"/>
                    <a:pt x="134" y="94"/>
                  </a:cubicBezTo>
                  <a:cubicBezTo>
                    <a:pt x="135" y="94"/>
                    <a:pt x="135" y="94"/>
                    <a:pt x="135" y="93"/>
                  </a:cubicBezTo>
                  <a:cubicBezTo>
                    <a:pt x="132" y="89"/>
                    <a:pt x="138" y="93"/>
                    <a:pt x="139" y="92"/>
                  </a:cubicBezTo>
                  <a:close/>
                  <a:moveTo>
                    <a:pt x="224" y="97"/>
                  </a:moveTo>
                  <a:cubicBezTo>
                    <a:pt x="232" y="97"/>
                    <a:pt x="226" y="97"/>
                    <a:pt x="231" y="93"/>
                  </a:cubicBezTo>
                  <a:cubicBezTo>
                    <a:pt x="233" y="92"/>
                    <a:pt x="226" y="90"/>
                    <a:pt x="222" y="88"/>
                  </a:cubicBezTo>
                  <a:cubicBezTo>
                    <a:pt x="219" y="87"/>
                    <a:pt x="217" y="85"/>
                    <a:pt x="218" y="84"/>
                  </a:cubicBezTo>
                  <a:cubicBezTo>
                    <a:pt x="219" y="83"/>
                    <a:pt x="218" y="81"/>
                    <a:pt x="218" y="79"/>
                  </a:cubicBezTo>
                  <a:cubicBezTo>
                    <a:pt x="218" y="77"/>
                    <a:pt x="215" y="76"/>
                    <a:pt x="211" y="75"/>
                  </a:cubicBezTo>
                  <a:cubicBezTo>
                    <a:pt x="212" y="74"/>
                    <a:pt x="213" y="73"/>
                    <a:pt x="213" y="72"/>
                  </a:cubicBezTo>
                  <a:cubicBezTo>
                    <a:pt x="214" y="71"/>
                    <a:pt x="216" y="70"/>
                    <a:pt x="217" y="69"/>
                  </a:cubicBezTo>
                  <a:cubicBezTo>
                    <a:pt x="217" y="68"/>
                    <a:pt x="216" y="66"/>
                    <a:pt x="215" y="65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1" y="62"/>
                    <a:pt x="213" y="61"/>
                    <a:pt x="210" y="57"/>
                  </a:cubicBezTo>
                  <a:cubicBezTo>
                    <a:pt x="209" y="55"/>
                    <a:pt x="207" y="52"/>
                    <a:pt x="205" y="53"/>
                  </a:cubicBezTo>
                  <a:cubicBezTo>
                    <a:pt x="202" y="55"/>
                    <a:pt x="204" y="59"/>
                    <a:pt x="205" y="61"/>
                  </a:cubicBezTo>
                  <a:cubicBezTo>
                    <a:pt x="206" y="64"/>
                    <a:pt x="206" y="66"/>
                    <a:pt x="207" y="69"/>
                  </a:cubicBezTo>
                  <a:cubicBezTo>
                    <a:pt x="207" y="70"/>
                    <a:pt x="209" y="73"/>
                    <a:pt x="210" y="74"/>
                  </a:cubicBezTo>
                  <a:cubicBezTo>
                    <a:pt x="207" y="73"/>
                    <a:pt x="205" y="73"/>
                    <a:pt x="204" y="72"/>
                  </a:cubicBezTo>
                  <a:cubicBezTo>
                    <a:pt x="201" y="69"/>
                    <a:pt x="204" y="67"/>
                    <a:pt x="200" y="66"/>
                  </a:cubicBezTo>
                  <a:cubicBezTo>
                    <a:pt x="198" y="65"/>
                    <a:pt x="196" y="65"/>
                    <a:pt x="194" y="64"/>
                  </a:cubicBezTo>
                  <a:cubicBezTo>
                    <a:pt x="192" y="64"/>
                    <a:pt x="189" y="64"/>
                    <a:pt x="188" y="64"/>
                  </a:cubicBezTo>
                  <a:cubicBezTo>
                    <a:pt x="182" y="64"/>
                    <a:pt x="184" y="67"/>
                    <a:pt x="183" y="70"/>
                  </a:cubicBezTo>
                  <a:cubicBezTo>
                    <a:pt x="183" y="67"/>
                    <a:pt x="181" y="60"/>
                    <a:pt x="178" y="63"/>
                  </a:cubicBezTo>
                  <a:cubicBezTo>
                    <a:pt x="177" y="64"/>
                    <a:pt x="172" y="65"/>
                    <a:pt x="168" y="65"/>
                  </a:cubicBezTo>
                  <a:cubicBezTo>
                    <a:pt x="167" y="72"/>
                    <a:pt x="167" y="72"/>
                    <a:pt x="167" y="72"/>
                  </a:cubicBezTo>
                  <a:cubicBezTo>
                    <a:pt x="169" y="74"/>
                    <a:pt x="172" y="75"/>
                    <a:pt x="173" y="76"/>
                  </a:cubicBezTo>
                  <a:cubicBezTo>
                    <a:pt x="173" y="77"/>
                    <a:pt x="176" y="78"/>
                    <a:pt x="179" y="78"/>
                  </a:cubicBezTo>
                  <a:cubicBezTo>
                    <a:pt x="181" y="79"/>
                    <a:pt x="184" y="79"/>
                    <a:pt x="185" y="79"/>
                  </a:cubicBezTo>
                  <a:cubicBezTo>
                    <a:pt x="187" y="79"/>
                    <a:pt x="190" y="83"/>
                    <a:pt x="194" y="84"/>
                  </a:cubicBezTo>
                  <a:cubicBezTo>
                    <a:pt x="197" y="85"/>
                    <a:pt x="200" y="83"/>
                    <a:pt x="202" y="85"/>
                  </a:cubicBezTo>
                  <a:cubicBezTo>
                    <a:pt x="205" y="86"/>
                    <a:pt x="207" y="87"/>
                    <a:pt x="208" y="88"/>
                  </a:cubicBezTo>
                  <a:cubicBezTo>
                    <a:pt x="209" y="89"/>
                    <a:pt x="208" y="91"/>
                    <a:pt x="207" y="93"/>
                  </a:cubicBezTo>
                  <a:cubicBezTo>
                    <a:pt x="206" y="94"/>
                    <a:pt x="204" y="96"/>
                    <a:pt x="204" y="96"/>
                  </a:cubicBezTo>
                  <a:cubicBezTo>
                    <a:pt x="205" y="96"/>
                    <a:pt x="202" y="94"/>
                    <a:pt x="200" y="95"/>
                  </a:cubicBezTo>
                  <a:cubicBezTo>
                    <a:pt x="198" y="96"/>
                    <a:pt x="198" y="100"/>
                    <a:pt x="199" y="101"/>
                  </a:cubicBezTo>
                  <a:cubicBezTo>
                    <a:pt x="203" y="103"/>
                    <a:pt x="201" y="98"/>
                    <a:pt x="205" y="100"/>
                  </a:cubicBezTo>
                  <a:cubicBezTo>
                    <a:pt x="206" y="101"/>
                    <a:pt x="208" y="103"/>
                    <a:pt x="209" y="104"/>
                  </a:cubicBezTo>
                  <a:cubicBezTo>
                    <a:pt x="210" y="104"/>
                    <a:pt x="212" y="105"/>
                    <a:pt x="213" y="106"/>
                  </a:cubicBezTo>
                  <a:cubicBezTo>
                    <a:pt x="215" y="107"/>
                    <a:pt x="217" y="108"/>
                    <a:pt x="218" y="108"/>
                  </a:cubicBezTo>
                  <a:cubicBezTo>
                    <a:pt x="221" y="110"/>
                    <a:pt x="225" y="105"/>
                    <a:pt x="227" y="105"/>
                  </a:cubicBezTo>
                  <a:cubicBezTo>
                    <a:pt x="229" y="106"/>
                    <a:pt x="226" y="103"/>
                    <a:pt x="223" y="100"/>
                  </a:cubicBezTo>
                  <a:cubicBezTo>
                    <a:pt x="220" y="98"/>
                    <a:pt x="222" y="97"/>
                    <a:pt x="224" y="97"/>
                  </a:cubicBezTo>
                  <a:close/>
                  <a:moveTo>
                    <a:pt x="153" y="60"/>
                  </a:moveTo>
                  <a:cubicBezTo>
                    <a:pt x="150" y="62"/>
                    <a:pt x="151" y="63"/>
                    <a:pt x="151" y="66"/>
                  </a:cubicBezTo>
                  <a:cubicBezTo>
                    <a:pt x="150" y="70"/>
                    <a:pt x="149" y="79"/>
                    <a:pt x="152" y="82"/>
                  </a:cubicBezTo>
                  <a:cubicBezTo>
                    <a:pt x="152" y="82"/>
                    <a:pt x="152" y="82"/>
                    <a:pt x="152" y="82"/>
                  </a:cubicBezTo>
                  <a:cubicBezTo>
                    <a:pt x="156" y="82"/>
                    <a:pt x="159" y="81"/>
                    <a:pt x="159" y="76"/>
                  </a:cubicBezTo>
                  <a:cubicBezTo>
                    <a:pt x="159" y="74"/>
                    <a:pt x="158" y="73"/>
                    <a:pt x="159" y="71"/>
                  </a:cubicBezTo>
                  <a:cubicBezTo>
                    <a:pt x="159" y="69"/>
                    <a:pt x="161" y="68"/>
                    <a:pt x="160" y="65"/>
                  </a:cubicBezTo>
                  <a:cubicBezTo>
                    <a:pt x="160" y="64"/>
                    <a:pt x="159" y="64"/>
                    <a:pt x="158" y="63"/>
                  </a:cubicBezTo>
                  <a:cubicBezTo>
                    <a:pt x="157" y="62"/>
                    <a:pt x="157" y="60"/>
                    <a:pt x="156" y="59"/>
                  </a:cubicBezTo>
                  <a:cubicBezTo>
                    <a:pt x="155" y="59"/>
                    <a:pt x="154" y="59"/>
                    <a:pt x="153" y="60"/>
                  </a:cubicBezTo>
                  <a:close/>
                  <a:moveTo>
                    <a:pt x="131" y="46"/>
                  </a:moveTo>
                  <a:cubicBezTo>
                    <a:pt x="129" y="46"/>
                    <a:pt x="129" y="48"/>
                    <a:pt x="128" y="48"/>
                  </a:cubicBezTo>
                  <a:cubicBezTo>
                    <a:pt x="123" y="49"/>
                    <a:pt x="124" y="52"/>
                    <a:pt x="124" y="53"/>
                  </a:cubicBezTo>
                  <a:cubicBezTo>
                    <a:pt x="124" y="54"/>
                    <a:pt x="124" y="56"/>
                    <a:pt x="127" y="56"/>
                  </a:cubicBezTo>
                  <a:cubicBezTo>
                    <a:pt x="132" y="57"/>
                    <a:pt x="133" y="61"/>
                    <a:pt x="135" y="62"/>
                  </a:cubicBezTo>
                  <a:cubicBezTo>
                    <a:pt x="136" y="62"/>
                    <a:pt x="138" y="61"/>
                    <a:pt x="139" y="59"/>
                  </a:cubicBezTo>
                  <a:cubicBezTo>
                    <a:pt x="141" y="58"/>
                    <a:pt x="142" y="57"/>
                    <a:pt x="144" y="57"/>
                  </a:cubicBezTo>
                  <a:cubicBezTo>
                    <a:pt x="147" y="57"/>
                    <a:pt x="150" y="60"/>
                    <a:pt x="153" y="56"/>
                  </a:cubicBezTo>
                  <a:cubicBezTo>
                    <a:pt x="154" y="55"/>
                    <a:pt x="154" y="54"/>
                    <a:pt x="154" y="53"/>
                  </a:cubicBezTo>
                  <a:cubicBezTo>
                    <a:pt x="153" y="52"/>
                    <a:pt x="152" y="51"/>
                    <a:pt x="152" y="50"/>
                  </a:cubicBezTo>
                  <a:cubicBezTo>
                    <a:pt x="153" y="49"/>
                    <a:pt x="152" y="46"/>
                    <a:pt x="150" y="45"/>
                  </a:cubicBezTo>
                  <a:cubicBezTo>
                    <a:pt x="147" y="44"/>
                    <a:pt x="148" y="41"/>
                    <a:pt x="145" y="41"/>
                  </a:cubicBezTo>
                  <a:cubicBezTo>
                    <a:pt x="144" y="42"/>
                    <a:pt x="144" y="44"/>
                    <a:pt x="144" y="47"/>
                  </a:cubicBezTo>
                  <a:cubicBezTo>
                    <a:pt x="143" y="48"/>
                    <a:pt x="144" y="52"/>
                    <a:pt x="143" y="52"/>
                  </a:cubicBezTo>
                  <a:cubicBezTo>
                    <a:pt x="141" y="52"/>
                    <a:pt x="138" y="49"/>
                    <a:pt x="136" y="48"/>
                  </a:cubicBezTo>
                  <a:cubicBezTo>
                    <a:pt x="133" y="48"/>
                    <a:pt x="131" y="45"/>
                    <a:pt x="131" y="46"/>
                  </a:cubicBezTo>
                  <a:close/>
                  <a:moveTo>
                    <a:pt x="140" y="23"/>
                  </a:moveTo>
                  <a:cubicBezTo>
                    <a:pt x="142" y="24"/>
                    <a:pt x="143" y="27"/>
                    <a:pt x="142" y="28"/>
                  </a:cubicBezTo>
                  <a:cubicBezTo>
                    <a:pt x="140" y="30"/>
                    <a:pt x="143" y="32"/>
                    <a:pt x="145" y="34"/>
                  </a:cubicBezTo>
                  <a:cubicBezTo>
                    <a:pt x="147" y="36"/>
                    <a:pt x="149" y="37"/>
                    <a:pt x="152" y="37"/>
                  </a:cubicBezTo>
                  <a:cubicBezTo>
                    <a:pt x="154" y="37"/>
                    <a:pt x="157" y="35"/>
                    <a:pt x="155" y="34"/>
                  </a:cubicBezTo>
                  <a:cubicBezTo>
                    <a:pt x="154" y="32"/>
                    <a:pt x="155" y="30"/>
                    <a:pt x="154" y="28"/>
                  </a:cubicBezTo>
                  <a:cubicBezTo>
                    <a:pt x="154" y="27"/>
                    <a:pt x="155" y="27"/>
                    <a:pt x="154" y="25"/>
                  </a:cubicBezTo>
                  <a:cubicBezTo>
                    <a:pt x="153" y="25"/>
                    <a:pt x="153" y="23"/>
                    <a:pt x="151" y="22"/>
                  </a:cubicBezTo>
                  <a:cubicBezTo>
                    <a:pt x="150" y="21"/>
                    <a:pt x="149" y="19"/>
                    <a:pt x="147" y="20"/>
                  </a:cubicBezTo>
                  <a:cubicBezTo>
                    <a:pt x="146" y="21"/>
                    <a:pt x="145" y="20"/>
                    <a:pt x="143" y="20"/>
                  </a:cubicBezTo>
                  <a:cubicBezTo>
                    <a:pt x="139" y="20"/>
                    <a:pt x="137" y="23"/>
                    <a:pt x="140" y="2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 kern="0" smtClean="0">
                <a:solidFill>
                  <a:prstClr val="black"/>
                </a:solidFill>
              </a:endParaRPr>
            </a:p>
          </p:txBody>
        </p:sp>
        <p:sp>
          <p:nvSpPr>
            <p:cNvPr id="8" name="泪滴形 7"/>
            <p:cNvSpPr/>
            <p:nvPr/>
          </p:nvSpPr>
          <p:spPr>
            <a:xfrm rot="8130875">
              <a:off x="5643308" y="2946279"/>
              <a:ext cx="641433" cy="641433"/>
            </a:xfrm>
            <a:prstGeom prst="teardrop">
              <a:avLst/>
            </a:prstGeom>
            <a:solidFill>
              <a:srgbClr val="FF74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9" name="泪滴形 8"/>
            <p:cNvSpPr/>
            <p:nvPr/>
          </p:nvSpPr>
          <p:spPr>
            <a:xfrm rot="8130875">
              <a:off x="3953588" y="3519448"/>
              <a:ext cx="641433" cy="641433"/>
            </a:xfrm>
            <a:prstGeom prst="teardrop">
              <a:avLst/>
            </a:prstGeom>
            <a:solidFill>
              <a:srgbClr val="242D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" name="泪滴形 9"/>
            <p:cNvSpPr/>
            <p:nvPr/>
          </p:nvSpPr>
          <p:spPr>
            <a:xfrm rot="8130875">
              <a:off x="8219455" y="2693948"/>
              <a:ext cx="839147" cy="839147"/>
            </a:xfrm>
            <a:prstGeom prst="teardrop">
              <a:avLst/>
            </a:prstGeom>
            <a:solidFill>
              <a:srgbClr val="7BCB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" name="泪滴形 10"/>
            <p:cNvSpPr/>
            <p:nvPr/>
          </p:nvSpPr>
          <p:spPr>
            <a:xfrm rot="8130875">
              <a:off x="1805274" y="1763616"/>
              <a:ext cx="839147" cy="839147"/>
            </a:xfrm>
            <a:prstGeom prst="teardrop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314377" y="2777145"/>
              <a:ext cx="2234095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</a:t>
              </a:r>
              <a:endPara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8955337" y="3386621"/>
              <a:ext cx="2232248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</a:t>
              </a:r>
              <a:endPara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文本框 13"/>
            <p:cNvSpPr txBox="1"/>
            <p:nvPr/>
          </p:nvSpPr>
          <p:spPr>
            <a:xfrm>
              <a:off x="2950426" y="4399991"/>
              <a:ext cx="2232248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</a:t>
              </a:r>
              <a:endPara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文本框 14"/>
            <p:cNvSpPr txBox="1"/>
            <p:nvPr/>
          </p:nvSpPr>
          <p:spPr>
            <a:xfrm>
              <a:off x="5637500" y="3980677"/>
              <a:ext cx="2176741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</a:t>
              </a:r>
              <a:endPara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1343472" y="1484784"/>
            <a:ext cx="10635591" cy="3528392"/>
            <a:chOff x="1343472" y="1484784"/>
            <a:chExt cx="10635591" cy="3528392"/>
          </a:xfrm>
        </p:grpSpPr>
        <p:grpSp>
          <p:nvGrpSpPr>
            <p:cNvPr id="7" name="组合 6"/>
            <p:cNvGrpSpPr/>
            <p:nvPr/>
          </p:nvGrpSpPr>
          <p:grpSpPr>
            <a:xfrm>
              <a:off x="1343472" y="1484784"/>
              <a:ext cx="10635591" cy="3528392"/>
              <a:chOff x="2063552" y="1628800"/>
              <a:chExt cx="9984432" cy="3312368"/>
            </a:xfrm>
          </p:grpSpPr>
          <p:sp>
            <p:nvSpPr>
              <p:cNvPr id="10" name="矩形 9"/>
              <p:cNvSpPr/>
              <p:nvPr/>
            </p:nvSpPr>
            <p:spPr>
              <a:xfrm>
                <a:off x="5159896" y="3140968"/>
                <a:ext cx="6888088" cy="504056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1" name="组合 10"/>
              <p:cNvGrpSpPr/>
              <p:nvPr/>
            </p:nvGrpSpPr>
            <p:grpSpPr>
              <a:xfrm>
                <a:off x="2063552" y="1628800"/>
                <a:ext cx="3312368" cy="3312368"/>
                <a:chOff x="2567608" y="1916832"/>
                <a:chExt cx="2736304" cy="2736304"/>
              </a:xfrm>
            </p:grpSpPr>
            <p:sp>
              <p:nvSpPr>
                <p:cNvPr id="16" name="椭圆 15"/>
                <p:cNvSpPr/>
                <p:nvPr/>
              </p:nvSpPr>
              <p:spPr>
                <a:xfrm>
                  <a:off x="2567608" y="1916832"/>
                  <a:ext cx="2736304" cy="2736304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7" name="椭圆 16"/>
                <p:cNvSpPr/>
                <p:nvPr/>
              </p:nvSpPr>
              <p:spPr>
                <a:xfrm>
                  <a:off x="2819636" y="2186966"/>
                  <a:ext cx="2232248" cy="2232248"/>
                </a:xfrm>
                <a:prstGeom prst="ellipse">
                  <a:avLst/>
                </a:prstGeom>
                <a:solidFill>
                  <a:srgbClr val="32BBEF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2" name="矩形 11"/>
              <p:cNvSpPr/>
              <p:nvPr/>
            </p:nvSpPr>
            <p:spPr>
              <a:xfrm>
                <a:off x="11640616" y="2636912"/>
                <a:ext cx="288032" cy="504056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矩形 12"/>
              <p:cNvSpPr/>
              <p:nvPr/>
            </p:nvSpPr>
            <p:spPr>
              <a:xfrm>
                <a:off x="11064552" y="2852936"/>
                <a:ext cx="451683" cy="288032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矩形 13"/>
              <p:cNvSpPr/>
              <p:nvPr/>
            </p:nvSpPr>
            <p:spPr>
              <a:xfrm>
                <a:off x="10488488" y="2780928"/>
                <a:ext cx="451683" cy="378192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矩形 14"/>
              <p:cNvSpPr/>
              <p:nvPr/>
            </p:nvSpPr>
            <p:spPr>
              <a:xfrm>
                <a:off x="9912424" y="2411812"/>
                <a:ext cx="451683" cy="738232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8" name="文本框 7"/>
            <p:cNvSpPr txBox="1"/>
            <p:nvPr/>
          </p:nvSpPr>
          <p:spPr>
            <a:xfrm>
              <a:off x="5464760" y="2627051"/>
              <a:ext cx="367240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20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、单击此处添加您的目录标题</a:t>
              </a:r>
              <a:endPara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9" name="图片 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6574" y="2827106"/>
              <a:ext cx="882185" cy="882185"/>
            </a:xfrm>
            <a:prstGeom prst="rect">
              <a:avLst/>
            </a:prstGeom>
          </p:spPr>
        </p:pic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786401" y="1340768"/>
            <a:ext cx="11118075" cy="4968552"/>
            <a:chOff x="786401" y="1340768"/>
            <a:chExt cx="11118075" cy="4968552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0354" y="1340768"/>
              <a:ext cx="7488832" cy="2993958"/>
            </a:xfrm>
            <a:prstGeom prst="rect">
              <a:avLst/>
            </a:prstGeom>
          </p:spPr>
        </p:pic>
        <p:sp>
          <p:nvSpPr>
            <p:cNvPr id="8" name="文本框 7"/>
            <p:cNvSpPr txBox="1"/>
            <p:nvPr/>
          </p:nvSpPr>
          <p:spPr>
            <a:xfrm>
              <a:off x="786401" y="4739660"/>
              <a:ext cx="3365383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专业的团队，完善的售后，热情的服务，科学严谨的逻辑，一丝不苟的工作态度，定能使您的发展如虎添翼！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4641453" y="4739660"/>
              <a:ext cx="3293306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专业的团队，完善的售后，热情的服务，科学严谨的逻辑，一丝不苟的工作态度，定能使您的发展如虎添翼！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8472264" y="1340768"/>
              <a:ext cx="3384376" cy="2993958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" name="矩形 10"/>
            <p:cNvSpPr/>
            <p:nvPr/>
          </p:nvSpPr>
          <p:spPr>
            <a:xfrm>
              <a:off x="8424428" y="4739660"/>
              <a:ext cx="3480048" cy="14465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专业的团队，完善的售后，热情的服务，科学严谨的逻辑，一丝不苟的工作态度，定能使您的发展如虎添翼！</a:t>
              </a:r>
              <a:endPara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1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除了</a:t>
              </a: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与定制，我们还为您准备了使用教程，希望能够能够更好的使用该</a:t>
              </a:r>
              <a:r>
                <a:rPr lang="zh-CN" altLang="en-US" sz="11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作品</a:t>
              </a:r>
              <a:endPara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矩形 11"/>
            <p:cNvSpPr/>
            <p:nvPr/>
          </p:nvSpPr>
          <p:spPr>
            <a:xfrm>
              <a:off x="8600047" y="2113453"/>
              <a:ext cx="3128809" cy="16158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专业的团队，完善的售后，热情的服务，科学严谨的逻辑，一丝不苟的工作态度，定能使您的发展如虎添翼！</a:t>
              </a:r>
              <a:endParaRPr lang="en-US" altLang="zh-CN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1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除了</a:t>
              </a:r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与定制，我们还为您准备了使用教程，希望能够能够更好的使用该</a:t>
              </a:r>
              <a:r>
                <a:rPr lang="zh-CN" altLang="en-US" sz="11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作品</a:t>
              </a:r>
              <a:endParaRPr lang="zh-CN" altLang="en-US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1703512" y="2132856"/>
            <a:ext cx="9411415" cy="3731143"/>
            <a:chOff x="1788895" y="2205248"/>
            <a:chExt cx="9411415" cy="3731143"/>
          </a:xfrm>
        </p:grpSpPr>
        <p:grpSp>
          <p:nvGrpSpPr>
            <p:cNvPr id="7" name="组合 6"/>
            <p:cNvGrpSpPr/>
            <p:nvPr/>
          </p:nvGrpSpPr>
          <p:grpSpPr>
            <a:xfrm>
              <a:off x="8640104" y="2483016"/>
              <a:ext cx="1505961" cy="1729520"/>
              <a:chOff x="8640104" y="2483016"/>
              <a:chExt cx="1505961" cy="1729520"/>
            </a:xfrm>
          </p:grpSpPr>
          <p:sp>
            <p:nvSpPr>
              <p:cNvPr id="40" name="矩形 39"/>
              <p:cNvSpPr/>
              <p:nvPr/>
            </p:nvSpPr>
            <p:spPr>
              <a:xfrm rot="2670473">
                <a:off x="8640104" y="2483016"/>
                <a:ext cx="1505961" cy="1505961"/>
              </a:xfrm>
              <a:prstGeom prst="rect">
                <a:avLst/>
              </a:prstGeom>
              <a:solidFill>
                <a:srgbClr val="3C3C3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1" name="Freeform 42"/>
              <p:cNvSpPr>
                <a:spLocks noEditPoints="1"/>
              </p:cNvSpPr>
              <p:nvPr/>
            </p:nvSpPr>
            <p:spPr bwMode="auto">
              <a:xfrm>
                <a:off x="9196421" y="2564903"/>
                <a:ext cx="357390" cy="401000"/>
              </a:xfrm>
              <a:custGeom>
                <a:avLst/>
                <a:gdLst>
                  <a:gd name="T0" fmla="*/ 142 w 142"/>
                  <a:gd name="T1" fmla="*/ 158 h 158"/>
                  <a:gd name="T2" fmla="*/ 0 w 142"/>
                  <a:gd name="T3" fmla="*/ 158 h 158"/>
                  <a:gd name="T4" fmla="*/ 0 w 142"/>
                  <a:gd name="T5" fmla="*/ 137 h 158"/>
                  <a:gd name="T6" fmla="*/ 12 w 142"/>
                  <a:gd name="T7" fmla="*/ 120 h 158"/>
                  <a:gd name="T8" fmla="*/ 12 w 142"/>
                  <a:gd name="T9" fmla="*/ 112 h 158"/>
                  <a:gd name="T10" fmla="*/ 0 w 142"/>
                  <a:gd name="T11" fmla="*/ 112 h 158"/>
                  <a:gd name="T12" fmla="*/ 0 w 142"/>
                  <a:gd name="T13" fmla="*/ 0 h 158"/>
                  <a:gd name="T14" fmla="*/ 142 w 142"/>
                  <a:gd name="T15" fmla="*/ 0 h 158"/>
                  <a:gd name="T16" fmla="*/ 142 w 142"/>
                  <a:gd name="T17" fmla="*/ 112 h 158"/>
                  <a:gd name="T18" fmla="*/ 128 w 142"/>
                  <a:gd name="T19" fmla="*/ 112 h 158"/>
                  <a:gd name="T20" fmla="*/ 128 w 142"/>
                  <a:gd name="T21" fmla="*/ 120 h 158"/>
                  <a:gd name="T22" fmla="*/ 142 w 142"/>
                  <a:gd name="T23" fmla="*/ 137 h 158"/>
                  <a:gd name="T24" fmla="*/ 142 w 142"/>
                  <a:gd name="T25" fmla="*/ 158 h 158"/>
                  <a:gd name="T26" fmla="*/ 128 w 142"/>
                  <a:gd name="T27" fmla="*/ 88 h 158"/>
                  <a:gd name="T28" fmla="*/ 128 w 142"/>
                  <a:gd name="T29" fmla="*/ 15 h 158"/>
                  <a:gd name="T30" fmla="*/ 124 w 142"/>
                  <a:gd name="T31" fmla="*/ 10 h 158"/>
                  <a:gd name="T32" fmla="*/ 19 w 142"/>
                  <a:gd name="T33" fmla="*/ 10 h 158"/>
                  <a:gd name="T34" fmla="*/ 14 w 142"/>
                  <a:gd name="T35" fmla="*/ 15 h 158"/>
                  <a:gd name="T36" fmla="*/ 14 w 142"/>
                  <a:gd name="T37" fmla="*/ 88 h 158"/>
                  <a:gd name="T38" fmla="*/ 19 w 142"/>
                  <a:gd name="T39" fmla="*/ 93 h 158"/>
                  <a:gd name="T40" fmla="*/ 124 w 142"/>
                  <a:gd name="T41" fmla="*/ 93 h 158"/>
                  <a:gd name="T42" fmla="*/ 128 w 142"/>
                  <a:gd name="T43" fmla="*/ 88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42" h="158">
                    <a:moveTo>
                      <a:pt x="142" y="158"/>
                    </a:moveTo>
                    <a:cubicBezTo>
                      <a:pt x="0" y="158"/>
                      <a:pt x="0" y="158"/>
                      <a:pt x="0" y="158"/>
                    </a:cubicBezTo>
                    <a:cubicBezTo>
                      <a:pt x="0" y="137"/>
                      <a:pt x="0" y="137"/>
                      <a:pt x="0" y="137"/>
                    </a:cubicBezTo>
                    <a:cubicBezTo>
                      <a:pt x="12" y="120"/>
                      <a:pt x="12" y="120"/>
                      <a:pt x="12" y="120"/>
                    </a:cubicBezTo>
                    <a:cubicBezTo>
                      <a:pt x="12" y="112"/>
                      <a:pt x="12" y="112"/>
                      <a:pt x="12" y="112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42" y="0"/>
                      <a:pt x="142" y="0"/>
                      <a:pt x="142" y="0"/>
                    </a:cubicBezTo>
                    <a:cubicBezTo>
                      <a:pt x="142" y="112"/>
                      <a:pt x="142" y="112"/>
                      <a:pt x="142" y="112"/>
                    </a:cubicBezTo>
                    <a:cubicBezTo>
                      <a:pt x="128" y="112"/>
                      <a:pt x="128" y="112"/>
                      <a:pt x="128" y="112"/>
                    </a:cubicBezTo>
                    <a:cubicBezTo>
                      <a:pt x="128" y="120"/>
                      <a:pt x="128" y="120"/>
                      <a:pt x="128" y="120"/>
                    </a:cubicBezTo>
                    <a:cubicBezTo>
                      <a:pt x="142" y="137"/>
                      <a:pt x="142" y="137"/>
                      <a:pt x="142" y="137"/>
                    </a:cubicBezTo>
                    <a:cubicBezTo>
                      <a:pt x="142" y="158"/>
                      <a:pt x="142" y="158"/>
                      <a:pt x="142" y="158"/>
                    </a:cubicBezTo>
                    <a:close/>
                    <a:moveTo>
                      <a:pt x="128" y="88"/>
                    </a:moveTo>
                    <a:cubicBezTo>
                      <a:pt x="128" y="15"/>
                      <a:pt x="128" y="15"/>
                      <a:pt x="128" y="15"/>
                    </a:cubicBezTo>
                    <a:cubicBezTo>
                      <a:pt x="128" y="11"/>
                      <a:pt x="127" y="10"/>
                      <a:pt x="124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6" y="10"/>
                      <a:pt x="14" y="11"/>
                      <a:pt x="14" y="15"/>
                    </a:cubicBezTo>
                    <a:cubicBezTo>
                      <a:pt x="14" y="88"/>
                      <a:pt x="14" y="88"/>
                      <a:pt x="14" y="88"/>
                    </a:cubicBezTo>
                    <a:cubicBezTo>
                      <a:pt x="14" y="91"/>
                      <a:pt x="16" y="93"/>
                      <a:pt x="19" y="93"/>
                    </a:cubicBezTo>
                    <a:cubicBezTo>
                      <a:pt x="124" y="93"/>
                      <a:pt x="124" y="93"/>
                      <a:pt x="124" y="93"/>
                    </a:cubicBezTo>
                    <a:cubicBezTo>
                      <a:pt x="127" y="93"/>
                      <a:pt x="128" y="91"/>
                      <a:pt x="128" y="88"/>
                    </a:cubicBezTo>
                    <a:close/>
                  </a:path>
                </a:pathLst>
              </a:custGeom>
              <a:solidFill>
                <a:srgbClr val="F5F5E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2" name="文本框 41"/>
              <p:cNvSpPr txBox="1"/>
              <p:nvPr/>
            </p:nvSpPr>
            <p:spPr>
              <a:xfrm rot="18833630">
                <a:off x="9182500" y="3271786"/>
                <a:ext cx="151216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你</a:t>
                </a:r>
                <a:r>
                  <a:rPr lang="zh-CN" altLang="en-US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的标题</a:t>
                </a:r>
                <a:endPara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8" name="组合 7"/>
            <p:cNvGrpSpPr/>
            <p:nvPr/>
          </p:nvGrpSpPr>
          <p:grpSpPr>
            <a:xfrm>
              <a:off x="1830682" y="2536243"/>
              <a:ext cx="1505961" cy="2043987"/>
              <a:chOff x="1830682" y="2536243"/>
              <a:chExt cx="1505961" cy="2043987"/>
            </a:xfrm>
          </p:grpSpPr>
          <p:sp>
            <p:nvSpPr>
              <p:cNvPr id="35" name="矩形 34"/>
              <p:cNvSpPr/>
              <p:nvPr/>
            </p:nvSpPr>
            <p:spPr>
              <a:xfrm rot="2670473">
                <a:off x="1830682" y="2536243"/>
                <a:ext cx="1505961" cy="1505961"/>
              </a:xfrm>
              <a:prstGeom prst="rect">
                <a:avLst/>
              </a:prstGeom>
              <a:solidFill>
                <a:srgbClr val="D54B1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36" name="组合 35"/>
              <p:cNvGrpSpPr/>
              <p:nvPr/>
            </p:nvGrpSpPr>
            <p:grpSpPr>
              <a:xfrm>
                <a:off x="2305074" y="2608525"/>
                <a:ext cx="445136" cy="388888"/>
                <a:chOff x="1978456" y="2855297"/>
                <a:chExt cx="728663" cy="636588"/>
              </a:xfrm>
            </p:grpSpPr>
            <p:sp>
              <p:nvSpPr>
                <p:cNvPr id="38" name="Freeform 40"/>
                <p:cNvSpPr>
                  <a:spLocks noEditPoints="1"/>
                </p:cNvSpPr>
                <p:nvPr/>
              </p:nvSpPr>
              <p:spPr bwMode="auto">
                <a:xfrm>
                  <a:off x="1978456" y="3006110"/>
                  <a:ext cx="728663" cy="485775"/>
                </a:xfrm>
                <a:custGeom>
                  <a:avLst/>
                  <a:gdLst>
                    <a:gd name="T0" fmla="*/ 175 w 194"/>
                    <a:gd name="T1" fmla="*/ 0 h 128"/>
                    <a:gd name="T2" fmla="*/ 194 w 194"/>
                    <a:gd name="T3" fmla="*/ 109 h 128"/>
                    <a:gd name="T4" fmla="*/ 20 w 194"/>
                    <a:gd name="T5" fmla="*/ 128 h 128"/>
                    <a:gd name="T6" fmla="*/ 0 w 194"/>
                    <a:gd name="T7" fmla="*/ 19 h 128"/>
                    <a:gd name="T8" fmla="*/ 19 w 194"/>
                    <a:gd name="T9" fmla="*/ 23 h 128"/>
                    <a:gd name="T10" fmla="*/ 14 w 194"/>
                    <a:gd name="T11" fmla="*/ 29 h 128"/>
                    <a:gd name="T12" fmla="*/ 96 w 194"/>
                    <a:gd name="T13" fmla="*/ 34 h 128"/>
                    <a:gd name="T14" fmla="*/ 101 w 194"/>
                    <a:gd name="T15" fmla="*/ 29 h 128"/>
                    <a:gd name="T16" fmla="*/ 19 w 194"/>
                    <a:gd name="T17" fmla="*/ 23 h 128"/>
                    <a:gd name="T18" fmla="*/ 14 w 194"/>
                    <a:gd name="T19" fmla="*/ 46 h 128"/>
                    <a:gd name="T20" fmla="*/ 19 w 194"/>
                    <a:gd name="T21" fmla="*/ 52 h 128"/>
                    <a:gd name="T22" fmla="*/ 101 w 194"/>
                    <a:gd name="T23" fmla="*/ 46 h 128"/>
                    <a:gd name="T24" fmla="*/ 96 w 194"/>
                    <a:gd name="T25" fmla="*/ 41 h 128"/>
                    <a:gd name="T26" fmla="*/ 19 w 194"/>
                    <a:gd name="T27" fmla="*/ 59 h 128"/>
                    <a:gd name="T28" fmla="*/ 14 w 194"/>
                    <a:gd name="T29" fmla="*/ 64 h 128"/>
                    <a:gd name="T30" fmla="*/ 96 w 194"/>
                    <a:gd name="T31" fmla="*/ 69 h 128"/>
                    <a:gd name="T32" fmla="*/ 101 w 194"/>
                    <a:gd name="T33" fmla="*/ 64 h 128"/>
                    <a:gd name="T34" fmla="*/ 19 w 194"/>
                    <a:gd name="T35" fmla="*/ 59 h 128"/>
                    <a:gd name="T36" fmla="*/ 14 w 194"/>
                    <a:gd name="T37" fmla="*/ 82 h 128"/>
                    <a:gd name="T38" fmla="*/ 19 w 194"/>
                    <a:gd name="T39" fmla="*/ 87 h 128"/>
                    <a:gd name="T40" fmla="*/ 101 w 194"/>
                    <a:gd name="T41" fmla="*/ 82 h 128"/>
                    <a:gd name="T42" fmla="*/ 96 w 194"/>
                    <a:gd name="T43" fmla="*/ 77 h 128"/>
                    <a:gd name="T44" fmla="*/ 19 w 194"/>
                    <a:gd name="T45" fmla="*/ 94 h 128"/>
                    <a:gd name="T46" fmla="*/ 14 w 194"/>
                    <a:gd name="T47" fmla="*/ 100 h 128"/>
                    <a:gd name="T48" fmla="*/ 96 w 194"/>
                    <a:gd name="T49" fmla="*/ 105 h 128"/>
                    <a:gd name="T50" fmla="*/ 101 w 194"/>
                    <a:gd name="T51" fmla="*/ 100 h 128"/>
                    <a:gd name="T52" fmla="*/ 19 w 194"/>
                    <a:gd name="T53" fmla="*/ 94 h 128"/>
                    <a:gd name="T54" fmla="*/ 113 w 194"/>
                    <a:gd name="T55" fmla="*/ 64 h 128"/>
                    <a:gd name="T56" fmla="*/ 184 w 194"/>
                    <a:gd name="T57" fmla="*/ 64 h 128"/>
                    <a:gd name="T58" fmla="*/ 148 w 194"/>
                    <a:gd name="T59" fmla="*/ 35 h 128"/>
                    <a:gd name="T60" fmla="*/ 148 w 194"/>
                    <a:gd name="T61" fmla="*/ 93 h 128"/>
                    <a:gd name="T62" fmla="*/ 148 w 194"/>
                    <a:gd name="T63" fmla="*/ 35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94" h="128">
                      <a:moveTo>
                        <a:pt x="20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86" y="0"/>
                        <a:pt x="194" y="9"/>
                        <a:pt x="194" y="19"/>
                      </a:cubicBezTo>
                      <a:cubicBezTo>
                        <a:pt x="194" y="109"/>
                        <a:pt x="194" y="109"/>
                        <a:pt x="194" y="109"/>
                      </a:cubicBezTo>
                      <a:cubicBezTo>
                        <a:pt x="194" y="119"/>
                        <a:pt x="186" y="128"/>
                        <a:pt x="175" y="128"/>
                      </a:cubicBezTo>
                      <a:cubicBezTo>
                        <a:pt x="20" y="128"/>
                        <a:pt x="20" y="128"/>
                        <a:pt x="20" y="128"/>
                      </a:cubicBezTo>
                      <a:cubicBezTo>
                        <a:pt x="9" y="128"/>
                        <a:pt x="0" y="119"/>
                        <a:pt x="0" y="109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0" y="9"/>
                        <a:pt x="9" y="0"/>
                        <a:pt x="20" y="0"/>
                      </a:cubicBezTo>
                      <a:close/>
                      <a:moveTo>
                        <a:pt x="19" y="23"/>
                      </a:moveTo>
                      <a:cubicBezTo>
                        <a:pt x="16" y="23"/>
                        <a:pt x="14" y="26"/>
                        <a:pt x="14" y="29"/>
                      </a:cubicBezTo>
                      <a:cubicBezTo>
                        <a:pt x="14" y="29"/>
                        <a:pt x="14" y="29"/>
                        <a:pt x="14" y="29"/>
                      </a:cubicBezTo>
                      <a:cubicBezTo>
                        <a:pt x="14" y="32"/>
                        <a:pt x="16" y="34"/>
                        <a:pt x="19" y="34"/>
                      </a:cubicBezTo>
                      <a:cubicBezTo>
                        <a:pt x="96" y="34"/>
                        <a:pt x="96" y="34"/>
                        <a:pt x="96" y="34"/>
                      </a:cubicBezTo>
                      <a:cubicBezTo>
                        <a:pt x="99" y="34"/>
                        <a:pt x="101" y="32"/>
                        <a:pt x="101" y="29"/>
                      </a:cubicBezTo>
                      <a:cubicBezTo>
                        <a:pt x="101" y="29"/>
                        <a:pt x="101" y="29"/>
                        <a:pt x="101" y="29"/>
                      </a:cubicBezTo>
                      <a:cubicBezTo>
                        <a:pt x="101" y="26"/>
                        <a:pt x="99" y="23"/>
                        <a:pt x="96" y="23"/>
                      </a:cubicBezTo>
                      <a:cubicBezTo>
                        <a:pt x="19" y="23"/>
                        <a:pt x="19" y="23"/>
                        <a:pt x="19" y="23"/>
                      </a:cubicBezTo>
                      <a:close/>
                      <a:moveTo>
                        <a:pt x="19" y="41"/>
                      </a:moveTo>
                      <a:cubicBezTo>
                        <a:pt x="16" y="41"/>
                        <a:pt x="14" y="44"/>
                        <a:pt x="14" y="46"/>
                      </a:cubicBezTo>
                      <a:cubicBezTo>
                        <a:pt x="14" y="46"/>
                        <a:pt x="14" y="46"/>
                        <a:pt x="14" y="46"/>
                      </a:cubicBezTo>
                      <a:cubicBezTo>
                        <a:pt x="14" y="49"/>
                        <a:pt x="16" y="52"/>
                        <a:pt x="19" y="52"/>
                      </a:cubicBezTo>
                      <a:cubicBezTo>
                        <a:pt x="96" y="52"/>
                        <a:pt x="96" y="52"/>
                        <a:pt x="96" y="52"/>
                      </a:cubicBezTo>
                      <a:cubicBezTo>
                        <a:pt x="99" y="52"/>
                        <a:pt x="101" y="49"/>
                        <a:pt x="101" y="46"/>
                      </a:cubicBezTo>
                      <a:cubicBezTo>
                        <a:pt x="101" y="46"/>
                        <a:pt x="101" y="46"/>
                        <a:pt x="101" y="46"/>
                      </a:cubicBezTo>
                      <a:cubicBezTo>
                        <a:pt x="101" y="44"/>
                        <a:pt x="99" y="41"/>
                        <a:pt x="96" y="41"/>
                      </a:cubicBezTo>
                      <a:cubicBezTo>
                        <a:pt x="19" y="41"/>
                        <a:pt x="19" y="41"/>
                        <a:pt x="19" y="41"/>
                      </a:cubicBezTo>
                      <a:close/>
                      <a:moveTo>
                        <a:pt x="19" y="59"/>
                      </a:moveTo>
                      <a:cubicBezTo>
                        <a:pt x="16" y="59"/>
                        <a:pt x="14" y="61"/>
                        <a:pt x="14" y="64"/>
                      </a:cubicBezTo>
                      <a:cubicBezTo>
                        <a:pt x="14" y="64"/>
                        <a:pt x="14" y="64"/>
                        <a:pt x="14" y="64"/>
                      </a:cubicBezTo>
                      <a:cubicBezTo>
                        <a:pt x="14" y="67"/>
                        <a:pt x="16" y="69"/>
                        <a:pt x="19" y="69"/>
                      </a:cubicBezTo>
                      <a:cubicBezTo>
                        <a:pt x="96" y="69"/>
                        <a:pt x="96" y="69"/>
                        <a:pt x="96" y="69"/>
                      </a:cubicBezTo>
                      <a:cubicBezTo>
                        <a:pt x="99" y="69"/>
                        <a:pt x="101" y="67"/>
                        <a:pt x="101" y="64"/>
                      </a:cubicBezTo>
                      <a:cubicBezTo>
                        <a:pt x="101" y="64"/>
                        <a:pt x="101" y="64"/>
                        <a:pt x="101" y="64"/>
                      </a:cubicBezTo>
                      <a:cubicBezTo>
                        <a:pt x="101" y="61"/>
                        <a:pt x="99" y="59"/>
                        <a:pt x="96" y="59"/>
                      </a:cubicBezTo>
                      <a:cubicBezTo>
                        <a:pt x="19" y="59"/>
                        <a:pt x="19" y="59"/>
                        <a:pt x="19" y="59"/>
                      </a:cubicBezTo>
                      <a:close/>
                      <a:moveTo>
                        <a:pt x="19" y="77"/>
                      </a:moveTo>
                      <a:cubicBezTo>
                        <a:pt x="16" y="77"/>
                        <a:pt x="14" y="79"/>
                        <a:pt x="14" y="82"/>
                      </a:cubicBezTo>
                      <a:cubicBezTo>
                        <a:pt x="14" y="82"/>
                        <a:pt x="14" y="82"/>
                        <a:pt x="14" y="82"/>
                      </a:cubicBezTo>
                      <a:cubicBezTo>
                        <a:pt x="14" y="85"/>
                        <a:pt x="16" y="87"/>
                        <a:pt x="19" y="87"/>
                      </a:cubicBezTo>
                      <a:cubicBezTo>
                        <a:pt x="96" y="87"/>
                        <a:pt x="96" y="87"/>
                        <a:pt x="96" y="87"/>
                      </a:cubicBezTo>
                      <a:cubicBezTo>
                        <a:pt x="99" y="87"/>
                        <a:pt x="101" y="85"/>
                        <a:pt x="101" y="82"/>
                      </a:cubicBezTo>
                      <a:cubicBezTo>
                        <a:pt x="101" y="82"/>
                        <a:pt x="101" y="82"/>
                        <a:pt x="101" y="82"/>
                      </a:cubicBezTo>
                      <a:cubicBezTo>
                        <a:pt x="101" y="79"/>
                        <a:pt x="99" y="77"/>
                        <a:pt x="96" y="77"/>
                      </a:cubicBezTo>
                      <a:cubicBezTo>
                        <a:pt x="19" y="77"/>
                        <a:pt x="19" y="77"/>
                        <a:pt x="19" y="77"/>
                      </a:cubicBezTo>
                      <a:close/>
                      <a:moveTo>
                        <a:pt x="19" y="94"/>
                      </a:moveTo>
                      <a:cubicBezTo>
                        <a:pt x="16" y="94"/>
                        <a:pt x="14" y="97"/>
                        <a:pt x="14" y="100"/>
                      </a:cubicBezTo>
                      <a:cubicBezTo>
                        <a:pt x="14" y="100"/>
                        <a:pt x="14" y="100"/>
                        <a:pt x="14" y="100"/>
                      </a:cubicBezTo>
                      <a:cubicBezTo>
                        <a:pt x="14" y="102"/>
                        <a:pt x="16" y="105"/>
                        <a:pt x="19" y="105"/>
                      </a:cubicBezTo>
                      <a:cubicBezTo>
                        <a:pt x="96" y="105"/>
                        <a:pt x="96" y="105"/>
                        <a:pt x="96" y="105"/>
                      </a:cubicBezTo>
                      <a:cubicBezTo>
                        <a:pt x="99" y="105"/>
                        <a:pt x="101" y="102"/>
                        <a:pt x="101" y="100"/>
                      </a:cubicBezTo>
                      <a:cubicBezTo>
                        <a:pt x="101" y="100"/>
                        <a:pt x="101" y="100"/>
                        <a:pt x="101" y="100"/>
                      </a:cubicBezTo>
                      <a:cubicBezTo>
                        <a:pt x="101" y="97"/>
                        <a:pt x="99" y="94"/>
                        <a:pt x="96" y="94"/>
                      </a:cubicBezTo>
                      <a:cubicBezTo>
                        <a:pt x="19" y="94"/>
                        <a:pt x="19" y="94"/>
                        <a:pt x="19" y="94"/>
                      </a:cubicBezTo>
                      <a:close/>
                      <a:moveTo>
                        <a:pt x="148" y="29"/>
                      </a:moveTo>
                      <a:cubicBezTo>
                        <a:pt x="129" y="29"/>
                        <a:pt x="113" y="44"/>
                        <a:pt x="113" y="64"/>
                      </a:cubicBezTo>
                      <a:cubicBezTo>
                        <a:pt x="113" y="84"/>
                        <a:pt x="129" y="100"/>
                        <a:pt x="148" y="100"/>
                      </a:cubicBezTo>
                      <a:cubicBezTo>
                        <a:pt x="168" y="100"/>
                        <a:pt x="184" y="84"/>
                        <a:pt x="184" y="64"/>
                      </a:cubicBezTo>
                      <a:cubicBezTo>
                        <a:pt x="184" y="44"/>
                        <a:pt x="168" y="29"/>
                        <a:pt x="148" y="29"/>
                      </a:cubicBezTo>
                      <a:close/>
                      <a:moveTo>
                        <a:pt x="148" y="35"/>
                      </a:moveTo>
                      <a:cubicBezTo>
                        <a:pt x="133" y="35"/>
                        <a:pt x="120" y="48"/>
                        <a:pt x="120" y="64"/>
                      </a:cubicBezTo>
                      <a:cubicBezTo>
                        <a:pt x="120" y="80"/>
                        <a:pt x="133" y="93"/>
                        <a:pt x="148" y="93"/>
                      </a:cubicBezTo>
                      <a:cubicBezTo>
                        <a:pt x="164" y="93"/>
                        <a:pt x="177" y="80"/>
                        <a:pt x="177" y="64"/>
                      </a:cubicBezTo>
                      <a:cubicBezTo>
                        <a:pt x="177" y="48"/>
                        <a:pt x="164" y="35"/>
                        <a:pt x="148" y="35"/>
                      </a:cubicBezTo>
                      <a:close/>
                    </a:path>
                  </a:pathLst>
                </a:custGeom>
                <a:solidFill>
                  <a:srgbClr val="F5F5E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9" name="Freeform 41"/>
                <p:cNvSpPr/>
                <p:nvPr/>
              </p:nvSpPr>
              <p:spPr bwMode="auto">
                <a:xfrm>
                  <a:off x="2173718" y="2855297"/>
                  <a:ext cx="487363" cy="185738"/>
                </a:xfrm>
                <a:custGeom>
                  <a:avLst/>
                  <a:gdLst>
                    <a:gd name="T0" fmla="*/ 0 w 307"/>
                    <a:gd name="T1" fmla="*/ 19 h 117"/>
                    <a:gd name="T2" fmla="*/ 300 w 307"/>
                    <a:gd name="T3" fmla="*/ 117 h 117"/>
                    <a:gd name="T4" fmla="*/ 307 w 307"/>
                    <a:gd name="T5" fmla="*/ 98 h 117"/>
                    <a:gd name="T6" fmla="*/ 7 w 307"/>
                    <a:gd name="T7" fmla="*/ 0 h 117"/>
                    <a:gd name="T8" fmla="*/ 0 w 307"/>
                    <a:gd name="T9" fmla="*/ 19 h 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07" h="117">
                      <a:moveTo>
                        <a:pt x="0" y="19"/>
                      </a:moveTo>
                      <a:lnTo>
                        <a:pt x="300" y="117"/>
                      </a:lnTo>
                      <a:lnTo>
                        <a:pt x="307" y="98"/>
                      </a:lnTo>
                      <a:lnTo>
                        <a:pt x="7" y="0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solidFill>
                  <a:srgbClr val="F5F5E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37" name="文本框 36"/>
              <p:cNvSpPr txBox="1"/>
              <p:nvPr/>
            </p:nvSpPr>
            <p:spPr>
              <a:xfrm rot="2720642">
                <a:off x="1601175" y="3639480"/>
                <a:ext cx="151216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你</a:t>
                </a:r>
                <a:r>
                  <a:rPr lang="zh-CN" altLang="en-US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的标题</a:t>
                </a:r>
                <a:endPara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3342850" y="2522876"/>
              <a:ext cx="1505961" cy="2004404"/>
              <a:chOff x="3342850" y="2522876"/>
              <a:chExt cx="1505961" cy="2004404"/>
            </a:xfrm>
          </p:grpSpPr>
          <p:sp>
            <p:nvSpPr>
              <p:cNvPr id="32" name="矩形 31"/>
              <p:cNvSpPr/>
              <p:nvPr/>
            </p:nvSpPr>
            <p:spPr>
              <a:xfrm rot="2670473">
                <a:off x="3342850" y="2522876"/>
                <a:ext cx="1505961" cy="1505961"/>
              </a:xfrm>
              <a:prstGeom prst="rect">
                <a:avLst/>
              </a:prstGeom>
              <a:solidFill>
                <a:srgbClr val="F79E1E"/>
              </a:solidFill>
              <a:ln w="57150">
                <a:solidFill>
                  <a:srgbClr val="F5F5E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Freeform 186"/>
              <p:cNvSpPr/>
              <p:nvPr/>
            </p:nvSpPr>
            <p:spPr bwMode="auto">
              <a:xfrm rot="1698444">
                <a:off x="3913990" y="2575846"/>
                <a:ext cx="160701" cy="454246"/>
              </a:xfrm>
              <a:custGeom>
                <a:avLst/>
                <a:gdLst>
                  <a:gd name="T0" fmla="*/ 63 w 63"/>
                  <a:gd name="T1" fmla="*/ 204 h 213"/>
                  <a:gd name="T2" fmla="*/ 47 w 63"/>
                  <a:gd name="T3" fmla="*/ 213 h 213"/>
                  <a:gd name="T4" fmla="*/ 13 w 63"/>
                  <a:gd name="T5" fmla="*/ 205 h 213"/>
                  <a:gd name="T6" fmla="*/ 0 w 63"/>
                  <a:gd name="T7" fmla="*/ 110 h 213"/>
                  <a:gd name="T8" fmla="*/ 4 w 63"/>
                  <a:gd name="T9" fmla="*/ 58 h 213"/>
                  <a:gd name="T10" fmla="*/ 13 w 63"/>
                  <a:gd name="T11" fmla="*/ 8 h 213"/>
                  <a:gd name="T12" fmla="*/ 47 w 63"/>
                  <a:gd name="T13" fmla="*/ 0 h 213"/>
                  <a:gd name="T14" fmla="*/ 63 w 63"/>
                  <a:gd name="T15" fmla="*/ 9 h 213"/>
                  <a:gd name="T16" fmla="*/ 60 w 63"/>
                  <a:gd name="T17" fmla="*/ 52 h 213"/>
                  <a:gd name="T18" fmla="*/ 37 w 63"/>
                  <a:gd name="T19" fmla="*/ 67 h 213"/>
                  <a:gd name="T20" fmla="*/ 28 w 63"/>
                  <a:gd name="T21" fmla="*/ 89 h 213"/>
                  <a:gd name="T22" fmla="*/ 27 w 63"/>
                  <a:gd name="T23" fmla="*/ 113 h 213"/>
                  <a:gd name="T24" fmla="*/ 34 w 63"/>
                  <a:gd name="T25" fmla="*/ 143 h 213"/>
                  <a:gd name="T26" fmla="*/ 60 w 63"/>
                  <a:gd name="T27" fmla="*/ 161 h 213"/>
                  <a:gd name="T28" fmla="*/ 63 w 63"/>
                  <a:gd name="T29" fmla="*/ 204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3" h="213">
                    <a:moveTo>
                      <a:pt x="63" y="204"/>
                    </a:moveTo>
                    <a:cubicBezTo>
                      <a:pt x="60" y="206"/>
                      <a:pt x="54" y="209"/>
                      <a:pt x="47" y="213"/>
                    </a:cubicBezTo>
                    <a:cubicBezTo>
                      <a:pt x="35" y="213"/>
                      <a:pt x="24" y="210"/>
                      <a:pt x="13" y="205"/>
                    </a:cubicBezTo>
                    <a:cubicBezTo>
                      <a:pt x="5" y="182"/>
                      <a:pt x="0" y="150"/>
                      <a:pt x="0" y="110"/>
                    </a:cubicBezTo>
                    <a:cubicBezTo>
                      <a:pt x="0" y="96"/>
                      <a:pt x="1" y="78"/>
                      <a:pt x="4" y="58"/>
                    </a:cubicBezTo>
                    <a:cubicBezTo>
                      <a:pt x="6" y="35"/>
                      <a:pt x="9" y="18"/>
                      <a:pt x="13" y="8"/>
                    </a:cubicBezTo>
                    <a:cubicBezTo>
                      <a:pt x="24" y="3"/>
                      <a:pt x="35" y="0"/>
                      <a:pt x="47" y="0"/>
                    </a:cubicBezTo>
                    <a:cubicBezTo>
                      <a:pt x="51" y="1"/>
                      <a:pt x="56" y="4"/>
                      <a:pt x="63" y="9"/>
                    </a:cubicBezTo>
                    <a:cubicBezTo>
                      <a:pt x="60" y="52"/>
                      <a:pt x="60" y="52"/>
                      <a:pt x="60" y="52"/>
                    </a:cubicBezTo>
                    <a:cubicBezTo>
                      <a:pt x="37" y="67"/>
                      <a:pt x="37" y="67"/>
                      <a:pt x="37" y="67"/>
                    </a:cubicBezTo>
                    <a:cubicBezTo>
                      <a:pt x="32" y="74"/>
                      <a:pt x="29" y="81"/>
                      <a:pt x="28" y="89"/>
                    </a:cubicBezTo>
                    <a:cubicBezTo>
                      <a:pt x="28" y="92"/>
                      <a:pt x="27" y="101"/>
                      <a:pt x="27" y="113"/>
                    </a:cubicBezTo>
                    <a:cubicBezTo>
                      <a:pt x="27" y="127"/>
                      <a:pt x="30" y="137"/>
                      <a:pt x="34" y="143"/>
                    </a:cubicBezTo>
                    <a:cubicBezTo>
                      <a:pt x="37" y="145"/>
                      <a:pt x="45" y="151"/>
                      <a:pt x="60" y="161"/>
                    </a:cubicBezTo>
                    <a:lnTo>
                      <a:pt x="63" y="204"/>
                    </a:lnTo>
                    <a:close/>
                  </a:path>
                </a:pathLst>
              </a:custGeom>
              <a:solidFill>
                <a:srgbClr val="F5F5E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4" name="文本框 33"/>
              <p:cNvSpPr txBox="1"/>
              <p:nvPr/>
            </p:nvSpPr>
            <p:spPr>
              <a:xfrm rot="2720642">
                <a:off x="3127273" y="3586530"/>
                <a:ext cx="151216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你</a:t>
                </a:r>
                <a:r>
                  <a:rPr lang="zh-CN" altLang="en-US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的标题</a:t>
                </a:r>
                <a:endPara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7127936" y="2496383"/>
              <a:ext cx="2005725" cy="1505961"/>
              <a:chOff x="7127936" y="2496383"/>
              <a:chExt cx="2005725" cy="1505961"/>
            </a:xfrm>
          </p:grpSpPr>
          <p:sp>
            <p:nvSpPr>
              <p:cNvPr id="25" name="矩形 24"/>
              <p:cNvSpPr/>
              <p:nvPr/>
            </p:nvSpPr>
            <p:spPr>
              <a:xfrm rot="2670473">
                <a:off x="7127936" y="2496383"/>
                <a:ext cx="1505961" cy="1505961"/>
              </a:xfrm>
              <a:prstGeom prst="rect">
                <a:avLst/>
              </a:prstGeom>
              <a:solidFill>
                <a:srgbClr val="9CB81F"/>
              </a:solidFill>
              <a:ln w="57150">
                <a:solidFill>
                  <a:srgbClr val="F5F5E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26" name="组合 25"/>
              <p:cNvGrpSpPr/>
              <p:nvPr/>
            </p:nvGrpSpPr>
            <p:grpSpPr>
              <a:xfrm>
                <a:off x="7638349" y="2564904"/>
                <a:ext cx="463231" cy="533975"/>
                <a:chOff x="6446167" y="4674118"/>
                <a:chExt cx="758826" cy="874713"/>
              </a:xfrm>
              <a:solidFill>
                <a:srgbClr val="F5F5E2"/>
              </a:solidFill>
            </p:grpSpPr>
            <p:sp>
              <p:nvSpPr>
                <p:cNvPr id="28" name="Freeform 179"/>
                <p:cNvSpPr/>
                <p:nvPr/>
              </p:nvSpPr>
              <p:spPr bwMode="auto">
                <a:xfrm>
                  <a:off x="6812880" y="4872556"/>
                  <a:ext cx="38100" cy="19050"/>
                </a:xfrm>
                <a:custGeom>
                  <a:avLst/>
                  <a:gdLst>
                    <a:gd name="T0" fmla="*/ 10 w 10"/>
                    <a:gd name="T1" fmla="*/ 5 h 5"/>
                    <a:gd name="T2" fmla="*/ 5 w 10"/>
                    <a:gd name="T3" fmla="*/ 0 h 5"/>
                    <a:gd name="T4" fmla="*/ 0 w 10"/>
                    <a:gd name="T5" fmla="*/ 5 h 5"/>
                    <a:gd name="T6" fmla="*/ 10 w 10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0" h="5">
                      <a:moveTo>
                        <a:pt x="10" y="5"/>
                      </a:move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2" y="2"/>
                        <a:pt x="7" y="2"/>
                        <a:pt x="10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" name="Freeform 180"/>
                <p:cNvSpPr/>
                <p:nvPr/>
              </p:nvSpPr>
              <p:spPr bwMode="auto">
                <a:xfrm>
                  <a:off x="6587455" y="4674118"/>
                  <a:ext cx="468313" cy="236538"/>
                </a:xfrm>
                <a:custGeom>
                  <a:avLst/>
                  <a:gdLst>
                    <a:gd name="T0" fmla="*/ 64 w 123"/>
                    <a:gd name="T1" fmla="*/ 60 h 62"/>
                    <a:gd name="T2" fmla="*/ 66 w 123"/>
                    <a:gd name="T3" fmla="*/ 60 h 62"/>
                    <a:gd name="T4" fmla="*/ 74 w 123"/>
                    <a:gd name="T5" fmla="*/ 62 h 62"/>
                    <a:gd name="T6" fmla="*/ 120 w 123"/>
                    <a:gd name="T7" fmla="*/ 14 h 62"/>
                    <a:gd name="T8" fmla="*/ 120 w 123"/>
                    <a:gd name="T9" fmla="*/ 4 h 62"/>
                    <a:gd name="T10" fmla="*/ 110 w 123"/>
                    <a:gd name="T11" fmla="*/ 4 h 62"/>
                    <a:gd name="T12" fmla="*/ 64 w 123"/>
                    <a:gd name="T13" fmla="*/ 52 h 62"/>
                    <a:gd name="T14" fmla="*/ 69 w 123"/>
                    <a:gd name="T15" fmla="*/ 57 h 62"/>
                    <a:gd name="T16" fmla="*/ 59 w 123"/>
                    <a:gd name="T17" fmla="*/ 57 h 62"/>
                    <a:gd name="T18" fmla="*/ 64 w 123"/>
                    <a:gd name="T19" fmla="*/ 52 h 62"/>
                    <a:gd name="T20" fmla="*/ 13 w 123"/>
                    <a:gd name="T21" fmla="*/ 3 h 62"/>
                    <a:gd name="T22" fmla="*/ 3 w 123"/>
                    <a:gd name="T23" fmla="*/ 3 h 62"/>
                    <a:gd name="T24" fmla="*/ 3 w 123"/>
                    <a:gd name="T25" fmla="*/ 13 h 62"/>
                    <a:gd name="T26" fmla="*/ 54 w 123"/>
                    <a:gd name="T27" fmla="*/ 62 h 62"/>
                    <a:gd name="T28" fmla="*/ 62 w 123"/>
                    <a:gd name="T29" fmla="*/ 60 h 62"/>
                    <a:gd name="T30" fmla="*/ 64 w 123"/>
                    <a:gd name="T31" fmla="*/ 60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23" h="62">
                      <a:moveTo>
                        <a:pt x="64" y="60"/>
                      </a:moveTo>
                      <a:cubicBezTo>
                        <a:pt x="65" y="60"/>
                        <a:pt x="65" y="60"/>
                        <a:pt x="66" y="60"/>
                      </a:cubicBezTo>
                      <a:cubicBezTo>
                        <a:pt x="69" y="60"/>
                        <a:pt x="72" y="61"/>
                        <a:pt x="74" y="62"/>
                      </a:cubicBezTo>
                      <a:cubicBezTo>
                        <a:pt x="120" y="14"/>
                        <a:pt x="120" y="14"/>
                        <a:pt x="120" y="14"/>
                      </a:cubicBezTo>
                      <a:cubicBezTo>
                        <a:pt x="123" y="11"/>
                        <a:pt x="123" y="7"/>
                        <a:pt x="120" y="4"/>
                      </a:cubicBezTo>
                      <a:cubicBezTo>
                        <a:pt x="117" y="1"/>
                        <a:pt x="112" y="1"/>
                        <a:pt x="110" y="4"/>
                      </a:cubicBezTo>
                      <a:cubicBezTo>
                        <a:pt x="64" y="52"/>
                        <a:pt x="64" y="52"/>
                        <a:pt x="64" y="52"/>
                      </a:cubicBezTo>
                      <a:cubicBezTo>
                        <a:pt x="69" y="57"/>
                        <a:pt x="69" y="57"/>
                        <a:pt x="69" y="57"/>
                      </a:cubicBezTo>
                      <a:cubicBezTo>
                        <a:pt x="66" y="54"/>
                        <a:pt x="61" y="54"/>
                        <a:pt x="59" y="57"/>
                      </a:cubicBezTo>
                      <a:cubicBezTo>
                        <a:pt x="64" y="52"/>
                        <a:pt x="64" y="52"/>
                        <a:pt x="64" y="52"/>
                      </a:cubicBezTo>
                      <a:cubicBezTo>
                        <a:pt x="13" y="3"/>
                        <a:pt x="13" y="3"/>
                        <a:pt x="13" y="3"/>
                      </a:cubicBezTo>
                      <a:cubicBezTo>
                        <a:pt x="10" y="0"/>
                        <a:pt x="5" y="0"/>
                        <a:pt x="3" y="3"/>
                      </a:cubicBezTo>
                      <a:cubicBezTo>
                        <a:pt x="0" y="6"/>
                        <a:pt x="0" y="10"/>
                        <a:pt x="3" y="13"/>
                      </a:cubicBezTo>
                      <a:cubicBezTo>
                        <a:pt x="54" y="62"/>
                        <a:pt x="54" y="62"/>
                        <a:pt x="54" y="62"/>
                      </a:cubicBezTo>
                      <a:cubicBezTo>
                        <a:pt x="56" y="61"/>
                        <a:pt x="59" y="60"/>
                        <a:pt x="62" y="60"/>
                      </a:cubicBezTo>
                      <a:cubicBezTo>
                        <a:pt x="62" y="60"/>
                        <a:pt x="63" y="60"/>
                        <a:pt x="64" y="6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" name="Freeform 181"/>
                <p:cNvSpPr>
                  <a:spLocks noEditPoints="1"/>
                </p:cNvSpPr>
                <p:nvPr/>
              </p:nvSpPr>
              <p:spPr bwMode="auto">
                <a:xfrm>
                  <a:off x="6446167" y="4910656"/>
                  <a:ext cx="758826" cy="638175"/>
                </a:xfrm>
                <a:custGeom>
                  <a:avLst/>
                  <a:gdLst>
                    <a:gd name="T0" fmla="*/ 170 w 199"/>
                    <a:gd name="T1" fmla="*/ 9 h 168"/>
                    <a:gd name="T2" fmla="*/ 116 w 199"/>
                    <a:gd name="T3" fmla="*/ 9 h 168"/>
                    <a:gd name="T4" fmla="*/ 116 w 199"/>
                    <a:gd name="T5" fmla="*/ 8 h 168"/>
                    <a:gd name="T6" fmla="*/ 111 w 199"/>
                    <a:gd name="T7" fmla="*/ 0 h 168"/>
                    <a:gd name="T8" fmla="*/ 106 w 199"/>
                    <a:gd name="T9" fmla="*/ 5 h 168"/>
                    <a:gd name="T10" fmla="*/ 96 w 199"/>
                    <a:gd name="T11" fmla="*/ 5 h 168"/>
                    <a:gd name="T12" fmla="*/ 91 w 199"/>
                    <a:gd name="T13" fmla="*/ 0 h 168"/>
                    <a:gd name="T14" fmla="*/ 86 w 199"/>
                    <a:gd name="T15" fmla="*/ 8 h 168"/>
                    <a:gd name="T16" fmla="*/ 86 w 199"/>
                    <a:gd name="T17" fmla="*/ 9 h 168"/>
                    <a:gd name="T18" fmla="*/ 30 w 199"/>
                    <a:gd name="T19" fmla="*/ 9 h 168"/>
                    <a:gd name="T20" fmla="*/ 0 w 199"/>
                    <a:gd name="T21" fmla="*/ 39 h 168"/>
                    <a:gd name="T22" fmla="*/ 0 w 199"/>
                    <a:gd name="T23" fmla="*/ 133 h 168"/>
                    <a:gd name="T24" fmla="*/ 30 w 199"/>
                    <a:gd name="T25" fmla="*/ 163 h 168"/>
                    <a:gd name="T26" fmla="*/ 34 w 199"/>
                    <a:gd name="T27" fmla="*/ 163 h 168"/>
                    <a:gd name="T28" fmla="*/ 34 w 199"/>
                    <a:gd name="T29" fmla="*/ 168 h 168"/>
                    <a:gd name="T30" fmla="*/ 167 w 199"/>
                    <a:gd name="T31" fmla="*/ 168 h 168"/>
                    <a:gd name="T32" fmla="*/ 167 w 199"/>
                    <a:gd name="T33" fmla="*/ 163 h 168"/>
                    <a:gd name="T34" fmla="*/ 170 w 199"/>
                    <a:gd name="T35" fmla="*/ 163 h 168"/>
                    <a:gd name="T36" fmla="*/ 199 w 199"/>
                    <a:gd name="T37" fmla="*/ 133 h 168"/>
                    <a:gd name="T38" fmla="*/ 199 w 199"/>
                    <a:gd name="T39" fmla="*/ 39 h 168"/>
                    <a:gd name="T40" fmla="*/ 170 w 199"/>
                    <a:gd name="T41" fmla="*/ 9 h 168"/>
                    <a:gd name="T42" fmla="*/ 157 w 199"/>
                    <a:gd name="T43" fmla="*/ 163 h 168"/>
                    <a:gd name="T44" fmla="*/ 150 w 199"/>
                    <a:gd name="T45" fmla="*/ 155 h 168"/>
                    <a:gd name="T46" fmla="*/ 157 w 199"/>
                    <a:gd name="T47" fmla="*/ 148 h 168"/>
                    <a:gd name="T48" fmla="*/ 164 w 199"/>
                    <a:gd name="T49" fmla="*/ 155 h 168"/>
                    <a:gd name="T50" fmla="*/ 157 w 199"/>
                    <a:gd name="T51" fmla="*/ 163 h 168"/>
                    <a:gd name="T52" fmla="*/ 175 w 199"/>
                    <a:gd name="T53" fmla="*/ 122 h 168"/>
                    <a:gd name="T54" fmla="*/ 153 w 199"/>
                    <a:gd name="T55" fmla="*/ 144 h 168"/>
                    <a:gd name="T56" fmla="*/ 47 w 199"/>
                    <a:gd name="T57" fmla="*/ 144 h 168"/>
                    <a:gd name="T58" fmla="*/ 25 w 199"/>
                    <a:gd name="T59" fmla="*/ 122 h 168"/>
                    <a:gd name="T60" fmla="*/ 25 w 199"/>
                    <a:gd name="T61" fmla="*/ 51 h 168"/>
                    <a:gd name="T62" fmla="*/ 47 w 199"/>
                    <a:gd name="T63" fmla="*/ 28 h 168"/>
                    <a:gd name="T64" fmla="*/ 153 w 199"/>
                    <a:gd name="T65" fmla="*/ 28 h 168"/>
                    <a:gd name="T66" fmla="*/ 175 w 199"/>
                    <a:gd name="T67" fmla="*/ 51 h 168"/>
                    <a:gd name="T68" fmla="*/ 175 w 199"/>
                    <a:gd name="T69" fmla="*/ 122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99" h="168">
                      <a:moveTo>
                        <a:pt x="170" y="9"/>
                      </a:moveTo>
                      <a:cubicBezTo>
                        <a:pt x="116" y="9"/>
                        <a:pt x="116" y="9"/>
                        <a:pt x="116" y="9"/>
                      </a:cubicBezTo>
                      <a:cubicBezTo>
                        <a:pt x="116" y="9"/>
                        <a:pt x="116" y="8"/>
                        <a:pt x="116" y="8"/>
                      </a:cubicBezTo>
                      <a:cubicBezTo>
                        <a:pt x="116" y="5"/>
                        <a:pt x="114" y="2"/>
                        <a:pt x="111" y="0"/>
                      </a:cubicBezTo>
                      <a:cubicBezTo>
                        <a:pt x="106" y="5"/>
                        <a:pt x="106" y="5"/>
                        <a:pt x="106" y="5"/>
                      </a:cubicBezTo>
                      <a:cubicBezTo>
                        <a:pt x="103" y="8"/>
                        <a:pt x="99" y="8"/>
                        <a:pt x="96" y="5"/>
                      </a:cubicBezTo>
                      <a:cubicBezTo>
                        <a:pt x="91" y="0"/>
                        <a:pt x="91" y="0"/>
                        <a:pt x="91" y="0"/>
                      </a:cubicBezTo>
                      <a:cubicBezTo>
                        <a:pt x="88" y="2"/>
                        <a:pt x="86" y="5"/>
                        <a:pt x="86" y="8"/>
                      </a:cubicBezTo>
                      <a:cubicBezTo>
                        <a:pt x="86" y="8"/>
                        <a:pt x="86" y="9"/>
                        <a:pt x="86" y="9"/>
                      </a:cubicBezTo>
                      <a:cubicBezTo>
                        <a:pt x="30" y="9"/>
                        <a:pt x="30" y="9"/>
                        <a:pt x="30" y="9"/>
                      </a:cubicBezTo>
                      <a:cubicBezTo>
                        <a:pt x="14" y="9"/>
                        <a:pt x="0" y="23"/>
                        <a:pt x="0" y="39"/>
                      </a:cubicBezTo>
                      <a:cubicBezTo>
                        <a:pt x="0" y="133"/>
                        <a:pt x="0" y="133"/>
                        <a:pt x="0" y="133"/>
                      </a:cubicBezTo>
                      <a:cubicBezTo>
                        <a:pt x="0" y="150"/>
                        <a:pt x="14" y="163"/>
                        <a:pt x="30" y="163"/>
                      </a:cubicBezTo>
                      <a:cubicBezTo>
                        <a:pt x="34" y="163"/>
                        <a:pt x="34" y="163"/>
                        <a:pt x="34" y="163"/>
                      </a:cubicBezTo>
                      <a:cubicBezTo>
                        <a:pt x="34" y="168"/>
                        <a:pt x="34" y="168"/>
                        <a:pt x="34" y="168"/>
                      </a:cubicBezTo>
                      <a:cubicBezTo>
                        <a:pt x="167" y="168"/>
                        <a:pt x="167" y="168"/>
                        <a:pt x="167" y="168"/>
                      </a:cubicBezTo>
                      <a:cubicBezTo>
                        <a:pt x="167" y="163"/>
                        <a:pt x="167" y="163"/>
                        <a:pt x="167" y="163"/>
                      </a:cubicBezTo>
                      <a:cubicBezTo>
                        <a:pt x="170" y="163"/>
                        <a:pt x="170" y="163"/>
                        <a:pt x="170" y="163"/>
                      </a:cubicBezTo>
                      <a:cubicBezTo>
                        <a:pt x="186" y="163"/>
                        <a:pt x="199" y="150"/>
                        <a:pt x="199" y="133"/>
                      </a:cubicBezTo>
                      <a:cubicBezTo>
                        <a:pt x="199" y="39"/>
                        <a:pt x="199" y="39"/>
                        <a:pt x="199" y="39"/>
                      </a:cubicBezTo>
                      <a:cubicBezTo>
                        <a:pt x="199" y="23"/>
                        <a:pt x="186" y="9"/>
                        <a:pt x="170" y="9"/>
                      </a:cubicBezTo>
                      <a:close/>
                      <a:moveTo>
                        <a:pt x="157" y="163"/>
                      </a:moveTo>
                      <a:cubicBezTo>
                        <a:pt x="153" y="163"/>
                        <a:pt x="150" y="159"/>
                        <a:pt x="150" y="155"/>
                      </a:cubicBezTo>
                      <a:cubicBezTo>
                        <a:pt x="150" y="152"/>
                        <a:pt x="153" y="148"/>
                        <a:pt x="157" y="148"/>
                      </a:cubicBezTo>
                      <a:cubicBezTo>
                        <a:pt x="161" y="148"/>
                        <a:pt x="164" y="152"/>
                        <a:pt x="164" y="155"/>
                      </a:cubicBezTo>
                      <a:cubicBezTo>
                        <a:pt x="164" y="159"/>
                        <a:pt x="161" y="163"/>
                        <a:pt x="157" y="163"/>
                      </a:cubicBezTo>
                      <a:close/>
                      <a:moveTo>
                        <a:pt x="175" y="122"/>
                      </a:moveTo>
                      <a:cubicBezTo>
                        <a:pt x="175" y="134"/>
                        <a:pt x="164" y="144"/>
                        <a:pt x="153" y="144"/>
                      </a:cubicBezTo>
                      <a:cubicBezTo>
                        <a:pt x="47" y="144"/>
                        <a:pt x="47" y="144"/>
                        <a:pt x="47" y="144"/>
                      </a:cubicBezTo>
                      <a:cubicBezTo>
                        <a:pt x="34" y="144"/>
                        <a:pt x="25" y="134"/>
                        <a:pt x="25" y="122"/>
                      </a:cubicBezTo>
                      <a:cubicBezTo>
                        <a:pt x="25" y="51"/>
                        <a:pt x="25" y="51"/>
                        <a:pt x="25" y="51"/>
                      </a:cubicBezTo>
                      <a:cubicBezTo>
                        <a:pt x="25" y="38"/>
                        <a:pt x="34" y="28"/>
                        <a:pt x="47" y="28"/>
                      </a:cubicBezTo>
                      <a:cubicBezTo>
                        <a:pt x="153" y="28"/>
                        <a:pt x="153" y="28"/>
                        <a:pt x="153" y="28"/>
                      </a:cubicBezTo>
                      <a:cubicBezTo>
                        <a:pt x="164" y="28"/>
                        <a:pt x="175" y="38"/>
                        <a:pt x="175" y="51"/>
                      </a:cubicBezTo>
                      <a:lnTo>
                        <a:pt x="175" y="12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" name="Freeform 182"/>
                <p:cNvSpPr/>
                <p:nvPr/>
              </p:nvSpPr>
              <p:spPr bwMode="auto">
                <a:xfrm>
                  <a:off x="6793830" y="4902719"/>
                  <a:ext cx="76200" cy="38100"/>
                </a:xfrm>
                <a:custGeom>
                  <a:avLst/>
                  <a:gdLst>
                    <a:gd name="T0" fmla="*/ 15 w 20"/>
                    <a:gd name="T1" fmla="*/ 7 h 10"/>
                    <a:gd name="T2" fmla="*/ 20 w 20"/>
                    <a:gd name="T3" fmla="*/ 2 h 10"/>
                    <a:gd name="T4" fmla="*/ 12 w 20"/>
                    <a:gd name="T5" fmla="*/ 0 h 10"/>
                    <a:gd name="T6" fmla="*/ 10 w 20"/>
                    <a:gd name="T7" fmla="*/ 0 h 10"/>
                    <a:gd name="T8" fmla="*/ 8 w 20"/>
                    <a:gd name="T9" fmla="*/ 0 h 10"/>
                    <a:gd name="T10" fmla="*/ 0 w 20"/>
                    <a:gd name="T11" fmla="*/ 2 h 10"/>
                    <a:gd name="T12" fmla="*/ 5 w 20"/>
                    <a:gd name="T13" fmla="*/ 7 h 10"/>
                    <a:gd name="T14" fmla="*/ 15 w 20"/>
                    <a:gd name="T15" fmla="*/ 7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" h="10">
                      <a:moveTo>
                        <a:pt x="15" y="7"/>
                      </a:moveTo>
                      <a:cubicBezTo>
                        <a:pt x="20" y="2"/>
                        <a:pt x="20" y="2"/>
                        <a:pt x="20" y="2"/>
                      </a:cubicBezTo>
                      <a:cubicBezTo>
                        <a:pt x="18" y="1"/>
                        <a:pt x="15" y="0"/>
                        <a:pt x="12" y="0"/>
                      </a:cubicBezTo>
                      <a:cubicBezTo>
                        <a:pt x="11" y="0"/>
                        <a:pt x="11" y="0"/>
                        <a:pt x="10" y="0"/>
                      </a:cubicBezTo>
                      <a:cubicBezTo>
                        <a:pt x="9" y="0"/>
                        <a:pt x="8" y="0"/>
                        <a:pt x="8" y="0"/>
                      </a:cubicBezTo>
                      <a:cubicBezTo>
                        <a:pt x="5" y="0"/>
                        <a:pt x="2" y="1"/>
                        <a:pt x="0" y="2"/>
                      </a:cubicBezTo>
                      <a:cubicBezTo>
                        <a:pt x="5" y="7"/>
                        <a:pt x="5" y="7"/>
                        <a:pt x="5" y="7"/>
                      </a:cubicBezTo>
                      <a:cubicBezTo>
                        <a:pt x="8" y="10"/>
                        <a:pt x="12" y="10"/>
                        <a:pt x="15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27" name="文本框 26"/>
              <p:cNvSpPr txBox="1"/>
              <p:nvPr/>
            </p:nvSpPr>
            <p:spPr>
              <a:xfrm rot="18914665">
                <a:off x="7621493" y="3273245"/>
                <a:ext cx="151216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你</a:t>
                </a:r>
                <a:r>
                  <a:rPr lang="zh-CN" altLang="en-US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的标题</a:t>
                </a:r>
                <a:endParaRPr lang="zh-CN" altLang="en-US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4944257" y="2205248"/>
              <a:ext cx="2088232" cy="2088232"/>
              <a:chOff x="4944257" y="2205248"/>
              <a:chExt cx="2088232" cy="2088232"/>
            </a:xfrm>
          </p:grpSpPr>
          <p:sp>
            <p:nvSpPr>
              <p:cNvPr id="22" name="矩形 21"/>
              <p:cNvSpPr/>
              <p:nvPr/>
            </p:nvSpPr>
            <p:spPr>
              <a:xfrm rot="2670473">
                <a:off x="4944257" y="2205248"/>
                <a:ext cx="2088232" cy="2088232"/>
              </a:xfrm>
              <a:prstGeom prst="rect">
                <a:avLst/>
              </a:prstGeom>
              <a:solidFill>
                <a:srgbClr val="1AADA9"/>
              </a:solidFill>
              <a:ln w="57150">
                <a:solidFill>
                  <a:srgbClr val="F5F5E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3" name="Freeform 65"/>
              <p:cNvSpPr/>
              <p:nvPr/>
            </p:nvSpPr>
            <p:spPr bwMode="auto">
              <a:xfrm>
                <a:off x="5601817" y="2564904"/>
                <a:ext cx="844350" cy="819840"/>
              </a:xfrm>
              <a:custGeom>
                <a:avLst/>
                <a:gdLst>
                  <a:gd name="T0" fmla="*/ 61 w 65"/>
                  <a:gd name="T1" fmla="*/ 35 h 60"/>
                  <a:gd name="T2" fmla="*/ 60 w 65"/>
                  <a:gd name="T3" fmla="*/ 35 h 60"/>
                  <a:gd name="T4" fmla="*/ 59 w 65"/>
                  <a:gd name="T5" fmla="*/ 35 h 60"/>
                  <a:gd name="T6" fmla="*/ 59 w 65"/>
                  <a:gd name="T7" fmla="*/ 35 h 60"/>
                  <a:gd name="T8" fmla="*/ 61 w 65"/>
                  <a:gd name="T9" fmla="*/ 31 h 60"/>
                  <a:gd name="T10" fmla="*/ 56 w 65"/>
                  <a:gd name="T11" fmla="*/ 26 h 60"/>
                  <a:gd name="T12" fmla="*/ 55 w 65"/>
                  <a:gd name="T13" fmla="*/ 26 h 60"/>
                  <a:gd name="T14" fmla="*/ 52 w 65"/>
                  <a:gd name="T15" fmla="*/ 26 h 60"/>
                  <a:gd name="T16" fmla="*/ 33 w 65"/>
                  <a:gd name="T17" fmla="*/ 26 h 60"/>
                  <a:gd name="T18" fmla="*/ 34 w 65"/>
                  <a:gd name="T19" fmla="*/ 7 h 60"/>
                  <a:gd name="T20" fmla="*/ 26 w 65"/>
                  <a:gd name="T21" fmla="*/ 2 h 60"/>
                  <a:gd name="T22" fmla="*/ 26 w 65"/>
                  <a:gd name="T23" fmla="*/ 13 h 60"/>
                  <a:gd name="T24" fmla="*/ 18 w 65"/>
                  <a:gd name="T25" fmla="*/ 26 h 60"/>
                  <a:gd name="T26" fmla="*/ 9 w 65"/>
                  <a:gd name="T27" fmla="*/ 32 h 60"/>
                  <a:gd name="T28" fmla="*/ 0 w 65"/>
                  <a:gd name="T29" fmla="*/ 34 h 60"/>
                  <a:gd name="T30" fmla="*/ 0 w 65"/>
                  <a:gd name="T31" fmla="*/ 58 h 60"/>
                  <a:gd name="T32" fmla="*/ 2 w 65"/>
                  <a:gd name="T33" fmla="*/ 57 h 60"/>
                  <a:gd name="T34" fmla="*/ 22 w 65"/>
                  <a:gd name="T35" fmla="*/ 59 h 60"/>
                  <a:gd name="T36" fmla="*/ 45 w 65"/>
                  <a:gd name="T37" fmla="*/ 57 h 60"/>
                  <a:gd name="T38" fmla="*/ 50 w 65"/>
                  <a:gd name="T39" fmla="*/ 52 h 60"/>
                  <a:gd name="T40" fmla="*/ 56 w 65"/>
                  <a:gd name="T41" fmla="*/ 49 h 60"/>
                  <a:gd name="T42" fmla="*/ 55 w 65"/>
                  <a:gd name="T43" fmla="*/ 43 h 60"/>
                  <a:gd name="T44" fmla="*/ 60 w 65"/>
                  <a:gd name="T45" fmla="*/ 42 h 60"/>
                  <a:gd name="T46" fmla="*/ 61 w 65"/>
                  <a:gd name="T47" fmla="*/ 3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5" h="60">
                    <a:moveTo>
                      <a:pt x="61" y="35"/>
                    </a:moveTo>
                    <a:cubicBezTo>
                      <a:pt x="61" y="35"/>
                      <a:pt x="60" y="35"/>
                      <a:pt x="60" y="35"/>
                    </a:cubicBezTo>
                    <a:cubicBezTo>
                      <a:pt x="60" y="35"/>
                      <a:pt x="59" y="35"/>
                      <a:pt x="59" y="35"/>
                    </a:cubicBezTo>
                    <a:cubicBezTo>
                      <a:pt x="59" y="35"/>
                      <a:pt x="59" y="35"/>
                      <a:pt x="59" y="35"/>
                    </a:cubicBezTo>
                    <a:cubicBezTo>
                      <a:pt x="60" y="34"/>
                      <a:pt x="61" y="33"/>
                      <a:pt x="61" y="31"/>
                    </a:cubicBezTo>
                    <a:cubicBezTo>
                      <a:pt x="61" y="28"/>
                      <a:pt x="58" y="27"/>
                      <a:pt x="56" y="26"/>
                    </a:cubicBezTo>
                    <a:cubicBezTo>
                      <a:pt x="56" y="26"/>
                      <a:pt x="55" y="26"/>
                      <a:pt x="55" y="26"/>
                    </a:cubicBezTo>
                    <a:cubicBezTo>
                      <a:pt x="53" y="26"/>
                      <a:pt x="52" y="26"/>
                      <a:pt x="52" y="26"/>
                    </a:cubicBezTo>
                    <a:cubicBezTo>
                      <a:pt x="45" y="26"/>
                      <a:pt x="33" y="26"/>
                      <a:pt x="33" y="26"/>
                    </a:cubicBezTo>
                    <a:cubicBezTo>
                      <a:pt x="34" y="23"/>
                      <a:pt x="36" y="15"/>
                      <a:pt x="34" y="7"/>
                    </a:cubicBezTo>
                    <a:cubicBezTo>
                      <a:pt x="32" y="0"/>
                      <a:pt x="26" y="2"/>
                      <a:pt x="26" y="2"/>
                    </a:cubicBezTo>
                    <a:cubicBezTo>
                      <a:pt x="26" y="2"/>
                      <a:pt x="26" y="8"/>
                      <a:pt x="26" y="13"/>
                    </a:cubicBezTo>
                    <a:cubicBezTo>
                      <a:pt x="26" y="17"/>
                      <a:pt x="21" y="25"/>
                      <a:pt x="18" y="26"/>
                    </a:cubicBezTo>
                    <a:cubicBezTo>
                      <a:pt x="15" y="27"/>
                      <a:pt x="13" y="28"/>
                      <a:pt x="9" y="32"/>
                    </a:cubicBezTo>
                    <a:cubicBezTo>
                      <a:pt x="6" y="33"/>
                      <a:pt x="3" y="34"/>
                      <a:pt x="0" y="34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0" y="58"/>
                      <a:pt x="1" y="58"/>
                      <a:pt x="2" y="57"/>
                    </a:cubicBezTo>
                    <a:cubicBezTo>
                      <a:pt x="5" y="57"/>
                      <a:pt x="15" y="58"/>
                      <a:pt x="22" y="59"/>
                    </a:cubicBezTo>
                    <a:cubicBezTo>
                      <a:pt x="28" y="60"/>
                      <a:pt x="38" y="59"/>
                      <a:pt x="45" y="57"/>
                    </a:cubicBezTo>
                    <a:cubicBezTo>
                      <a:pt x="52" y="56"/>
                      <a:pt x="50" y="52"/>
                      <a:pt x="50" y="52"/>
                    </a:cubicBezTo>
                    <a:cubicBezTo>
                      <a:pt x="50" y="52"/>
                      <a:pt x="53" y="52"/>
                      <a:pt x="56" y="49"/>
                    </a:cubicBezTo>
                    <a:cubicBezTo>
                      <a:pt x="58" y="47"/>
                      <a:pt x="55" y="43"/>
                      <a:pt x="55" y="43"/>
                    </a:cubicBezTo>
                    <a:cubicBezTo>
                      <a:pt x="57" y="43"/>
                      <a:pt x="58" y="43"/>
                      <a:pt x="60" y="42"/>
                    </a:cubicBezTo>
                    <a:cubicBezTo>
                      <a:pt x="65" y="38"/>
                      <a:pt x="61" y="35"/>
                      <a:pt x="61" y="35"/>
                    </a:cubicBezTo>
                    <a:close/>
                  </a:path>
                </a:pathLst>
              </a:custGeom>
              <a:solidFill>
                <a:srgbClr val="F5F5E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5303913" y="3529289"/>
                <a:ext cx="1512168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2400" b="1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你</a:t>
                </a:r>
                <a:r>
                  <a:rPr lang="zh-CN" altLang="en-US" sz="2400" b="1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的标题</a:t>
                </a:r>
                <a:endParaRPr lang="zh-CN" altLang="en-US" sz="2400" b="1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2" name="文本框 11"/>
            <p:cNvSpPr txBox="1"/>
            <p:nvPr/>
          </p:nvSpPr>
          <p:spPr>
            <a:xfrm>
              <a:off x="5218529" y="4829848"/>
              <a:ext cx="22696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 smtClean="0">
                  <a:solidFill>
                    <a:srgbClr val="1AADA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400" b="1" dirty="0">
                <a:solidFill>
                  <a:srgbClr val="1AADA9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5218529" y="5105394"/>
              <a:ext cx="149391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文本框 13"/>
            <p:cNvSpPr txBox="1"/>
            <p:nvPr/>
          </p:nvSpPr>
          <p:spPr>
            <a:xfrm>
              <a:off x="3503712" y="4825005"/>
              <a:ext cx="22696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 smtClean="0">
                  <a:solidFill>
                    <a:srgbClr val="E3A72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400" b="1" dirty="0">
                <a:solidFill>
                  <a:srgbClr val="E3A72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文本框 14"/>
            <p:cNvSpPr txBox="1"/>
            <p:nvPr/>
          </p:nvSpPr>
          <p:spPr>
            <a:xfrm>
              <a:off x="3503712" y="5100551"/>
              <a:ext cx="149391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文本框 15"/>
            <p:cNvSpPr txBox="1"/>
            <p:nvPr/>
          </p:nvSpPr>
          <p:spPr>
            <a:xfrm>
              <a:off x="1788895" y="4816962"/>
              <a:ext cx="22696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 smtClean="0">
                  <a:solidFill>
                    <a:srgbClr val="DE401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400" b="1" dirty="0">
                <a:solidFill>
                  <a:srgbClr val="DE401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文本框 16"/>
            <p:cNvSpPr txBox="1"/>
            <p:nvPr/>
          </p:nvSpPr>
          <p:spPr>
            <a:xfrm>
              <a:off x="1788895" y="5092508"/>
              <a:ext cx="149391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文本框 17"/>
            <p:cNvSpPr txBox="1"/>
            <p:nvPr/>
          </p:nvSpPr>
          <p:spPr>
            <a:xfrm>
              <a:off x="7104112" y="4820043"/>
              <a:ext cx="22696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 smtClean="0">
                  <a:solidFill>
                    <a:srgbClr val="A4AC0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400" b="1" dirty="0">
                <a:solidFill>
                  <a:srgbClr val="A4AC07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文本框 18"/>
            <p:cNvSpPr txBox="1"/>
            <p:nvPr/>
          </p:nvSpPr>
          <p:spPr>
            <a:xfrm>
              <a:off x="7104112" y="5095589"/>
              <a:ext cx="149391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文本框 19"/>
            <p:cNvSpPr txBox="1"/>
            <p:nvPr/>
          </p:nvSpPr>
          <p:spPr>
            <a:xfrm>
              <a:off x="8930683" y="4825005"/>
              <a:ext cx="22696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400" b="1" dirty="0">
                <a:solidFill>
                  <a:prstClr val="black">
                    <a:lumMod val="85000"/>
                    <a:lumOff val="1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文本框 20"/>
            <p:cNvSpPr txBox="1"/>
            <p:nvPr/>
          </p:nvSpPr>
          <p:spPr>
            <a:xfrm>
              <a:off x="8930683" y="5100551"/>
              <a:ext cx="149391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453055" y="1004034"/>
            <a:ext cx="11312545" cy="5733717"/>
            <a:chOff x="265876" y="323575"/>
            <a:chExt cx="11312545" cy="5733717"/>
          </a:xfrm>
        </p:grpSpPr>
        <p:sp>
          <p:nvSpPr>
            <p:cNvPr id="7" name="文本框 6"/>
            <p:cNvSpPr txBox="1"/>
            <p:nvPr/>
          </p:nvSpPr>
          <p:spPr>
            <a:xfrm>
              <a:off x="852530" y="323575"/>
              <a:ext cx="3312368" cy="16927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8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这一年    </a:t>
              </a:r>
              <a:endParaRPr lang="en-US" altLang="zh-CN" sz="28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n-US" altLang="zh-CN" sz="28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en-US" altLang="zh-CN" sz="28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 </a:t>
              </a:r>
              <a:r>
                <a:rPr lang="zh-CN" altLang="en-US" sz="48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感谢</a:t>
              </a:r>
              <a:endParaRPr lang="en-US" altLang="zh-CN" sz="48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n-US" altLang="zh-CN" sz="28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en-US" altLang="zh-CN" sz="28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</a:t>
              </a:r>
              <a:r>
                <a:rPr lang="zh-CN" altLang="en-US" sz="28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有你</a:t>
              </a:r>
              <a:endPara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8" name="图片 7"/>
            <p:cNvPicPr>
              <a:picLocks noChangeAspect="1"/>
            </p:cNvPicPr>
            <p:nvPr/>
          </p:nvPicPr>
          <p:blipFill rotWithShape="1">
            <a:blip r:embed="rId2" cstate="print"/>
            <a:srcRect/>
            <a:stretch>
              <a:fillRect/>
            </a:stretch>
          </p:blipFill>
          <p:spPr>
            <a:xfrm>
              <a:off x="7608168" y="650450"/>
              <a:ext cx="1498127" cy="1152128"/>
            </a:xfrm>
            <a:prstGeom prst="rect">
              <a:avLst/>
            </a:prstGeom>
          </p:spPr>
        </p:pic>
        <p:pic>
          <p:nvPicPr>
            <p:cNvPr id="9" name="图片 8"/>
            <p:cNvPicPr>
              <a:picLocks noChangeAspect="1"/>
            </p:cNvPicPr>
            <p:nvPr/>
          </p:nvPicPr>
          <p:blipFill rotWithShape="1">
            <a:blip r:embed="rId3" cstate="print"/>
            <a:srcRect/>
            <a:stretch>
              <a:fillRect/>
            </a:stretch>
          </p:blipFill>
          <p:spPr>
            <a:xfrm>
              <a:off x="10560495" y="1892297"/>
              <a:ext cx="1001069" cy="1412776"/>
            </a:xfrm>
            <a:prstGeom prst="rect">
              <a:avLst/>
            </a:prstGeom>
          </p:spPr>
        </p:pic>
        <p:pic>
          <p:nvPicPr>
            <p:cNvPr id="10" name="图片 9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604172" y="1892297"/>
              <a:ext cx="1989935" cy="1412776"/>
            </a:xfrm>
            <a:prstGeom prst="rect">
              <a:avLst/>
            </a:prstGeom>
          </p:spPr>
        </p:pic>
        <p:pic>
          <p:nvPicPr>
            <p:cNvPr id="11" name="图片 10"/>
            <p:cNvPicPr>
              <a:picLocks noChangeAspect="1"/>
            </p:cNvPicPr>
            <p:nvPr/>
          </p:nvPicPr>
          <p:blipFill rotWithShape="1">
            <a:blip r:embed="rId5" cstate="print"/>
            <a:srcRect/>
            <a:stretch>
              <a:fillRect/>
            </a:stretch>
          </p:blipFill>
          <p:spPr>
            <a:xfrm>
              <a:off x="7604172" y="3406438"/>
              <a:ext cx="3964436" cy="1244725"/>
            </a:xfrm>
            <a:prstGeom prst="rect">
              <a:avLst/>
            </a:prstGeom>
          </p:spPr>
        </p:pic>
        <p:pic>
          <p:nvPicPr>
            <p:cNvPr id="12" name="图片 11"/>
            <p:cNvPicPr>
              <a:picLocks noChangeAspect="1"/>
            </p:cNvPicPr>
            <p:nvPr/>
          </p:nvPicPr>
          <p:blipFill rotWithShape="1">
            <a:blip r:embed="rId6" cstate="print"/>
            <a:srcRect/>
            <a:stretch>
              <a:fillRect/>
            </a:stretch>
          </p:blipFill>
          <p:spPr>
            <a:xfrm>
              <a:off x="9926803" y="650450"/>
              <a:ext cx="1634761" cy="1152128"/>
            </a:xfrm>
            <a:prstGeom prst="rect">
              <a:avLst/>
            </a:prstGeom>
          </p:spPr>
        </p:pic>
        <p:pic>
          <p:nvPicPr>
            <p:cNvPr id="13" name="图片 12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622052" y="4752528"/>
              <a:ext cx="1470357" cy="980728"/>
            </a:xfrm>
            <a:prstGeom prst="rect">
              <a:avLst/>
            </a:prstGeom>
          </p:spPr>
        </p:pic>
        <p:sp>
          <p:nvSpPr>
            <p:cNvPr id="14" name="Rectangle 30"/>
            <p:cNvSpPr/>
            <p:nvPr/>
          </p:nvSpPr>
          <p:spPr>
            <a:xfrm>
              <a:off x="9196385" y="650450"/>
              <a:ext cx="640328" cy="1128763"/>
            </a:xfrm>
            <a:prstGeom prst="rect">
              <a:avLst/>
            </a:prstGeom>
            <a:solidFill>
              <a:srgbClr val="1D4C7C">
                <a:lumMod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lIns="91428" tIns="45714" rIns="91428" bIns="45714" spcCol="0" rtlCol="0" anchor="ctr"/>
            <a:lstStyle/>
            <a:p>
              <a:pPr algn="ctr" defTabSz="685165"/>
              <a:endParaRPr lang="en-US" sz="1600" b="1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Rectangle 7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9676544" y="1892297"/>
              <a:ext cx="793838" cy="1412776"/>
            </a:xfrm>
            <a:prstGeom prst="rect">
              <a:avLst/>
            </a:prstGeom>
            <a:solidFill>
              <a:srgbClr val="FF3B77"/>
            </a:solidFill>
            <a:ln w="9525">
              <a:solidFill>
                <a:srgbClr val="FFFFFF">
                  <a:alpha val="50000"/>
                </a:srgbClr>
              </a:solidFill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8E499C">
                  <a:satMod val="300000"/>
                </a:srgbClr>
              </a:contourClr>
            </a:sp3d>
          </p:spPr>
          <p:txBody>
            <a:bodyPr vert="horz" wrap="square" lIns="91440" tIns="45720" rIns="91440" bIns="45720" numCol="1" rtlCol="0" anchor="b" anchorCtr="0" compatLnSpc="1">
              <a:noAutofit/>
            </a:bodyPr>
            <a:lstStyle/>
            <a:p>
              <a:pPr defTabSz="91376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endParaRPr lang="en-US" sz="14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Segoe UI" panose="020B0502040204020203"/>
                <a:cs typeface="Segoe UI" panose="020B0502040204020203" pitchFamily="34" charset="0"/>
              </a:endParaRPr>
            </a:p>
          </p:txBody>
        </p:sp>
        <p:sp>
          <p:nvSpPr>
            <p:cNvPr id="16" name="Rectangle 8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9172258" y="4752528"/>
              <a:ext cx="2396350" cy="980728"/>
            </a:xfrm>
            <a:prstGeom prst="rect">
              <a:avLst/>
            </a:prstGeom>
            <a:solidFill>
              <a:srgbClr val="01BFFF"/>
            </a:solidFill>
            <a:ln w="9525">
              <a:solidFill>
                <a:srgbClr val="FFFFFF">
                  <a:alpha val="50000"/>
                </a:srgbClr>
              </a:solidFill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rgbClr val="8E499C">
                  <a:satMod val="300000"/>
                </a:srgbClr>
              </a:contourClr>
            </a:sp3d>
          </p:spPr>
          <p:txBody>
            <a:bodyPr vert="horz" wrap="square" lIns="91440" tIns="45720" rIns="91440" bIns="45720" numCol="1" rtlCol="0" anchor="b" anchorCtr="0" compatLnSpc="1">
              <a:noAutofit/>
            </a:bodyPr>
            <a:lstStyle/>
            <a:p>
              <a:pPr defTabSz="91376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en-US" sz="1400" kern="0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cs typeface="Segoe UI" panose="020B0502040204020203" pitchFamily="34" charset="0"/>
                </a:rPr>
                <a:t>         </a:t>
              </a:r>
              <a:endParaRPr lang="en-US" sz="14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Segoe UI" panose="020B0502040204020203"/>
                <a:cs typeface="Segoe UI" panose="020B0502040204020203" pitchFamily="34" charset="0"/>
              </a:endParaRPr>
            </a:p>
            <a:p>
              <a:pPr defTabSz="91376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en-US" sz="1400" kern="0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latin typeface="Segoe UI" panose="020B0502040204020203"/>
                  <a:cs typeface="Segoe UI" panose="020B0502040204020203" pitchFamily="34" charset="0"/>
                </a:rPr>
                <a:t>             </a:t>
              </a:r>
              <a:endParaRPr lang="en-US" sz="14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Segoe UI" panose="020B0502040204020203"/>
                <a:cs typeface="Segoe UI" panose="020B0502040204020203" pitchFamily="34" charset="0"/>
              </a:endParaRPr>
            </a:p>
          </p:txBody>
        </p:sp>
        <p:pic>
          <p:nvPicPr>
            <p:cNvPr id="17" name="图片 16"/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0965894" y="4752528"/>
              <a:ext cx="612527" cy="980728"/>
            </a:xfrm>
            <a:prstGeom prst="rect">
              <a:avLst/>
            </a:prstGeom>
          </p:spPr>
        </p:pic>
        <p:pic>
          <p:nvPicPr>
            <p:cNvPr id="18" name="图片 17"/>
            <p:cNvPicPr>
              <a:picLocks noChangeAspect="1"/>
            </p:cNvPicPr>
            <p:nvPr/>
          </p:nvPicPr>
          <p:blipFill>
            <a:blip r:embed="rId11">
              <a:biLevel thresh="25000"/>
            </a:blip>
            <a:stretch>
              <a:fillRect/>
            </a:stretch>
          </p:blipFill>
          <p:spPr>
            <a:xfrm>
              <a:off x="9749357" y="4894678"/>
              <a:ext cx="668682" cy="668682"/>
            </a:xfrm>
            <a:prstGeom prst="rect">
              <a:avLst/>
            </a:prstGeom>
          </p:spPr>
        </p:pic>
        <p:pic>
          <p:nvPicPr>
            <p:cNvPr id="19" name="图片 18"/>
            <p:cNvPicPr>
              <a:picLocks noChangeAspect="1"/>
            </p:cNvPicPr>
            <p:nvPr/>
          </p:nvPicPr>
          <p:blipFill>
            <a:blip r:embed="rId12">
              <a:biLevel thresh="25000"/>
            </a:blip>
            <a:stretch>
              <a:fillRect/>
            </a:stretch>
          </p:blipFill>
          <p:spPr>
            <a:xfrm>
              <a:off x="9218212" y="941403"/>
              <a:ext cx="596674" cy="596674"/>
            </a:xfrm>
            <a:prstGeom prst="rect">
              <a:avLst/>
            </a:prstGeom>
          </p:spPr>
        </p:pic>
        <p:pic>
          <p:nvPicPr>
            <p:cNvPr id="20" name="图片 19"/>
            <p:cNvPicPr>
              <a:picLocks noChangeAspect="1"/>
            </p:cNvPicPr>
            <p:nvPr/>
          </p:nvPicPr>
          <p:blipFill>
            <a:blip r:embed="rId13">
              <a:biLevel thresh="25000"/>
            </a:blip>
            <a:stretch>
              <a:fillRect/>
            </a:stretch>
          </p:blipFill>
          <p:spPr>
            <a:xfrm>
              <a:off x="9641344" y="2205689"/>
              <a:ext cx="884707" cy="884707"/>
            </a:xfrm>
            <a:prstGeom prst="rect">
              <a:avLst/>
            </a:prstGeom>
          </p:spPr>
        </p:pic>
        <p:pic>
          <p:nvPicPr>
            <p:cNvPr id="21" name="图片 20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265876" y="1972618"/>
              <a:ext cx="9303302" cy="4084674"/>
            </a:xfrm>
            <a:prstGeom prst="rect">
              <a:avLst/>
            </a:prstGeom>
          </p:spPr>
        </p:pic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3" name="图片 3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52" t="17850" r="11012"/>
          <a:stretch>
            <a:fillRect/>
          </a:stretch>
        </p:blipFill>
        <p:spPr>
          <a:xfrm>
            <a:off x="1041149" y="1224136"/>
            <a:ext cx="9289033" cy="5633864"/>
          </a:xfrm>
          <a:prstGeom prst="rect">
            <a:avLst/>
          </a:prstGeom>
        </p:spPr>
      </p:pic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161262" y="1210524"/>
            <a:ext cx="11930943" cy="5168818"/>
            <a:chOff x="88834" y="1228631"/>
            <a:chExt cx="11930943" cy="5168818"/>
          </a:xfrm>
        </p:grpSpPr>
        <p:grpSp>
          <p:nvGrpSpPr>
            <p:cNvPr id="7" name="组合 6"/>
            <p:cNvGrpSpPr/>
            <p:nvPr/>
          </p:nvGrpSpPr>
          <p:grpSpPr>
            <a:xfrm>
              <a:off x="88834" y="1228631"/>
              <a:ext cx="6794699" cy="5168818"/>
              <a:chOff x="1682329" y="1990427"/>
              <a:chExt cx="5519738" cy="4198938"/>
            </a:xfrm>
            <a:solidFill>
              <a:srgbClr val="F79E1E"/>
            </a:solidFill>
          </p:grpSpPr>
          <p:sp>
            <p:nvSpPr>
              <p:cNvPr id="12" name="Freeform 5"/>
              <p:cNvSpPr/>
              <p:nvPr/>
            </p:nvSpPr>
            <p:spPr bwMode="auto">
              <a:xfrm>
                <a:off x="5857454" y="5092402"/>
                <a:ext cx="517525" cy="631825"/>
              </a:xfrm>
              <a:custGeom>
                <a:avLst/>
                <a:gdLst>
                  <a:gd name="T0" fmla="*/ 365 w 924"/>
                  <a:gd name="T1" fmla="*/ 1108 h 1128"/>
                  <a:gd name="T2" fmla="*/ 382 w 924"/>
                  <a:gd name="T3" fmla="*/ 1106 h 1128"/>
                  <a:gd name="T4" fmla="*/ 421 w 924"/>
                  <a:gd name="T5" fmla="*/ 1109 h 1128"/>
                  <a:gd name="T6" fmla="*/ 435 w 924"/>
                  <a:gd name="T7" fmla="*/ 1074 h 1128"/>
                  <a:gd name="T8" fmla="*/ 463 w 924"/>
                  <a:gd name="T9" fmla="*/ 1046 h 1128"/>
                  <a:gd name="T10" fmla="*/ 487 w 924"/>
                  <a:gd name="T11" fmla="*/ 1012 h 1128"/>
                  <a:gd name="T12" fmla="*/ 506 w 924"/>
                  <a:gd name="T13" fmla="*/ 972 h 1128"/>
                  <a:gd name="T14" fmla="*/ 538 w 924"/>
                  <a:gd name="T15" fmla="*/ 931 h 1128"/>
                  <a:gd name="T16" fmla="*/ 539 w 924"/>
                  <a:gd name="T17" fmla="*/ 904 h 1128"/>
                  <a:gd name="T18" fmla="*/ 577 w 924"/>
                  <a:gd name="T19" fmla="*/ 882 h 1128"/>
                  <a:gd name="T20" fmla="*/ 613 w 924"/>
                  <a:gd name="T21" fmla="*/ 864 h 1128"/>
                  <a:gd name="T22" fmla="*/ 633 w 924"/>
                  <a:gd name="T23" fmla="*/ 864 h 1128"/>
                  <a:gd name="T24" fmla="*/ 646 w 924"/>
                  <a:gd name="T25" fmla="*/ 816 h 1128"/>
                  <a:gd name="T26" fmla="*/ 679 w 924"/>
                  <a:gd name="T27" fmla="*/ 790 h 1128"/>
                  <a:gd name="T28" fmla="*/ 689 w 924"/>
                  <a:gd name="T29" fmla="*/ 753 h 1128"/>
                  <a:gd name="T30" fmla="*/ 695 w 924"/>
                  <a:gd name="T31" fmla="*/ 715 h 1128"/>
                  <a:gd name="T32" fmla="*/ 740 w 924"/>
                  <a:gd name="T33" fmla="*/ 719 h 1128"/>
                  <a:gd name="T34" fmla="*/ 786 w 924"/>
                  <a:gd name="T35" fmla="*/ 709 h 1128"/>
                  <a:gd name="T36" fmla="*/ 818 w 924"/>
                  <a:gd name="T37" fmla="*/ 676 h 1128"/>
                  <a:gd name="T38" fmla="*/ 839 w 924"/>
                  <a:gd name="T39" fmla="*/ 609 h 1128"/>
                  <a:gd name="T40" fmla="*/ 780 w 924"/>
                  <a:gd name="T41" fmla="*/ 586 h 1128"/>
                  <a:gd name="T42" fmla="*/ 797 w 924"/>
                  <a:gd name="T43" fmla="*/ 534 h 1128"/>
                  <a:gd name="T44" fmla="*/ 793 w 924"/>
                  <a:gd name="T45" fmla="*/ 506 h 1128"/>
                  <a:gd name="T46" fmla="*/ 793 w 924"/>
                  <a:gd name="T47" fmla="*/ 463 h 1128"/>
                  <a:gd name="T48" fmla="*/ 817 w 924"/>
                  <a:gd name="T49" fmla="*/ 435 h 1128"/>
                  <a:gd name="T50" fmla="*/ 802 w 924"/>
                  <a:gd name="T51" fmla="*/ 409 h 1128"/>
                  <a:gd name="T52" fmla="*/ 808 w 924"/>
                  <a:gd name="T53" fmla="*/ 382 h 1128"/>
                  <a:gd name="T54" fmla="*/ 851 w 924"/>
                  <a:gd name="T55" fmla="*/ 358 h 1128"/>
                  <a:gd name="T56" fmla="*/ 873 w 924"/>
                  <a:gd name="T57" fmla="*/ 303 h 1128"/>
                  <a:gd name="T58" fmla="*/ 914 w 924"/>
                  <a:gd name="T59" fmla="*/ 264 h 1128"/>
                  <a:gd name="T60" fmla="*/ 918 w 924"/>
                  <a:gd name="T61" fmla="*/ 259 h 1128"/>
                  <a:gd name="T62" fmla="*/ 924 w 924"/>
                  <a:gd name="T63" fmla="*/ 248 h 1128"/>
                  <a:gd name="T64" fmla="*/ 840 w 924"/>
                  <a:gd name="T65" fmla="*/ 137 h 1128"/>
                  <a:gd name="T66" fmla="*/ 571 w 924"/>
                  <a:gd name="T67" fmla="*/ 19 h 1128"/>
                  <a:gd name="T68" fmla="*/ 365 w 924"/>
                  <a:gd name="T69" fmla="*/ 0 h 1128"/>
                  <a:gd name="T70" fmla="*/ 87 w 924"/>
                  <a:gd name="T71" fmla="*/ 338 h 1128"/>
                  <a:gd name="T72" fmla="*/ 0 w 924"/>
                  <a:gd name="T73" fmla="*/ 755 h 1128"/>
                  <a:gd name="T74" fmla="*/ 136 w 924"/>
                  <a:gd name="T75" fmla="*/ 973 h 1128"/>
                  <a:gd name="T76" fmla="*/ 256 w 924"/>
                  <a:gd name="T77" fmla="*/ 1046 h 1128"/>
                  <a:gd name="T78" fmla="*/ 345 w 924"/>
                  <a:gd name="T79" fmla="*/ 1105 h 1128"/>
                  <a:gd name="T80" fmla="*/ 360 w 924"/>
                  <a:gd name="T81" fmla="*/ 1111 h 1128"/>
                  <a:gd name="T82" fmla="*/ 365 w 924"/>
                  <a:gd name="T83" fmla="*/ 1108 h 1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924" h="1128">
                    <a:moveTo>
                      <a:pt x="365" y="1108"/>
                    </a:moveTo>
                    <a:cubicBezTo>
                      <a:pt x="370" y="1105"/>
                      <a:pt x="372" y="1107"/>
                      <a:pt x="382" y="1106"/>
                    </a:cubicBezTo>
                    <a:cubicBezTo>
                      <a:pt x="404" y="1104"/>
                      <a:pt x="407" y="1128"/>
                      <a:pt x="421" y="1109"/>
                    </a:cubicBezTo>
                    <a:cubicBezTo>
                      <a:pt x="435" y="1091"/>
                      <a:pt x="427" y="1090"/>
                      <a:pt x="435" y="1074"/>
                    </a:cubicBezTo>
                    <a:cubicBezTo>
                      <a:pt x="444" y="1057"/>
                      <a:pt x="461" y="1067"/>
                      <a:pt x="463" y="1046"/>
                    </a:cubicBezTo>
                    <a:cubicBezTo>
                      <a:pt x="465" y="1026"/>
                      <a:pt x="461" y="1032"/>
                      <a:pt x="487" y="1012"/>
                    </a:cubicBezTo>
                    <a:cubicBezTo>
                      <a:pt x="513" y="993"/>
                      <a:pt x="488" y="993"/>
                      <a:pt x="506" y="972"/>
                    </a:cubicBezTo>
                    <a:cubicBezTo>
                      <a:pt x="523" y="952"/>
                      <a:pt x="541" y="939"/>
                      <a:pt x="538" y="931"/>
                    </a:cubicBezTo>
                    <a:cubicBezTo>
                      <a:pt x="536" y="924"/>
                      <a:pt x="513" y="911"/>
                      <a:pt x="539" y="904"/>
                    </a:cubicBezTo>
                    <a:cubicBezTo>
                      <a:pt x="564" y="898"/>
                      <a:pt x="560" y="903"/>
                      <a:pt x="577" y="882"/>
                    </a:cubicBezTo>
                    <a:cubicBezTo>
                      <a:pt x="594" y="861"/>
                      <a:pt x="593" y="848"/>
                      <a:pt x="613" y="864"/>
                    </a:cubicBezTo>
                    <a:cubicBezTo>
                      <a:pt x="633" y="880"/>
                      <a:pt x="627" y="889"/>
                      <a:pt x="633" y="864"/>
                    </a:cubicBezTo>
                    <a:cubicBezTo>
                      <a:pt x="640" y="839"/>
                      <a:pt x="633" y="833"/>
                      <a:pt x="646" y="816"/>
                    </a:cubicBezTo>
                    <a:cubicBezTo>
                      <a:pt x="659" y="798"/>
                      <a:pt x="670" y="803"/>
                      <a:pt x="679" y="790"/>
                    </a:cubicBezTo>
                    <a:cubicBezTo>
                      <a:pt x="687" y="777"/>
                      <a:pt x="696" y="776"/>
                      <a:pt x="689" y="753"/>
                    </a:cubicBezTo>
                    <a:cubicBezTo>
                      <a:pt x="681" y="731"/>
                      <a:pt x="677" y="714"/>
                      <a:pt x="695" y="715"/>
                    </a:cubicBezTo>
                    <a:cubicBezTo>
                      <a:pt x="713" y="717"/>
                      <a:pt x="720" y="732"/>
                      <a:pt x="740" y="719"/>
                    </a:cubicBezTo>
                    <a:cubicBezTo>
                      <a:pt x="760" y="706"/>
                      <a:pt x="758" y="703"/>
                      <a:pt x="786" y="709"/>
                    </a:cubicBezTo>
                    <a:cubicBezTo>
                      <a:pt x="814" y="715"/>
                      <a:pt x="812" y="684"/>
                      <a:pt x="818" y="676"/>
                    </a:cubicBezTo>
                    <a:cubicBezTo>
                      <a:pt x="823" y="667"/>
                      <a:pt x="848" y="613"/>
                      <a:pt x="839" y="609"/>
                    </a:cubicBezTo>
                    <a:cubicBezTo>
                      <a:pt x="830" y="605"/>
                      <a:pt x="772" y="607"/>
                      <a:pt x="780" y="586"/>
                    </a:cubicBezTo>
                    <a:cubicBezTo>
                      <a:pt x="787" y="565"/>
                      <a:pt x="788" y="544"/>
                      <a:pt x="797" y="534"/>
                    </a:cubicBezTo>
                    <a:cubicBezTo>
                      <a:pt x="806" y="524"/>
                      <a:pt x="800" y="522"/>
                      <a:pt x="793" y="506"/>
                    </a:cubicBezTo>
                    <a:cubicBezTo>
                      <a:pt x="786" y="490"/>
                      <a:pt x="773" y="472"/>
                      <a:pt x="793" y="463"/>
                    </a:cubicBezTo>
                    <a:cubicBezTo>
                      <a:pt x="814" y="454"/>
                      <a:pt x="830" y="435"/>
                      <a:pt x="817" y="435"/>
                    </a:cubicBezTo>
                    <a:cubicBezTo>
                      <a:pt x="805" y="435"/>
                      <a:pt x="803" y="427"/>
                      <a:pt x="802" y="409"/>
                    </a:cubicBezTo>
                    <a:cubicBezTo>
                      <a:pt x="802" y="391"/>
                      <a:pt x="786" y="381"/>
                      <a:pt x="808" y="382"/>
                    </a:cubicBezTo>
                    <a:cubicBezTo>
                      <a:pt x="829" y="382"/>
                      <a:pt x="837" y="376"/>
                      <a:pt x="851" y="358"/>
                    </a:cubicBezTo>
                    <a:cubicBezTo>
                      <a:pt x="864" y="340"/>
                      <a:pt x="861" y="319"/>
                      <a:pt x="873" y="303"/>
                    </a:cubicBezTo>
                    <a:cubicBezTo>
                      <a:pt x="886" y="288"/>
                      <a:pt x="899" y="285"/>
                      <a:pt x="914" y="264"/>
                    </a:cubicBezTo>
                    <a:cubicBezTo>
                      <a:pt x="915" y="263"/>
                      <a:pt x="917" y="261"/>
                      <a:pt x="918" y="259"/>
                    </a:cubicBezTo>
                    <a:cubicBezTo>
                      <a:pt x="924" y="248"/>
                      <a:pt x="924" y="248"/>
                      <a:pt x="924" y="248"/>
                    </a:cubicBezTo>
                    <a:cubicBezTo>
                      <a:pt x="840" y="137"/>
                      <a:pt x="840" y="137"/>
                      <a:pt x="840" y="137"/>
                    </a:cubicBezTo>
                    <a:cubicBezTo>
                      <a:pt x="571" y="19"/>
                      <a:pt x="571" y="19"/>
                      <a:pt x="571" y="19"/>
                    </a:cubicBezTo>
                    <a:cubicBezTo>
                      <a:pt x="365" y="0"/>
                      <a:pt x="365" y="0"/>
                      <a:pt x="365" y="0"/>
                    </a:cubicBezTo>
                    <a:cubicBezTo>
                      <a:pt x="87" y="338"/>
                      <a:pt x="87" y="338"/>
                      <a:pt x="87" y="338"/>
                    </a:cubicBezTo>
                    <a:cubicBezTo>
                      <a:pt x="0" y="755"/>
                      <a:pt x="0" y="755"/>
                      <a:pt x="0" y="755"/>
                    </a:cubicBezTo>
                    <a:cubicBezTo>
                      <a:pt x="136" y="973"/>
                      <a:pt x="136" y="973"/>
                      <a:pt x="136" y="973"/>
                    </a:cubicBezTo>
                    <a:cubicBezTo>
                      <a:pt x="256" y="1046"/>
                      <a:pt x="256" y="1046"/>
                      <a:pt x="256" y="1046"/>
                    </a:cubicBezTo>
                    <a:cubicBezTo>
                      <a:pt x="345" y="1105"/>
                      <a:pt x="345" y="1105"/>
                      <a:pt x="345" y="1105"/>
                    </a:cubicBezTo>
                    <a:cubicBezTo>
                      <a:pt x="360" y="1111"/>
                      <a:pt x="360" y="1111"/>
                      <a:pt x="360" y="1111"/>
                    </a:cubicBezTo>
                    <a:lnTo>
                      <a:pt x="365" y="1108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3" name="Freeform 6"/>
              <p:cNvSpPr/>
              <p:nvPr/>
            </p:nvSpPr>
            <p:spPr bwMode="auto">
              <a:xfrm>
                <a:off x="5584404" y="4922540"/>
                <a:ext cx="576263" cy="717550"/>
              </a:xfrm>
              <a:custGeom>
                <a:avLst/>
                <a:gdLst>
                  <a:gd name="T0" fmla="*/ 977 w 1029"/>
                  <a:gd name="T1" fmla="*/ 358 h 1283"/>
                  <a:gd name="T2" fmla="*/ 951 w 1029"/>
                  <a:gd name="T3" fmla="*/ 412 h 1283"/>
                  <a:gd name="T4" fmla="*/ 874 w 1029"/>
                  <a:gd name="T5" fmla="*/ 457 h 1283"/>
                  <a:gd name="T6" fmla="*/ 835 w 1029"/>
                  <a:gd name="T7" fmla="*/ 470 h 1283"/>
                  <a:gd name="T8" fmla="*/ 762 w 1029"/>
                  <a:gd name="T9" fmla="*/ 502 h 1283"/>
                  <a:gd name="T10" fmla="*/ 743 w 1029"/>
                  <a:gd name="T11" fmla="*/ 569 h 1283"/>
                  <a:gd name="T12" fmla="*/ 750 w 1029"/>
                  <a:gd name="T13" fmla="*/ 631 h 1283"/>
                  <a:gd name="T14" fmla="*/ 717 w 1029"/>
                  <a:gd name="T15" fmla="*/ 681 h 1283"/>
                  <a:gd name="T16" fmla="*/ 656 w 1029"/>
                  <a:gd name="T17" fmla="*/ 735 h 1283"/>
                  <a:gd name="T18" fmla="*/ 676 w 1029"/>
                  <a:gd name="T19" fmla="*/ 807 h 1283"/>
                  <a:gd name="T20" fmla="*/ 642 w 1029"/>
                  <a:gd name="T21" fmla="*/ 873 h 1283"/>
                  <a:gd name="T22" fmla="*/ 623 w 1029"/>
                  <a:gd name="T23" fmla="*/ 929 h 1283"/>
                  <a:gd name="T24" fmla="*/ 600 w 1029"/>
                  <a:gd name="T25" fmla="*/ 967 h 1283"/>
                  <a:gd name="T26" fmla="*/ 580 w 1029"/>
                  <a:gd name="T27" fmla="*/ 1028 h 1283"/>
                  <a:gd name="T28" fmla="*/ 577 w 1029"/>
                  <a:gd name="T29" fmla="*/ 1074 h 1283"/>
                  <a:gd name="T30" fmla="*/ 556 w 1029"/>
                  <a:gd name="T31" fmla="*/ 1108 h 1283"/>
                  <a:gd name="T32" fmla="*/ 578 w 1029"/>
                  <a:gd name="T33" fmla="*/ 1165 h 1283"/>
                  <a:gd name="T34" fmla="*/ 595 w 1029"/>
                  <a:gd name="T35" fmla="*/ 1276 h 1283"/>
                  <a:gd name="T36" fmla="*/ 438 w 1029"/>
                  <a:gd name="T37" fmla="*/ 1283 h 1283"/>
                  <a:gd name="T38" fmla="*/ 214 w 1029"/>
                  <a:gd name="T39" fmla="*/ 1266 h 1283"/>
                  <a:gd name="T40" fmla="*/ 16 w 1029"/>
                  <a:gd name="T41" fmla="*/ 899 h 1283"/>
                  <a:gd name="T42" fmla="*/ 0 w 1029"/>
                  <a:gd name="T43" fmla="*/ 505 h 1283"/>
                  <a:gd name="T44" fmla="*/ 89 w 1029"/>
                  <a:gd name="T45" fmla="*/ 118 h 1283"/>
                  <a:gd name="T46" fmla="*/ 322 w 1029"/>
                  <a:gd name="T47" fmla="*/ 26 h 1283"/>
                  <a:gd name="T48" fmla="*/ 645 w 1029"/>
                  <a:gd name="T49" fmla="*/ 0 h 1283"/>
                  <a:gd name="T50" fmla="*/ 895 w 1029"/>
                  <a:gd name="T51" fmla="*/ 0 h 1283"/>
                  <a:gd name="T52" fmla="*/ 1011 w 1029"/>
                  <a:gd name="T53" fmla="*/ 183 h 1283"/>
                  <a:gd name="T54" fmla="*/ 1029 w 1029"/>
                  <a:gd name="T55" fmla="*/ 312 h 1283"/>
                  <a:gd name="T56" fmla="*/ 977 w 1029"/>
                  <a:gd name="T57" fmla="*/ 358 h 1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29" h="1283">
                    <a:moveTo>
                      <a:pt x="977" y="358"/>
                    </a:moveTo>
                    <a:cubicBezTo>
                      <a:pt x="977" y="358"/>
                      <a:pt x="979" y="401"/>
                      <a:pt x="951" y="412"/>
                    </a:cubicBezTo>
                    <a:cubicBezTo>
                      <a:pt x="922" y="423"/>
                      <a:pt x="891" y="441"/>
                      <a:pt x="874" y="457"/>
                    </a:cubicBezTo>
                    <a:cubicBezTo>
                      <a:pt x="858" y="474"/>
                      <a:pt x="848" y="487"/>
                      <a:pt x="835" y="470"/>
                    </a:cubicBezTo>
                    <a:cubicBezTo>
                      <a:pt x="821" y="452"/>
                      <a:pt x="777" y="481"/>
                      <a:pt x="762" y="502"/>
                    </a:cubicBezTo>
                    <a:cubicBezTo>
                      <a:pt x="747" y="524"/>
                      <a:pt x="723" y="542"/>
                      <a:pt x="743" y="569"/>
                    </a:cubicBezTo>
                    <a:cubicBezTo>
                      <a:pt x="763" y="597"/>
                      <a:pt x="765" y="594"/>
                      <a:pt x="750" y="631"/>
                    </a:cubicBezTo>
                    <a:cubicBezTo>
                      <a:pt x="735" y="668"/>
                      <a:pt x="751" y="677"/>
                      <a:pt x="717" y="681"/>
                    </a:cubicBezTo>
                    <a:cubicBezTo>
                      <a:pt x="683" y="685"/>
                      <a:pt x="653" y="713"/>
                      <a:pt x="656" y="735"/>
                    </a:cubicBezTo>
                    <a:cubicBezTo>
                      <a:pt x="658" y="757"/>
                      <a:pt x="687" y="791"/>
                      <a:pt x="676" y="807"/>
                    </a:cubicBezTo>
                    <a:cubicBezTo>
                      <a:pt x="665" y="823"/>
                      <a:pt x="628" y="834"/>
                      <a:pt x="642" y="873"/>
                    </a:cubicBezTo>
                    <a:cubicBezTo>
                      <a:pt x="656" y="911"/>
                      <a:pt x="645" y="922"/>
                      <a:pt x="623" y="929"/>
                    </a:cubicBezTo>
                    <a:cubicBezTo>
                      <a:pt x="601" y="936"/>
                      <a:pt x="609" y="942"/>
                      <a:pt x="600" y="967"/>
                    </a:cubicBezTo>
                    <a:cubicBezTo>
                      <a:pt x="590" y="992"/>
                      <a:pt x="568" y="1001"/>
                      <a:pt x="580" y="1028"/>
                    </a:cubicBezTo>
                    <a:cubicBezTo>
                      <a:pt x="593" y="1056"/>
                      <a:pt x="594" y="1066"/>
                      <a:pt x="577" y="1074"/>
                    </a:cubicBezTo>
                    <a:cubicBezTo>
                      <a:pt x="560" y="1082"/>
                      <a:pt x="550" y="1097"/>
                      <a:pt x="556" y="1108"/>
                    </a:cubicBezTo>
                    <a:cubicBezTo>
                      <a:pt x="561" y="1119"/>
                      <a:pt x="572" y="1149"/>
                      <a:pt x="578" y="1165"/>
                    </a:cubicBezTo>
                    <a:cubicBezTo>
                      <a:pt x="583" y="1181"/>
                      <a:pt x="595" y="1276"/>
                      <a:pt x="595" y="1276"/>
                    </a:cubicBezTo>
                    <a:cubicBezTo>
                      <a:pt x="595" y="1276"/>
                      <a:pt x="442" y="1283"/>
                      <a:pt x="438" y="1283"/>
                    </a:cubicBezTo>
                    <a:cubicBezTo>
                      <a:pt x="434" y="1283"/>
                      <a:pt x="214" y="1266"/>
                      <a:pt x="214" y="1266"/>
                    </a:cubicBezTo>
                    <a:cubicBezTo>
                      <a:pt x="16" y="899"/>
                      <a:pt x="16" y="899"/>
                      <a:pt x="16" y="899"/>
                    </a:cubicBezTo>
                    <a:cubicBezTo>
                      <a:pt x="0" y="505"/>
                      <a:pt x="0" y="505"/>
                      <a:pt x="0" y="505"/>
                    </a:cubicBezTo>
                    <a:cubicBezTo>
                      <a:pt x="89" y="118"/>
                      <a:pt x="89" y="118"/>
                      <a:pt x="89" y="118"/>
                    </a:cubicBezTo>
                    <a:cubicBezTo>
                      <a:pt x="322" y="26"/>
                      <a:pt x="322" y="26"/>
                      <a:pt x="322" y="26"/>
                    </a:cubicBezTo>
                    <a:cubicBezTo>
                      <a:pt x="645" y="0"/>
                      <a:pt x="645" y="0"/>
                      <a:pt x="645" y="0"/>
                    </a:cubicBezTo>
                    <a:cubicBezTo>
                      <a:pt x="895" y="0"/>
                      <a:pt x="895" y="0"/>
                      <a:pt x="895" y="0"/>
                    </a:cubicBezTo>
                    <a:cubicBezTo>
                      <a:pt x="1011" y="183"/>
                      <a:pt x="1011" y="183"/>
                      <a:pt x="1011" y="183"/>
                    </a:cubicBezTo>
                    <a:cubicBezTo>
                      <a:pt x="1029" y="312"/>
                      <a:pt x="1029" y="312"/>
                      <a:pt x="1029" y="312"/>
                    </a:cubicBezTo>
                    <a:lnTo>
                      <a:pt x="977" y="358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4" name="Freeform 7"/>
              <p:cNvSpPr/>
              <p:nvPr/>
            </p:nvSpPr>
            <p:spPr bwMode="auto">
              <a:xfrm>
                <a:off x="5051004" y="4943177"/>
                <a:ext cx="658813" cy="722312"/>
              </a:xfrm>
              <a:custGeom>
                <a:avLst/>
                <a:gdLst>
                  <a:gd name="T0" fmla="*/ 1059 w 1177"/>
                  <a:gd name="T1" fmla="*/ 258 h 1291"/>
                  <a:gd name="T2" fmla="*/ 1096 w 1177"/>
                  <a:gd name="T3" fmla="*/ 311 h 1291"/>
                  <a:gd name="T4" fmla="*/ 1118 w 1177"/>
                  <a:gd name="T5" fmla="*/ 379 h 1291"/>
                  <a:gd name="T6" fmla="*/ 1100 w 1177"/>
                  <a:gd name="T7" fmla="*/ 434 h 1291"/>
                  <a:gd name="T8" fmla="*/ 1071 w 1177"/>
                  <a:gd name="T9" fmla="*/ 481 h 1291"/>
                  <a:gd name="T10" fmla="*/ 1034 w 1177"/>
                  <a:gd name="T11" fmla="*/ 524 h 1291"/>
                  <a:gd name="T12" fmla="*/ 1034 w 1177"/>
                  <a:gd name="T13" fmla="*/ 621 h 1291"/>
                  <a:gd name="T14" fmla="*/ 1057 w 1177"/>
                  <a:gd name="T15" fmla="*/ 641 h 1291"/>
                  <a:gd name="T16" fmla="*/ 1076 w 1177"/>
                  <a:gd name="T17" fmla="*/ 658 h 1291"/>
                  <a:gd name="T18" fmla="*/ 1083 w 1177"/>
                  <a:gd name="T19" fmla="*/ 699 h 1291"/>
                  <a:gd name="T20" fmla="*/ 1084 w 1177"/>
                  <a:gd name="T21" fmla="*/ 736 h 1291"/>
                  <a:gd name="T22" fmla="*/ 1099 w 1177"/>
                  <a:gd name="T23" fmla="*/ 780 h 1291"/>
                  <a:gd name="T24" fmla="*/ 1135 w 1177"/>
                  <a:gd name="T25" fmla="*/ 811 h 1291"/>
                  <a:gd name="T26" fmla="*/ 1133 w 1177"/>
                  <a:gd name="T27" fmla="*/ 877 h 1291"/>
                  <a:gd name="T28" fmla="*/ 1163 w 1177"/>
                  <a:gd name="T29" fmla="*/ 881 h 1291"/>
                  <a:gd name="T30" fmla="*/ 1137 w 1177"/>
                  <a:gd name="T31" fmla="*/ 925 h 1291"/>
                  <a:gd name="T32" fmla="*/ 1127 w 1177"/>
                  <a:gd name="T33" fmla="*/ 968 h 1291"/>
                  <a:gd name="T34" fmla="*/ 1135 w 1177"/>
                  <a:gd name="T35" fmla="*/ 1015 h 1291"/>
                  <a:gd name="T36" fmla="*/ 1128 w 1177"/>
                  <a:gd name="T37" fmla="*/ 1089 h 1291"/>
                  <a:gd name="T38" fmla="*/ 1008 w 1177"/>
                  <a:gd name="T39" fmla="*/ 1195 h 1291"/>
                  <a:gd name="T40" fmla="*/ 629 w 1177"/>
                  <a:gd name="T41" fmla="*/ 1291 h 1291"/>
                  <a:gd name="T42" fmla="*/ 250 w 1177"/>
                  <a:gd name="T43" fmla="*/ 1059 h 1291"/>
                  <a:gd name="T44" fmla="*/ 68 w 1177"/>
                  <a:gd name="T45" fmla="*/ 885 h 1291"/>
                  <a:gd name="T46" fmla="*/ 0 w 1177"/>
                  <a:gd name="T47" fmla="*/ 565 h 1291"/>
                  <a:gd name="T48" fmla="*/ 105 w 1177"/>
                  <a:gd name="T49" fmla="*/ 279 h 1291"/>
                  <a:gd name="T50" fmla="*/ 197 w 1177"/>
                  <a:gd name="T51" fmla="*/ 108 h 1291"/>
                  <a:gd name="T52" fmla="*/ 525 w 1177"/>
                  <a:gd name="T53" fmla="*/ 0 h 1291"/>
                  <a:gd name="T54" fmla="*/ 793 w 1177"/>
                  <a:gd name="T55" fmla="*/ 0 h 1291"/>
                  <a:gd name="T56" fmla="*/ 1015 w 1177"/>
                  <a:gd name="T57" fmla="*/ 78 h 1291"/>
                  <a:gd name="T58" fmla="*/ 1074 w 1177"/>
                  <a:gd name="T59" fmla="*/ 201 h 1291"/>
                  <a:gd name="T60" fmla="*/ 1059 w 1177"/>
                  <a:gd name="T61" fmla="*/ 258 h 1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77" h="1291">
                    <a:moveTo>
                      <a:pt x="1059" y="258"/>
                    </a:moveTo>
                    <a:cubicBezTo>
                      <a:pt x="1059" y="258"/>
                      <a:pt x="1085" y="292"/>
                      <a:pt x="1096" y="311"/>
                    </a:cubicBezTo>
                    <a:cubicBezTo>
                      <a:pt x="1107" y="330"/>
                      <a:pt x="1103" y="365"/>
                      <a:pt x="1118" y="379"/>
                    </a:cubicBezTo>
                    <a:cubicBezTo>
                      <a:pt x="1133" y="393"/>
                      <a:pt x="1116" y="420"/>
                      <a:pt x="1100" y="434"/>
                    </a:cubicBezTo>
                    <a:cubicBezTo>
                      <a:pt x="1084" y="447"/>
                      <a:pt x="1099" y="471"/>
                      <a:pt x="1071" y="481"/>
                    </a:cubicBezTo>
                    <a:cubicBezTo>
                      <a:pt x="1044" y="492"/>
                      <a:pt x="1045" y="492"/>
                      <a:pt x="1034" y="524"/>
                    </a:cubicBezTo>
                    <a:cubicBezTo>
                      <a:pt x="1023" y="555"/>
                      <a:pt x="1028" y="599"/>
                      <a:pt x="1034" y="621"/>
                    </a:cubicBezTo>
                    <a:cubicBezTo>
                      <a:pt x="1041" y="643"/>
                      <a:pt x="1049" y="656"/>
                      <a:pt x="1057" y="641"/>
                    </a:cubicBezTo>
                    <a:cubicBezTo>
                      <a:pt x="1066" y="626"/>
                      <a:pt x="1081" y="639"/>
                      <a:pt x="1076" y="658"/>
                    </a:cubicBezTo>
                    <a:cubicBezTo>
                      <a:pt x="1070" y="677"/>
                      <a:pt x="1071" y="690"/>
                      <a:pt x="1083" y="699"/>
                    </a:cubicBezTo>
                    <a:cubicBezTo>
                      <a:pt x="1095" y="708"/>
                      <a:pt x="1092" y="725"/>
                      <a:pt x="1084" y="736"/>
                    </a:cubicBezTo>
                    <a:cubicBezTo>
                      <a:pt x="1075" y="748"/>
                      <a:pt x="1077" y="772"/>
                      <a:pt x="1099" y="780"/>
                    </a:cubicBezTo>
                    <a:cubicBezTo>
                      <a:pt x="1122" y="788"/>
                      <a:pt x="1147" y="783"/>
                      <a:pt x="1135" y="811"/>
                    </a:cubicBezTo>
                    <a:cubicBezTo>
                      <a:pt x="1124" y="839"/>
                      <a:pt x="1112" y="887"/>
                      <a:pt x="1133" y="877"/>
                    </a:cubicBezTo>
                    <a:cubicBezTo>
                      <a:pt x="1154" y="867"/>
                      <a:pt x="1177" y="869"/>
                      <a:pt x="1163" y="881"/>
                    </a:cubicBezTo>
                    <a:cubicBezTo>
                      <a:pt x="1150" y="893"/>
                      <a:pt x="1135" y="906"/>
                      <a:pt x="1137" y="925"/>
                    </a:cubicBezTo>
                    <a:cubicBezTo>
                      <a:pt x="1139" y="943"/>
                      <a:pt x="1127" y="945"/>
                      <a:pt x="1127" y="968"/>
                    </a:cubicBezTo>
                    <a:cubicBezTo>
                      <a:pt x="1127" y="992"/>
                      <a:pt x="1133" y="991"/>
                      <a:pt x="1135" y="1015"/>
                    </a:cubicBezTo>
                    <a:cubicBezTo>
                      <a:pt x="1136" y="1039"/>
                      <a:pt x="1131" y="1075"/>
                      <a:pt x="1128" y="1089"/>
                    </a:cubicBezTo>
                    <a:cubicBezTo>
                      <a:pt x="1125" y="1104"/>
                      <a:pt x="1008" y="1195"/>
                      <a:pt x="1008" y="1195"/>
                    </a:cubicBezTo>
                    <a:cubicBezTo>
                      <a:pt x="629" y="1291"/>
                      <a:pt x="629" y="1291"/>
                      <a:pt x="629" y="1291"/>
                    </a:cubicBezTo>
                    <a:cubicBezTo>
                      <a:pt x="250" y="1059"/>
                      <a:pt x="250" y="1059"/>
                      <a:pt x="250" y="1059"/>
                    </a:cubicBezTo>
                    <a:cubicBezTo>
                      <a:pt x="68" y="885"/>
                      <a:pt x="68" y="885"/>
                      <a:pt x="68" y="885"/>
                    </a:cubicBezTo>
                    <a:cubicBezTo>
                      <a:pt x="0" y="565"/>
                      <a:pt x="0" y="565"/>
                      <a:pt x="0" y="565"/>
                    </a:cubicBezTo>
                    <a:cubicBezTo>
                      <a:pt x="105" y="279"/>
                      <a:pt x="105" y="279"/>
                      <a:pt x="105" y="279"/>
                    </a:cubicBezTo>
                    <a:cubicBezTo>
                      <a:pt x="197" y="108"/>
                      <a:pt x="197" y="108"/>
                      <a:pt x="197" y="108"/>
                    </a:cubicBezTo>
                    <a:cubicBezTo>
                      <a:pt x="525" y="0"/>
                      <a:pt x="525" y="0"/>
                      <a:pt x="525" y="0"/>
                    </a:cubicBezTo>
                    <a:cubicBezTo>
                      <a:pt x="793" y="0"/>
                      <a:pt x="793" y="0"/>
                      <a:pt x="793" y="0"/>
                    </a:cubicBezTo>
                    <a:cubicBezTo>
                      <a:pt x="1015" y="78"/>
                      <a:pt x="1015" y="78"/>
                      <a:pt x="1015" y="78"/>
                    </a:cubicBezTo>
                    <a:cubicBezTo>
                      <a:pt x="1074" y="201"/>
                      <a:pt x="1074" y="201"/>
                      <a:pt x="1074" y="201"/>
                    </a:cubicBezTo>
                    <a:lnTo>
                      <a:pt x="1059" y="258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5" name="Freeform 8"/>
              <p:cNvSpPr/>
              <p:nvPr/>
            </p:nvSpPr>
            <p:spPr bwMode="auto">
              <a:xfrm>
                <a:off x="5241504" y="5516265"/>
                <a:ext cx="820738" cy="673100"/>
              </a:xfrm>
              <a:custGeom>
                <a:avLst/>
                <a:gdLst>
                  <a:gd name="T0" fmla="*/ 32 w 1465"/>
                  <a:gd name="T1" fmla="*/ 971 h 1202"/>
                  <a:gd name="T2" fmla="*/ 5 w 1465"/>
                  <a:gd name="T3" fmla="*/ 1045 h 1202"/>
                  <a:gd name="T4" fmla="*/ 49 w 1465"/>
                  <a:gd name="T5" fmla="*/ 1149 h 1202"/>
                  <a:gd name="T6" fmla="*/ 165 w 1465"/>
                  <a:gd name="T7" fmla="*/ 1188 h 1202"/>
                  <a:gd name="T8" fmla="*/ 144 w 1465"/>
                  <a:gd name="T9" fmla="*/ 1095 h 1202"/>
                  <a:gd name="T10" fmla="*/ 130 w 1465"/>
                  <a:gd name="T11" fmla="*/ 1040 h 1202"/>
                  <a:gd name="T12" fmla="*/ 188 w 1465"/>
                  <a:gd name="T13" fmla="*/ 1017 h 1202"/>
                  <a:gd name="T14" fmla="*/ 294 w 1465"/>
                  <a:gd name="T15" fmla="*/ 946 h 1202"/>
                  <a:gd name="T16" fmla="*/ 417 w 1465"/>
                  <a:gd name="T17" fmla="*/ 897 h 1202"/>
                  <a:gd name="T18" fmla="*/ 504 w 1465"/>
                  <a:gd name="T19" fmla="*/ 845 h 1202"/>
                  <a:gd name="T20" fmla="*/ 572 w 1465"/>
                  <a:gd name="T21" fmla="*/ 819 h 1202"/>
                  <a:gd name="T22" fmla="*/ 602 w 1465"/>
                  <a:gd name="T23" fmla="*/ 816 h 1202"/>
                  <a:gd name="T24" fmla="*/ 669 w 1465"/>
                  <a:gd name="T25" fmla="*/ 817 h 1202"/>
                  <a:gd name="T26" fmla="*/ 683 w 1465"/>
                  <a:gd name="T27" fmla="*/ 740 h 1202"/>
                  <a:gd name="T28" fmla="*/ 743 w 1465"/>
                  <a:gd name="T29" fmla="*/ 729 h 1202"/>
                  <a:gd name="T30" fmla="*/ 788 w 1465"/>
                  <a:gd name="T31" fmla="*/ 718 h 1202"/>
                  <a:gd name="T32" fmla="*/ 773 w 1465"/>
                  <a:gd name="T33" fmla="*/ 625 h 1202"/>
                  <a:gd name="T34" fmla="*/ 837 w 1465"/>
                  <a:gd name="T35" fmla="*/ 652 h 1202"/>
                  <a:gd name="T36" fmla="*/ 839 w 1465"/>
                  <a:gd name="T37" fmla="*/ 742 h 1202"/>
                  <a:gd name="T38" fmla="*/ 934 w 1465"/>
                  <a:gd name="T39" fmla="*/ 729 h 1202"/>
                  <a:gd name="T40" fmla="*/ 944 w 1465"/>
                  <a:gd name="T41" fmla="*/ 636 h 1202"/>
                  <a:gd name="T42" fmla="*/ 1043 w 1465"/>
                  <a:gd name="T43" fmla="*/ 617 h 1202"/>
                  <a:gd name="T44" fmla="*/ 1129 w 1465"/>
                  <a:gd name="T45" fmla="*/ 581 h 1202"/>
                  <a:gd name="T46" fmla="*/ 1174 w 1465"/>
                  <a:gd name="T47" fmla="*/ 557 h 1202"/>
                  <a:gd name="T48" fmla="*/ 1227 w 1465"/>
                  <a:gd name="T49" fmla="*/ 564 h 1202"/>
                  <a:gd name="T50" fmla="*/ 1326 w 1465"/>
                  <a:gd name="T51" fmla="*/ 517 h 1202"/>
                  <a:gd name="T52" fmla="*/ 1377 w 1465"/>
                  <a:gd name="T53" fmla="*/ 446 h 1202"/>
                  <a:gd name="T54" fmla="*/ 1405 w 1465"/>
                  <a:gd name="T55" fmla="*/ 395 h 1202"/>
                  <a:gd name="T56" fmla="*/ 1458 w 1465"/>
                  <a:gd name="T57" fmla="*/ 373 h 1202"/>
                  <a:gd name="T58" fmla="*/ 1430 w 1465"/>
                  <a:gd name="T59" fmla="*/ 277 h 1202"/>
                  <a:gd name="T60" fmla="*/ 1374 w 1465"/>
                  <a:gd name="T61" fmla="*/ 142 h 1202"/>
                  <a:gd name="T62" fmla="*/ 1305 w 1465"/>
                  <a:gd name="T63" fmla="*/ 127 h 1202"/>
                  <a:gd name="T64" fmla="*/ 1176 w 1465"/>
                  <a:gd name="T65" fmla="*/ 81 h 1202"/>
                  <a:gd name="T66" fmla="*/ 1167 w 1465"/>
                  <a:gd name="T67" fmla="*/ 146 h 1202"/>
                  <a:gd name="T68" fmla="*/ 1123 w 1465"/>
                  <a:gd name="T69" fmla="*/ 144 h 1202"/>
                  <a:gd name="T70" fmla="*/ 1000 w 1465"/>
                  <a:gd name="T71" fmla="*/ 168 h 1202"/>
                  <a:gd name="T72" fmla="*/ 922 w 1465"/>
                  <a:gd name="T73" fmla="*/ 201 h 1202"/>
                  <a:gd name="T74" fmla="*/ 891 w 1465"/>
                  <a:gd name="T75" fmla="*/ 114 h 1202"/>
                  <a:gd name="T76" fmla="*/ 938 w 1465"/>
                  <a:gd name="T77" fmla="*/ 45 h 1202"/>
                  <a:gd name="T78" fmla="*/ 810 w 1465"/>
                  <a:gd name="T79" fmla="*/ 43 h 1202"/>
                  <a:gd name="T80" fmla="*/ 684 w 1465"/>
                  <a:gd name="T81" fmla="*/ 36 h 1202"/>
                  <a:gd name="T82" fmla="*/ 600 w 1465"/>
                  <a:gd name="T83" fmla="*/ 93 h 1202"/>
                  <a:gd name="T84" fmla="*/ 544 w 1465"/>
                  <a:gd name="T85" fmla="*/ 110 h 1202"/>
                  <a:gd name="T86" fmla="*/ 447 w 1465"/>
                  <a:gd name="T87" fmla="*/ 143 h 1202"/>
                  <a:gd name="T88" fmla="*/ 396 w 1465"/>
                  <a:gd name="T89" fmla="*/ 216 h 1202"/>
                  <a:gd name="T90" fmla="*/ 55 w 1465"/>
                  <a:gd name="T91" fmla="*/ 769 h 1202"/>
                  <a:gd name="T92" fmla="*/ 8 w 1465"/>
                  <a:gd name="T93" fmla="*/ 935 h 1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465" h="1202">
                    <a:moveTo>
                      <a:pt x="15" y="940"/>
                    </a:moveTo>
                    <a:cubicBezTo>
                      <a:pt x="36" y="957"/>
                      <a:pt x="55" y="956"/>
                      <a:pt x="32" y="971"/>
                    </a:cubicBezTo>
                    <a:cubicBezTo>
                      <a:pt x="10" y="986"/>
                      <a:pt x="16" y="1000"/>
                      <a:pt x="15" y="1013"/>
                    </a:cubicBezTo>
                    <a:cubicBezTo>
                      <a:pt x="14" y="1026"/>
                      <a:pt x="0" y="1013"/>
                      <a:pt x="5" y="1045"/>
                    </a:cubicBezTo>
                    <a:cubicBezTo>
                      <a:pt x="10" y="1077"/>
                      <a:pt x="22" y="1073"/>
                      <a:pt x="28" y="1093"/>
                    </a:cubicBezTo>
                    <a:cubicBezTo>
                      <a:pt x="34" y="1114"/>
                      <a:pt x="38" y="1129"/>
                      <a:pt x="49" y="1149"/>
                    </a:cubicBezTo>
                    <a:cubicBezTo>
                      <a:pt x="60" y="1168"/>
                      <a:pt x="64" y="1181"/>
                      <a:pt x="84" y="1192"/>
                    </a:cubicBezTo>
                    <a:cubicBezTo>
                      <a:pt x="105" y="1202"/>
                      <a:pt x="156" y="1198"/>
                      <a:pt x="165" y="1188"/>
                    </a:cubicBezTo>
                    <a:cubicBezTo>
                      <a:pt x="174" y="1178"/>
                      <a:pt x="191" y="1128"/>
                      <a:pt x="177" y="1118"/>
                    </a:cubicBezTo>
                    <a:cubicBezTo>
                      <a:pt x="163" y="1109"/>
                      <a:pt x="147" y="1111"/>
                      <a:pt x="144" y="1095"/>
                    </a:cubicBezTo>
                    <a:cubicBezTo>
                      <a:pt x="141" y="1078"/>
                      <a:pt x="139" y="1075"/>
                      <a:pt x="128" y="1068"/>
                    </a:cubicBezTo>
                    <a:cubicBezTo>
                      <a:pt x="118" y="1061"/>
                      <a:pt x="118" y="1055"/>
                      <a:pt x="130" y="1040"/>
                    </a:cubicBezTo>
                    <a:cubicBezTo>
                      <a:pt x="143" y="1025"/>
                      <a:pt x="135" y="1032"/>
                      <a:pt x="158" y="1040"/>
                    </a:cubicBezTo>
                    <a:cubicBezTo>
                      <a:pt x="182" y="1047"/>
                      <a:pt x="181" y="1041"/>
                      <a:pt x="188" y="1017"/>
                    </a:cubicBezTo>
                    <a:cubicBezTo>
                      <a:pt x="195" y="994"/>
                      <a:pt x="210" y="984"/>
                      <a:pt x="224" y="972"/>
                    </a:cubicBezTo>
                    <a:cubicBezTo>
                      <a:pt x="238" y="959"/>
                      <a:pt x="268" y="951"/>
                      <a:pt x="294" y="946"/>
                    </a:cubicBezTo>
                    <a:cubicBezTo>
                      <a:pt x="320" y="942"/>
                      <a:pt x="371" y="938"/>
                      <a:pt x="376" y="918"/>
                    </a:cubicBezTo>
                    <a:cubicBezTo>
                      <a:pt x="380" y="899"/>
                      <a:pt x="390" y="901"/>
                      <a:pt x="417" y="897"/>
                    </a:cubicBezTo>
                    <a:cubicBezTo>
                      <a:pt x="443" y="893"/>
                      <a:pt x="460" y="880"/>
                      <a:pt x="456" y="868"/>
                    </a:cubicBezTo>
                    <a:cubicBezTo>
                      <a:pt x="453" y="855"/>
                      <a:pt x="481" y="838"/>
                      <a:pt x="504" y="845"/>
                    </a:cubicBezTo>
                    <a:cubicBezTo>
                      <a:pt x="527" y="853"/>
                      <a:pt x="545" y="858"/>
                      <a:pt x="557" y="849"/>
                    </a:cubicBezTo>
                    <a:cubicBezTo>
                      <a:pt x="570" y="840"/>
                      <a:pt x="577" y="830"/>
                      <a:pt x="572" y="819"/>
                    </a:cubicBezTo>
                    <a:cubicBezTo>
                      <a:pt x="566" y="808"/>
                      <a:pt x="565" y="804"/>
                      <a:pt x="581" y="817"/>
                    </a:cubicBezTo>
                    <a:cubicBezTo>
                      <a:pt x="598" y="831"/>
                      <a:pt x="594" y="823"/>
                      <a:pt x="602" y="816"/>
                    </a:cubicBezTo>
                    <a:cubicBezTo>
                      <a:pt x="609" y="808"/>
                      <a:pt x="642" y="802"/>
                      <a:pt x="646" y="812"/>
                    </a:cubicBezTo>
                    <a:cubicBezTo>
                      <a:pt x="649" y="821"/>
                      <a:pt x="661" y="825"/>
                      <a:pt x="669" y="817"/>
                    </a:cubicBezTo>
                    <a:cubicBezTo>
                      <a:pt x="677" y="808"/>
                      <a:pt x="681" y="804"/>
                      <a:pt x="683" y="786"/>
                    </a:cubicBezTo>
                    <a:cubicBezTo>
                      <a:pt x="685" y="767"/>
                      <a:pt x="679" y="758"/>
                      <a:pt x="683" y="740"/>
                    </a:cubicBezTo>
                    <a:cubicBezTo>
                      <a:pt x="687" y="722"/>
                      <a:pt x="693" y="685"/>
                      <a:pt x="703" y="695"/>
                    </a:cubicBezTo>
                    <a:cubicBezTo>
                      <a:pt x="712" y="705"/>
                      <a:pt x="727" y="712"/>
                      <a:pt x="743" y="729"/>
                    </a:cubicBezTo>
                    <a:cubicBezTo>
                      <a:pt x="760" y="746"/>
                      <a:pt x="764" y="771"/>
                      <a:pt x="773" y="763"/>
                    </a:cubicBezTo>
                    <a:cubicBezTo>
                      <a:pt x="783" y="754"/>
                      <a:pt x="790" y="732"/>
                      <a:pt x="788" y="718"/>
                    </a:cubicBezTo>
                    <a:cubicBezTo>
                      <a:pt x="786" y="705"/>
                      <a:pt x="790" y="679"/>
                      <a:pt x="788" y="661"/>
                    </a:cubicBezTo>
                    <a:cubicBezTo>
                      <a:pt x="786" y="644"/>
                      <a:pt x="781" y="640"/>
                      <a:pt x="773" y="625"/>
                    </a:cubicBezTo>
                    <a:cubicBezTo>
                      <a:pt x="764" y="609"/>
                      <a:pt x="757" y="597"/>
                      <a:pt x="781" y="610"/>
                    </a:cubicBezTo>
                    <a:cubicBezTo>
                      <a:pt x="806" y="624"/>
                      <a:pt x="831" y="633"/>
                      <a:pt x="837" y="652"/>
                    </a:cubicBezTo>
                    <a:cubicBezTo>
                      <a:pt x="843" y="671"/>
                      <a:pt x="860" y="676"/>
                      <a:pt x="843" y="701"/>
                    </a:cubicBezTo>
                    <a:cubicBezTo>
                      <a:pt x="826" y="726"/>
                      <a:pt x="820" y="750"/>
                      <a:pt x="839" y="742"/>
                    </a:cubicBezTo>
                    <a:cubicBezTo>
                      <a:pt x="858" y="734"/>
                      <a:pt x="868" y="727"/>
                      <a:pt x="878" y="735"/>
                    </a:cubicBezTo>
                    <a:cubicBezTo>
                      <a:pt x="889" y="742"/>
                      <a:pt x="930" y="747"/>
                      <a:pt x="934" y="729"/>
                    </a:cubicBezTo>
                    <a:cubicBezTo>
                      <a:pt x="938" y="711"/>
                      <a:pt x="952" y="679"/>
                      <a:pt x="938" y="663"/>
                    </a:cubicBezTo>
                    <a:cubicBezTo>
                      <a:pt x="924" y="647"/>
                      <a:pt x="936" y="627"/>
                      <a:pt x="944" y="636"/>
                    </a:cubicBezTo>
                    <a:cubicBezTo>
                      <a:pt x="952" y="645"/>
                      <a:pt x="977" y="680"/>
                      <a:pt x="1003" y="657"/>
                    </a:cubicBezTo>
                    <a:cubicBezTo>
                      <a:pt x="1030" y="633"/>
                      <a:pt x="1036" y="632"/>
                      <a:pt x="1043" y="617"/>
                    </a:cubicBezTo>
                    <a:cubicBezTo>
                      <a:pt x="1050" y="602"/>
                      <a:pt x="1053" y="588"/>
                      <a:pt x="1085" y="584"/>
                    </a:cubicBezTo>
                    <a:cubicBezTo>
                      <a:pt x="1118" y="579"/>
                      <a:pt x="1116" y="570"/>
                      <a:pt x="1129" y="581"/>
                    </a:cubicBezTo>
                    <a:cubicBezTo>
                      <a:pt x="1141" y="592"/>
                      <a:pt x="1160" y="598"/>
                      <a:pt x="1167" y="587"/>
                    </a:cubicBezTo>
                    <a:cubicBezTo>
                      <a:pt x="1175" y="576"/>
                      <a:pt x="1179" y="573"/>
                      <a:pt x="1174" y="557"/>
                    </a:cubicBezTo>
                    <a:cubicBezTo>
                      <a:pt x="1168" y="541"/>
                      <a:pt x="1182" y="534"/>
                      <a:pt x="1189" y="541"/>
                    </a:cubicBezTo>
                    <a:cubicBezTo>
                      <a:pt x="1197" y="548"/>
                      <a:pt x="1206" y="571"/>
                      <a:pt x="1227" y="564"/>
                    </a:cubicBezTo>
                    <a:cubicBezTo>
                      <a:pt x="1247" y="558"/>
                      <a:pt x="1269" y="543"/>
                      <a:pt x="1284" y="532"/>
                    </a:cubicBezTo>
                    <a:cubicBezTo>
                      <a:pt x="1299" y="521"/>
                      <a:pt x="1308" y="519"/>
                      <a:pt x="1326" y="517"/>
                    </a:cubicBezTo>
                    <a:cubicBezTo>
                      <a:pt x="1344" y="514"/>
                      <a:pt x="1366" y="502"/>
                      <a:pt x="1359" y="487"/>
                    </a:cubicBezTo>
                    <a:cubicBezTo>
                      <a:pt x="1353" y="473"/>
                      <a:pt x="1362" y="446"/>
                      <a:pt x="1377" y="446"/>
                    </a:cubicBezTo>
                    <a:cubicBezTo>
                      <a:pt x="1392" y="445"/>
                      <a:pt x="1394" y="439"/>
                      <a:pt x="1389" y="423"/>
                    </a:cubicBezTo>
                    <a:cubicBezTo>
                      <a:pt x="1383" y="407"/>
                      <a:pt x="1396" y="402"/>
                      <a:pt x="1405" y="395"/>
                    </a:cubicBezTo>
                    <a:cubicBezTo>
                      <a:pt x="1414" y="388"/>
                      <a:pt x="1420" y="392"/>
                      <a:pt x="1437" y="392"/>
                    </a:cubicBezTo>
                    <a:cubicBezTo>
                      <a:pt x="1453" y="393"/>
                      <a:pt x="1465" y="394"/>
                      <a:pt x="1458" y="373"/>
                    </a:cubicBezTo>
                    <a:cubicBezTo>
                      <a:pt x="1454" y="362"/>
                      <a:pt x="1455" y="356"/>
                      <a:pt x="1461" y="353"/>
                    </a:cubicBezTo>
                    <a:cubicBezTo>
                      <a:pt x="1461" y="353"/>
                      <a:pt x="1437" y="291"/>
                      <a:pt x="1430" y="277"/>
                    </a:cubicBezTo>
                    <a:cubicBezTo>
                      <a:pt x="1423" y="263"/>
                      <a:pt x="1413" y="229"/>
                      <a:pt x="1407" y="206"/>
                    </a:cubicBezTo>
                    <a:cubicBezTo>
                      <a:pt x="1401" y="184"/>
                      <a:pt x="1368" y="155"/>
                      <a:pt x="1374" y="142"/>
                    </a:cubicBezTo>
                    <a:cubicBezTo>
                      <a:pt x="1379" y="130"/>
                      <a:pt x="1372" y="100"/>
                      <a:pt x="1349" y="117"/>
                    </a:cubicBezTo>
                    <a:cubicBezTo>
                      <a:pt x="1326" y="134"/>
                      <a:pt x="1318" y="150"/>
                      <a:pt x="1305" y="127"/>
                    </a:cubicBezTo>
                    <a:cubicBezTo>
                      <a:pt x="1293" y="104"/>
                      <a:pt x="1273" y="103"/>
                      <a:pt x="1247" y="101"/>
                    </a:cubicBezTo>
                    <a:cubicBezTo>
                      <a:pt x="1221" y="99"/>
                      <a:pt x="1177" y="63"/>
                      <a:pt x="1176" y="81"/>
                    </a:cubicBezTo>
                    <a:cubicBezTo>
                      <a:pt x="1174" y="99"/>
                      <a:pt x="1186" y="104"/>
                      <a:pt x="1170" y="111"/>
                    </a:cubicBezTo>
                    <a:cubicBezTo>
                      <a:pt x="1153" y="118"/>
                      <a:pt x="1156" y="124"/>
                      <a:pt x="1167" y="146"/>
                    </a:cubicBezTo>
                    <a:cubicBezTo>
                      <a:pt x="1178" y="169"/>
                      <a:pt x="1180" y="174"/>
                      <a:pt x="1165" y="180"/>
                    </a:cubicBezTo>
                    <a:cubicBezTo>
                      <a:pt x="1149" y="186"/>
                      <a:pt x="1133" y="165"/>
                      <a:pt x="1123" y="144"/>
                    </a:cubicBezTo>
                    <a:cubicBezTo>
                      <a:pt x="1113" y="124"/>
                      <a:pt x="1100" y="126"/>
                      <a:pt x="1077" y="140"/>
                    </a:cubicBezTo>
                    <a:cubicBezTo>
                      <a:pt x="1055" y="153"/>
                      <a:pt x="1004" y="153"/>
                      <a:pt x="1000" y="168"/>
                    </a:cubicBezTo>
                    <a:cubicBezTo>
                      <a:pt x="996" y="183"/>
                      <a:pt x="978" y="186"/>
                      <a:pt x="966" y="185"/>
                    </a:cubicBezTo>
                    <a:cubicBezTo>
                      <a:pt x="954" y="185"/>
                      <a:pt x="940" y="193"/>
                      <a:pt x="922" y="201"/>
                    </a:cubicBezTo>
                    <a:cubicBezTo>
                      <a:pt x="904" y="209"/>
                      <a:pt x="889" y="198"/>
                      <a:pt x="884" y="177"/>
                    </a:cubicBezTo>
                    <a:cubicBezTo>
                      <a:pt x="879" y="157"/>
                      <a:pt x="878" y="128"/>
                      <a:pt x="891" y="114"/>
                    </a:cubicBezTo>
                    <a:cubicBezTo>
                      <a:pt x="905" y="99"/>
                      <a:pt x="918" y="80"/>
                      <a:pt x="928" y="76"/>
                    </a:cubicBezTo>
                    <a:cubicBezTo>
                      <a:pt x="939" y="72"/>
                      <a:pt x="950" y="66"/>
                      <a:pt x="938" y="45"/>
                    </a:cubicBezTo>
                    <a:cubicBezTo>
                      <a:pt x="926" y="25"/>
                      <a:pt x="909" y="7"/>
                      <a:pt x="879" y="24"/>
                    </a:cubicBezTo>
                    <a:cubicBezTo>
                      <a:pt x="850" y="41"/>
                      <a:pt x="821" y="58"/>
                      <a:pt x="810" y="43"/>
                    </a:cubicBezTo>
                    <a:cubicBezTo>
                      <a:pt x="799" y="28"/>
                      <a:pt x="793" y="21"/>
                      <a:pt x="774" y="32"/>
                    </a:cubicBezTo>
                    <a:cubicBezTo>
                      <a:pt x="755" y="43"/>
                      <a:pt x="694" y="57"/>
                      <a:pt x="684" y="36"/>
                    </a:cubicBezTo>
                    <a:cubicBezTo>
                      <a:pt x="675" y="16"/>
                      <a:pt x="655" y="0"/>
                      <a:pt x="628" y="27"/>
                    </a:cubicBezTo>
                    <a:cubicBezTo>
                      <a:pt x="600" y="53"/>
                      <a:pt x="589" y="60"/>
                      <a:pt x="600" y="93"/>
                    </a:cubicBezTo>
                    <a:cubicBezTo>
                      <a:pt x="611" y="126"/>
                      <a:pt x="618" y="131"/>
                      <a:pt x="597" y="135"/>
                    </a:cubicBezTo>
                    <a:cubicBezTo>
                      <a:pt x="577" y="140"/>
                      <a:pt x="566" y="116"/>
                      <a:pt x="544" y="110"/>
                    </a:cubicBezTo>
                    <a:cubicBezTo>
                      <a:pt x="523" y="104"/>
                      <a:pt x="482" y="98"/>
                      <a:pt x="467" y="109"/>
                    </a:cubicBezTo>
                    <a:cubicBezTo>
                      <a:pt x="452" y="120"/>
                      <a:pt x="441" y="120"/>
                      <a:pt x="447" y="143"/>
                    </a:cubicBezTo>
                    <a:cubicBezTo>
                      <a:pt x="453" y="166"/>
                      <a:pt x="461" y="177"/>
                      <a:pt x="448" y="184"/>
                    </a:cubicBezTo>
                    <a:cubicBezTo>
                      <a:pt x="435" y="191"/>
                      <a:pt x="401" y="202"/>
                      <a:pt x="396" y="216"/>
                    </a:cubicBezTo>
                    <a:cubicBezTo>
                      <a:pt x="390" y="230"/>
                      <a:pt x="276" y="394"/>
                      <a:pt x="276" y="394"/>
                    </a:cubicBezTo>
                    <a:cubicBezTo>
                      <a:pt x="55" y="769"/>
                      <a:pt x="55" y="769"/>
                      <a:pt x="55" y="769"/>
                    </a:cubicBezTo>
                    <a:cubicBezTo>
                      <a:pt x="4" y="910"/>
                      <a:pt x="4" y="910"/>
                      <a:pt x="4" y="910"/>
                    </a:cubicBezTo>
                    <a:cubicBezTo>
                      <a:pt x="8" y="935"/>
                      <a:pt x="8" y="935"/>
                      <a:pt x="8" y="935"/>
                    </a:cubicBezTo>
                    <a:lnTo>
                      <a:pt x="15" y="94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6" name="Freeform 9"/>
              <p:cNvSpPr/>
              <p:nvPr/>
            </p:nvSpPr>
            <p:spPr bwMode="auto">
              <a:xfrm>
                <a:off x="4619204" y="5435302"/>
                <a:ext cx="873125" cy="619125"/>
              </a:xfrm>
              <a:custGeom>
                <a:avLst/>
                <a:gdLst>
                  <a:gd name="T0" fmla="*/ 300 w 1560"/>
                  <a:gd name="T1" fmla="*/ 773 h 1107"/>
                  <a:gd name="T2" fmla="*/ 404 w 1560"/>
                  <a:gd name="T3" fmla="*/ 801 h 1107"/>
                  <a:gd name="T4" fmla="*/ 501 w 1560"/>
                  <a:gd name="T5" fmla="*/ 820 h 1107"/>
                  <a:gd name="T6" fmla="*/ 490 w 1560"/>
                  <a:gd name="T7" fmla="*/ 909 h 1107"/>
                  <a:gd name="T8" fmla="*/ 533 w 1560"/>
                  <a:gd name="T9" fmla="*/ 1010 h 1107"/>
                  <a:gd name="T10" fmla="*/ 690 w 1560"/>
                  <a:gd name="T11" fmla="*/ 1070 h 1107"/>
                  <a:gd name="T12" fmla="*/ 820 w 1560"/>
                  <a:gd name="T13" fmla="*/ 1077 h 1107"/>
                  <a:gd name="T14" fmla="*/ 875 w 1560"/>
                  <a:gd name="T15" fmla="*/ 1062 h 1107"/>
                  <a:gd name="T16" fmla="*/ 949 w 1560"/>
                  <a:gd name="T17" fmla="*/ 1075 h 1107"/>
                  <a:gd name="T18" fmla="*/ 1075 w 1560"/>
                  <a:gd name="T19" fmla="*/ 1088 h 1107"/>
                  <a:gd name="T20" fmla="*/ 1162 w 1560"/>
                  <a:gd name="T21" fmla="*/ 1035 h 1107"/>
                  <a:gd name="T22" fmla="*/ 1243 w 1560"/>
                  <a:gd name="T23" fmla="*/ 955 h 1107"/>
                  <a:gd name="T24" fmla="*/ 1313 w 1560"/>
                  <a:gd name="T25" fmla="*/ 894 h 1107"/>
                  <a:gd name="T26" fmla="*/ 1387 w 1560"/>
                  <a:gd name="T27" fmla="*/ 788 h 1107"/>
                  <a:gd name="T28" fmla="*/ 1430 w 1560"/>
                  <a:gd name="T29" fmla="*/ 647 h 1107"/>
                  <a:gd name="T30" fmla="*/ 1492 w 1560"/>
                  <a:gd name="T31" fmla="*/ 546 h 1107"/>
                  <a:gd name="T32" fmla="*/ 1533 w 1560"/>
                  <a:gd name="T33" fmla="*/ 449 h 1107"/>
                  <a:gd name="T34" fmla="*/ 1530 w 1560"/>
                  <a:gd name="T35" fmla="*/ 346 h 1107"/>
                  <a:gd name="T36" fmla="*/ 1434 w 1560"/>
                  <a:gd name="T37" fmla="*/ 368 h 1107"/>
                  <a:gd name="T38" fmla="*/ 1386 w 1560"/>
                  <a:gd name="T39" fmla="*/ 270 h 1107"/>
                  <a:gd name="T40" fmla="*/ 1334 w 1560"/>
                  <a:gd name="T41" fmla="*/ 268 h 1107"/>
                  <a:gd name="T42" fmla="*/ 1387 w 1560"/>
                  <a:gd name="T43" fmla="*/ 155 h 1107"/>
                  <a:gd name="T44" fmla="*/ 1383 w 1560"/>
                  <a:gd name="T45" fmla="*/ 99 h 1107"/>
                  <a:gd name="T46" fmla="*/ 1350 w 1560"/>
                  <a:gd name="T47" fmla="*/ 32 h 1107"/>
                  <a:gd name="T48" fmla="*/ 1274 w 1560"/>
                  <a:gd name="T49" fmla="*/ 24 h 1107"/>
                  <a:gd name="T50" fmla="*/ 1170 w 1560"/>
                  <a:gd name="T51" fmla="*/ 86 h 1107"/>
                  <a:gd name="T52" fmla="*/ 1103 w 1560"/>
                  <a:gd name="T53" fmla="*/ 56 h 1107"/>
                  <a:gd name="T54" fmla="*/ 1060 w 1560"/>
                  <a:gd name="T55" fmla="*/ 105 h 1107"/>
                  <a:gd name="T56" fmla="*/ 676 w 1560"/>
                  <a:gd name="T57" fmla="*/ 204 h 1107"/>
                  <a:gd name="T58" fmla="*/ 0 w 1560"/>
                  <a:gd name="T59" fmla="*/ 356 h 1107"/>
                  <a:gd name="T60" fmla="*/ 232 w 1560"/>
                  <a:gd name="T61" fmla="*/ 675 h 1107"/>
                  <a:gd name="T62" fmla="*/ 254 w 1560"/>
                  <a:gd name="T63" fmla="*/ 735 h 1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560" h="1107">
                    <a:moveTo>
                      <a:pt x="257" y="740"/>
                    </a:moveTo>
                    <a:cubicBezTo>
                      <a:pt x="271" y="756"/>
                      <a:pt x="287" y="769"/>
                      <a:pt x="300" y="773"/>
                    </a:cubicBezTo>
                    <a:cubicBezTo>
                      <a:pt x="318" y="779"/>
                      <a:pt x="347" y="799"/>
                      <a:pt x="371" y="790"/>
                    </a:cubicBezTo>
                    <a:cubicBezTo>
                      <a:pt x="395" y="780"/>
                      <a:pt x="391" y="794"/>
                      <a:pt x="404" y="801"/>
                    </a:cubicBezTo>
                    <a:cubicBezTo>
                      <a:pt x="417" y="807"/>
                      <a:pt x="431" y="807"/>
                      <a:pt x="451" y="801"/>
                    </a:cubicBezTo>
                    <a:cubicBezTo>
                      <a:pt x="472" y="796"/>
                      <a:pt x="492" y="797"/>
                      <a:pt x="501" y="820"/>
                    </a:cubicBezTo>
                    <a:cubicBezTo>
                      <a:pt x="510" y="842"/>
                      <a:pt x="505" y="848"/>
                      <a:pt x="493" y="868"/>
                    </a:cubicBezTo>
                    <a:cubicBezTo>
                      <a:pt x="481" y="887"/>
                      <a:pt x="481" y="898"/>
                      <a:pt x="490" y="909"/>
                    </a:cubicBezTo>
                    <a:cubicBezTo>
                      <a:pt x="500" y="920"/>
                      <a:pt x="499" y="940"/>
                      <a:pt x="496" y="963"/>
                    </a:cubicBezTo>
                    <a:cubicBezTo>
                      <a:pt x="492" y="986"/>
                      <a:pt x="512" y="999"/>
                      <a:pt x="533" y="1010"/>
                    </a:cubicBezTo>
                    <a:cubicBezTo>
                      <a:pt x="554" y="1021"/>
                      <a:pt x="590" y="1053"/>
                      <a:pt x="615" y="1060"/>
                    </a:cubicBezTo>
                    <a:cubicBezTo>
                      <a:pt x="641" y="1067"/>
                      <a:pt x="643" y="1077"/>
                      <a:pt x="690" y="1070"/>
                    </a:cubicBezTo>
                    <a:cubicBezTo>
                      <a:pt x="736" y="1064"/>
                      <a:pt x="732" y="1066"/>
                      <a:pt x="768" y="1080"/>
                    </a:cubicBezTo>
                    <a:cubicBezTo>
                      <a:pt x="803" y="1094"/>
                      <a:pt x="813" y="1084"/>
                      <a:pt x="820" y="1077"/>
                    </a:cubicBezTo>
                    <a:cubicBezTo>
                      <a:pt x="827" y="1069"/>
                      <a:pt x="839" y="1071"/>
                      <a:pt x="847" y="1078"/>
                    </a:cubicBezTo>
                    <a:cubicBezTo>
                      <a:pt x="855" y="1085"/>
                      <a:pt x="877" y="1078"/>
                      <a:pt x="875" y="1062"/>
                    </a:cubicBezTo>
                    <a:cubicBezTo>
                      <a:pt x="873" y="1047"/>
                      <a:pt x="878" y="1035"/>
                      <a:pt x="897" y="1050"/>
                    </a:cubicBezTo>
                    <a:cubicBezTo>
                      <a:pt x="917" y="1065"/>
                      <a:pt x="915" y="1074"/>
                      <a:pt x="949" y="1075"/>
                    </a:cubicBezTo>
                    <a:cubicBezTo>
                      <a:pt x="983" y="1077"/>
                      <a:pt x="975" y="1086"/>
                      <a:pt x="1001" y="1096"/>
                    </a:cubicBezTo>
                    <a:cubicBezTo>
                      <a:pt x="1027" y="1107"/>
                      <a:pt x="1053" y="1104"/>
                      <a:pt x="1075" y="1088"/>
                    </a:cubicBezTo>
                    <a:cubicBezTo>
                      <a:pt x="1097" y="1073"/>
                      <a:pt x="1100" y="1065"/>
                      <a:pt x="1120" y="1081"/>
                    </a:cubicBezTo>
                    <a:cubicBezTo>
                      <a:pt x="1120" y="1081"/>
                      <a:pt x="1168" y="1072"/>
                      <a:pt x="1162" y="1035"/>
                    </a:cubicBezTo>
                    <a:cubicBezTo>
                      <a:pt x="1155" y="998"/>
                      <a:pt x="1193" y="1003"/>
                      <a:pt x="1209" y="997"/>
                    </a:cubicBezTo>
                    <a:cubicBezTo>
                      <a:pt x="1224" y="991"/>
                      <a:pt x="1254" y="989"/>
                      <a:pt x="1243" y="955"/>
                    </a:cubicBezTo>
                    <a:cubicBezTo>
                      <a:pt x="1233" y="921"/>
                      <a:pt x="1246" y="913"/>
                      <a:pt x="1267" y="921"/>
                    </a:cubicBezTo>
                    <a:cubicBezTo>
                      <a:pt x="1289" y="929"/>
                      <a:pt x="1306" y="923"/>
                      <a:pt x="1313" y="894"/>
                    </a:cubicBezTo>
                    <a:cubicBezTo>
                      <a:pt x="1320" y="864"/>
                      <a:pt x="1275" y="846"/>
                      <a:pt x="1319" y="829"/>
                    </a:cubicBezTo>
                    <a:cubicBezTo>
                      <a:pt x="1363" y="812"/>
                      <a:pt x="1377" y="807"/>
                      <a:pt x="1387" y="788"/>
                    </a:cubicBezTo>
                    <a:cubicBezTo>
                      <a:pt x="1397" y="769"/>
                      <a:pt x="1428" y="760"/>
                      <a:pt x="1435" y="732"/>
                    </a:cubicBezTo>
                    <a:cubicBezTo>
                      <a:pt x="1442" y="703"/>
                      <a:pt x="1430" y="669"/>
                      <a:pt x="1430" y="647"/>
                    </a:cubicBezTo>
                    <a:cubicBezTo>
                      <a:pt x="1430" y="624"/>
                      <a:pt x="1447" y="608"/>
                      <a:pt x="1454" y="595"/>
                    </a:cubicBezTo>
                    <a:cubicBezTo>
                      <a:pt x="1460" y="583"/>
                      <a:pt x="1477" y="553"/>
                      <a:pt x="1492" y="546"/>
                    </a:cubicBezTo>
                    <a:cubicBezTo>
                      <a:pt x="1508" y="539"/>
                      <a:pt x="1527" y="513"/>
                      <a:pt x="1521" y="496"/>
                    </a:cubicBezTo>
                    <a:cubicBezTo>
                      <a:pt x="1515" y="479"/>
                      <a:pt x="1507" y="464"/>
                      <a:pt x="1533" y="449"/>
                    </a:cubicBezTo>
                    <a:cubicBezTo>
                      <a:pt x="1560" y="433"/>
                      <a:pt x="1540" y="413"/>
                      <a:pt x="1533" y="392"/>
                    </a:cubicBezTo>
                    <a:cubicBezTo>
                      <a:pt x="1527" y="372"/>
                      <a:pt x="1524" y="356"/>
                      <a:pt x="1530" y="346"/>
                    </a:cubicBezTo>
                    <a:cubicBezTo>
                      <a:pt x="1537" y="337"/>
                      <a:pt x="1505" y="329"/>
                      <a:pt x="1485" y="337"/>
                    </a:cubicBezTo>
                    <a:cubicBezTo>
                      <a:pt x="1466" y="345"/>
                      <a:pt x="1461" y="382"/>
                      <a:pt x="1434" y="368"/>
                    </a:cubicBezTo>
                    <a:cubicBezTo>
                      <a:pt x="1407" y="354"/>
                      <a:pt x="1428" y="329"/>
                      <a:pt x="1428" y="315"/>
                    </a:cubicBezTo>
                    <a:cubicBezTo>
                      <a:pt x="1428" y="300"/>
                      <a:pt x="1430" y="244"/>
                      <a:pt x="1386" y="270"/>
                    </a:cubicBezTo>
                    <a:cubicBezTo>
                      <a:pt x="1342" y="295"/>
                      <a:pt x="1350" y="319"/>
                      <a:pt x="1335" y="312"/>
                    </a:cubicBezTo>
                    <a:cubicBezTo>
                      <a:pt x="1319" y="304"/>
                      <a:pt x="1318" y="297"/>
                      <a:pt x="1334" y="268"/>
                    </a:cubicBezTo>
                    <a:cubicBezTo>
                      <a:pt x="1349" y="240"/>
                      <a:pt x="1362" y="223"/>
                      <a:pt x="1375" y="206"/>
                    </a:cubicBezTo>
                    <a:cubicBezTo>
                      <a:pt x="1387" y="189"/>
                      <a:pt x="1394" y="170"/>
                      <a:pt x="1387" y="155"/>
                    </a:cubicBezTo>
                    <a:cubicBezTo>
                      <a:pt x="1380" y="139"/>
                      <a:pt x="1385" y="137"/>
                      <a:pt x="1395" y="130"/>
                    </a:cubicBezTo>
                    <a:cubicBezTo>
                      <a:pt x="1405" y="123"/>
                      <a:pt x="1402" y="94"/>
                      <a:pt x="1383" y="99"/>
                    </a:cubicBezTo>
                    <a:cubicBezTo>
                      <a:pt x="1363" y="105"/>
                      <a:pt x="1356" y="112"/>
                      <a:pt x="1352" y="90"/>
                    </a:cubicBezTo>
                    <a:cubicBezTo>
                      <a:pt x="1348" y="69"/>
                      <a:pt x="1348" y="49"/>
                      <a:pt x="1350" y="32"/>
                    </a:cubicBezTo>
                    <a:cubicBezTo>
                      <a:pt x="1352" y="14"/>
                      <a:pt x="1323" y="2"/>
                      <a:pt x="1307" y="7"/>
                    </a:cubicBezTo>
                    <a:cubicBezTo>
                      <a:pt x="1291" y="12"/>
                      <a:pt x="1300" y="21"/>
                      <a:pt x="1274" y="24"/>
                    </a:cubicBezTo>
                    <a:cubicBezTo>
                      <a:pt x="1249" y="27"/>
                      <a:pt x="1234" y="0"/>
                      <a:pt x="1209" y="38"/>
                    </a:cubicBezTo>
                    <a:cubicBezTo>
                      <a:pt x="1183" y="76"/>
                      <a:pt x="1188" y="93"/>
                      <a:pt x="1170" y="86"/>
                    </a:cubicBezTo>
                    <a:cubicBezTo>
                      <a:pt x="1151" y="79"/>
                      <a:pt x="1156" y="64"/>
                      <a:pt x="1146" y="46"/>
                    </a:cubicBezTo>
                    <a:cubicBezTo>
                      <a:pt x="1136" y="29"/>
                      <a:pt x="1112" y="33"/>
                      <a:pt x="1103" y="56"/>
                    </a:cubicBezTo>
                    <a:cubicBezTo>
                      <a:pt x="1094" y="80"/>
                      <a:pt x="1107" y="102"/>
                      <a:pt x="1089" y="112"/>
                    </a:cubicBezTo>
                    <a:cubicBezTo>
                      <a:pt x="1070" y="122"/>
                      <a:pt x="1075" y="122"/>
                      <a:pt x="1060" y="105"/>
                    </a:cubicBezTo>
                    <a:cubicBezTo>
                      <a:pt x="1045" y="87"/>
                      <a:pt x="1005" y="78"/>
                      <a:pt x="981" y="85"/>
                    </a:cubicBezTo>
                    <a:cubicBezTo>
                      <a:pt x="958" y="92"/>
                      <a:pt x="676" y="204"/>
                      <a:pt x="676" y="204"/>
                    </a:cubicBezTo>
                    <a:cubicBezTo>
                      <a:pt x="354" y="177"/>
                      <a:pt x="354" y="177"/>
                      <a:pt x="354" y="177"/>
                    </a:cubicBezTo>
                    <a:cubicBezTo>
                      <a:pt x="0" y="356"/>
                      <a:pt x="0" y="356"/>
                      <a:pt x="0" y="356"/>
                    </a:cubicBezTo>
                    <a:cubicBezTo>
                      <a:pt x="20" y="554"/>
                      <a:pt x="20" y="554"/>
                      <a:pt x="20" y="554"/>
                    </a:cubicBezTo>
                    <a:cubicBezTo>
                      <a:pt x="232" y="675"/>
                      <a:pt x="232" y="675"/>
                      <a:pt x="232" y="675"/>
                    </a:cubicBezTo>
                    <a:cubicBezTo>
                      <a:pt x="266" y="712"/>
                      <a:pt x="266" y="712"/>
                      <a:pt x="266" y="712"/>
                    </a:cubicBezTo>
                    <a:cubicBezTo>
                      <a:pt x="254" y="735"/>
                      <a:pt x="254" y="735"/>
                      <a:pt x="254" y="735"/>
                    </a:cubicBezTo>
                    <a:lnTo>
                      <a:pt x="257" y="74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7" name="Freeform 10"/>
              <p:cNvSpPr/>
              <p:nvPr/>
            </p:nvSpPr>
            <p:spPr bwMode="auto">
              <a:xfrm>
                <a:off x="4531891" y="5086052"/>
                <a:ext cx="660400" cy="592137"/>
              </a:xfrm>
              <a:custGeom>
                <a:avLst/>
                <a:gdLst>
                  <a:gd name="T0" fmla="*/ 212 w 1180"/>
                  <a:gd name="T1" fmla="*/ 1055 h 1058"/>
                  <a:gd name="T2" fmla="*/ 299 w 1180"/>
                  <a:gd name="T3" fmla="*/ 1045 h 1058"/>
                  <a:gd name="T4" fmla="*/ 347 w 1180"/>
                  <a:gd name="T5" fmla="*/ 993 h 1058"/>
                  <a:gd name="T6" fmla="*/ 403 w 1180"/>
                  <a:gd name="T7" fmla="*/ 993 h 1058"/>
                  <a:gd name="T8" fmla="*/ 477 w 1180"/>
                  <a:gd name="T9" fmla="*/ 1018 h 1058"/>
                  <a:gd name="T10" fmla="*/ 531 w 1180"/>
                  <a:gd name="T11" fmla="*/ 1002 h 1058"/>
                  <a:gd name="T12" fmla="*/ 543 w 1180"/>
                  <a:gd name="T13" fmla="*/ 961 h 1058"/>
                  <a:gd name="T14" fmla="*/ 586 w 1180"/>
                  <a:gd name="T15" fmla="*/ 941 h 1058"/>
                  <a:gd name="T16" fmla="*/ 620 w 1180"/>
                  <a:gd name="T17" fmla="*/ 936 h 1058"/>
                  <a:gd name="T18" fmla="*/ 681 w 1180"/>
                  <a:gd name="T19" fmla="*/ 923 h 1058"/>
                  <a:gd name="T20" fmla="*/ 703 w 1180"/>
                  <a:gd name="T21" fmla="*/ 892 h 1058"/>
                  <a:gd name="T22" fmla="*/ 733 w 1180"/>
                  <a:gd name="T23" fmla="*/ 858 h 1058"/>
                  <a:gd name="T24" fmla="*/ 762 w 1180"/>
                  <a:gd name="T25" fmla="*/ 862 h 1058"/>
                  <a:gd name="T26" fmla="*/ 804 w 1180"/>
                  <a:gd name="T27" fmla="*/ 895 h 1058"/>
                  <a:gd name="T28" fmla="*/ 836 w 1180"/>
                  <a:gd name="T29" fmla="*/ 912 h 1058"/>
                  <a:gd name="T30" fmla="*/ 877 w 1180"/>
                  <a:gd name="T31" fmla="*/ 932 h 1058"/>
                  <a:gd name="T32" fmla="*/ 912 w 1180"/>
                  <a:gd name="T33" fmla="*/ 911 h 1058"/>
                  <a:gd name="T34" fmla="*/ 934 w 1180"/>
                  <a:gd name="T35" fmla="*/ 871 h 1058"/>
                  <a:gd name="T36" fmla="*/ 958 w 1180"/>
                  <a:gd name="T37" fmla="*/ 845 h 1058"/>
                  <a:gd name="T38" fmla="*/ 1001 w 1180"/>
                  <a:gd name="T39" fmla="*/ 860 h 1058"/>
                  <a:gd name="T40" fmla="*/ 1020 w 1180"/>
                  <a:gd name="T41" fmla="*/ 856 h 1058"/>
                  <a:gd name="T42" fmla="*/ 1041 w 1180"/>
                  <a:gd name="T43" fmla="*/ 823 h 1058"/>
                  <a:gd name="T44" fmla="*/ 1070 w 1180"/>
                  <a:gd name="T45" fmla="*/ 823 h 1058"/>
                  <a:gd name="T46" fmla="*/ 1095 w 1180"/>
                  <a:gd name="T47" fmla="*/ 802 h 1058"/>
                  <a:gd name="T48" fmla="*/ 1081 w 1180"/>
                  <a:gd name="T49" fmla="*/ 778 h 1058"/>
                  <a:gd name="T50" fmla="*/ 1124 w 1180"/>
                  <a:gd name="T51" fmla="*/ 771 h 1058"/>
                  <a:gd name="T52" fmla="*/ 1156 w 1180"/>
                  <a:gd name="T53" fmla="*/ 752 h 1058"/>
                  <a:gd name="T54" fmla="*/ 1168 w 1180"/>
                  <a:gd name="T55" fmla="*/ 687 h 1058"/>
                  <a:gd name="T56" fmla="*/ 1146 w 1180"/>
                  <a:gd name="T57" fmla="*/ 631 h 1058"/>
                  <a:gd name="T58" fmla="*/ 1154 w 1180"/>
                  <a:gd name="T59" fmla="*/ 580 h 1058"/>
                  <a:gd name="T60" fmla="*/ 1154 w 1180"/>
                  <a:gd name="T61" fmla="*/ 554 h 1058"/>
                  <a:gd name="T62" fmla="*/ 1177 w 1180"/>
                  <a:gd name="T63" fmla="*/ 515 h 1058"/>
                  <a:gd name="T64" fmla="*/ 1161 w 1180"/>
                  <a:gd name="T65" fmla="*/ 479 h 1058"/>
                  <a:gd name="T66" fmla="*/ 1100 w 1180"/>
                  <a:gd name="T67" fmla="*/ 487 h 1058"/>
                  <a:gd name="T68" fmla="*/ 1049 w 1180"/>
                  <a:gd name="T69" fmla="*/ 501 h 1058"/>
                  <a:gd name="T70" fmla="*/ 1065 w 1180"/>
                  <a:gd name="T71" fmla="*/ 468 h 1058"/>
                  <a:gd name="T72" fmla="*/ 1117 w 1180"/>
                  <a:gd name="T73" fmla="*/ 427 h 1058"/>
                  <a:gd name="T74" fmla="*/ 1158 w 1180"/>
                  <a:gd name="T75" fmla="*/ 359 h 1058"/>
                  <a:gd name="T76" fmla="*/ 1134 w 1180"/>
                  <a:gd name="T77" fmla="*/ 284 h 1058"/>
                  <a:gd name="T78" fmla="*/ 1129 w 1180"/>
                  <a:gd name="T79" fmla="*/ 250 h 1058"/>
                  <a:gd name="T80" fmla="*/ 1120 w 1180"/>
                  <a:gd name="T81" fmla="*/ 198 h 1058"/>
                  <a:gd name="T82" fmla="*/ 1078 w 1180"/>
                  <a:gd name="T83" fmla="*/ 169 h 1058"/>
                  <a:gd name="T84" fmla="*/ 992 w 1180"/>
                  <a:gd name="T85" fmla="*/ 83 h 1058"/>
                  <a:gd name="T86" fmla="*/ 841 w 1180"/>
                  <a:gd name="T87" fmla="*/ 0 h 1058"/>
                  <a:gd name="T88" fmla="*/ 725 w 1180"/>
                  <a:gd name="T89" fmla="*/ 25 h 1058"/>
                  <a:gd name="T90" fmla="*/ 567 w 1180"/>
                  <a:gd name="T91" fmla="*/ 74 h 1058"/>
                  <a:gd name="T92" fmla="*/ 391 w 1180"/>
                  <a:gd name="T93" fmla="*/ 133 h 1058"/>
                  <a:gd name="T94" fmla="*/ 276 w 1180"/>
                  <a:gd name="T95" fmla="*/ 387 h 1058"/>
                  <a:gd name="T96" fmla="*/ 21 w 1180"/>
                  <a:gd name="T97" fmla="*/ 422 h 1058"/>
                  <a:gd name="T98" fmla="*/ 0 w 1180"/>
                  <a:gd name="T99" fmla="*/ 498 h 1058"/>
                  <a:gd name="T100" fmla="*/ 80 w 1180"/>
                  <a:gd name="T101" fmla="*/ 819 h 1058"/>
                  <a:gd name="T102" fmla="*/ 170 w 1180"/>
                  <a:gd name="T103" fmla="*/ 1044 h 1058"/>
                  <a:gd name="T104" fmla="*/ 212 w 1180"/>
                  <a:gd name="T105" fmla="*/ 1055 h 10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80" h="1058">
                    <a:moveTo>
                      <a:pt x="212" y="1055"/>
                    </a:moveTo>
                    <a:cubicBezTo>
                      <a:pt x="212" y="1055"/>
                      <a:pt x="283" y="1058"/>
                      <a:pt x="299" y="1045"/>
                    </a:cubicBezTo>
                    <a:cubicBezTo>
                      <a:pt x="315" y="1031"/>
                      <a:pt x="343" y="1010"/>
                      <a:pt x="347" y="993"/>
                    </a:cubicBezTo>
                    <a:cubicBezTo>
                      <a:pt x="352" y="976"/>
                      <a:pt x="373" y="975"/>
                      <a:pt x="403" y="993"/>
                    </a:cubicBezTo>
                    <a:cubicBezTo>
                      <a:pt x="434" y="1011"/>
                      <a:pt x="456" y="1012"/>
                      <a:pt x="477" y="1018"/>
                    </a:cubicBezTo>
                    <a:cubicBezTo>
                      <a:pt x="497" y="1024"/>
                      <a:pt x="530" y="1021"/>
                      <a:pt x="531" y="1002"/>
                    </a:cubicBezTo>
                    <a:cubicBezTo>
                      <a:pt x="533" y="983"/>
                      <a:pt x="519" y="970"/>
                      <a:pt x="543" y="961"/>
                    </a:cubicBezTo>
                    <a:cubicBezTo>
                      <a:pt x="567" y="951"/>
                      <a:pt x="580" y="946"/>
                      <a:pt x="586" y="941"/>
                    </a:cubicBezTo>
                    <a:cubicBezTo>
                      <a:pt x="592" y="936"/>
                      <a:pt x="610" y="951"/>
                      <a:pt x="620" y="936"/>
                    </a:cubicBezTo>
                    <a:cubicBezTo>
                      <a:pt x="630" y="922"/>
                      <a:pt x="666" y="927"/>
                      <a:pt x="681" y="923"/>
                    </a:cubicBezTo>
                    <a:cubicBezTo>
                      <a:pt x="696" y="920"/>
                      <a:pt x="700" y="910"/>
                      <a:pt x="703" y="892"/>
                    </a:cubicBezTo>
                    <a:cubicBezTo>
                      <a:pt x="705" y="873"/>
                      <a:pt x="712" y="865"/>
                      <a:pt x="733" y="858"/>
                    </a:cubicBezTo>
                    <a:cubicBezTo>
                      <a:pt x="753" y="851"/>
                      <a:pt x="747" y="846"/>
                      <a:pt x="762" y="862"/>
                    </a:cubicBezTo>
                    <a:cubicBezTo>
                      <a:pt x="777" y="879"/>
                      <a:pt x="790" y="886"/>
                      <a:pt x="804" y="895"/>
                    </a:cubicBezTo>
                    <a:cubicBezTo>
                      <a:pt x="817" y="903"/>
                      <a:pt x="820" y="894"/>
                      <a:pt x="836" y="912"/>
                    </a:cubicBezTo>
                    <a:cubicBezTo>
                      <a:pt x="852" y="931"/>
                      <a:pt x="868" y="949"/>
                      <a:pt x="877" y="932"/>
                    </a:cubicBezTo>
                    <a:cubicBezTo>
                      <a:pt x="886" y="915"/>
                      <a:pt x="895" y="912"/>
                      <a:pt x="912" y="911"/>
                    </a:cubicBezTo>
                    <a:cubicBezTo>
                      <a:pt x="929" y="910"/>
                      <a:pt x="934" y="892"/>
                      <a:pt x="934" y="871"/>
                    </a:cubicBezTo>
                    <a:cubicBezTo>
                      <a:pt x="934" y="850"/>
                      <a:pt x="943" y="852"/>
                      <a:pt x="958" y="845"/>
                    </a:cubicBezTo>
                    <a:cubicBezTo>
                      <a:pt x="973" y="839"/>
                      <a:pt x="983" y="837"/>
                      <a:pt x="1001" y="860"/>
                    </a:cubicBezTo>
                    <a:cubicBezTo>
                      <a:pt x="1018" y="882"/>
                      <a:pt x="1020" y="878"/>
                      <a:pt x="1020" y="856"/>
                    </a:cubicBezTo>
                    <a:cubicBezTo>
                      <a:pt x="1020" y="834"/>
                      <a:pt x="1029" y="828"/>
                      <a:pt x="1041" y="823"/>
                    </a:cubicBezTo>
                    <a:cubicBezTo>
                      <a:pt x="1054" y="817"/>
                      <a:pt x="1049" y="813"/>
                      <a:pt x="1070" y="823"/>
                    </a:cubicBezTo>
                    <a:cubicBezTo>
                      <a:pt x="1091" y="832"/>
                      <a:pt x="1103" y="811"/>
                      <a:pt x="1095" y="802"/>
                    </a:cubicBezTo>
                    <a:cubicBezTo>
                      <a:pt x="1087" y="792"/>
                      <a:pt x="1072" y="791"/>
                      <a:pt x="1081" y="778"/>
                    </a:cubicBezTo>
                    <a:cubicBezTo>
                      <a:pt x="1090" y="766"/>
                      <a:pt x="1098" y="762"/>
                      <a:pt x="1124" y="771"/>
                    </a:cubicBezTo>
                    <a:cubicBezTo>
                      <a:pt x="1150" y="780"/>
                      <a:pt x="1145" y="773"/>
                      <a:pt x="1156" y="752"/>
                    </a:cubicBezTo>
                    <a:cubicBezTo>
                      <a:pt x="1168" y="731"/>
                      <a:pt x="1180" y="709"/>
                      <a:pt x="1168" y="687"/>
                    </a:cubicBezTo>
                    <a:cubicBezTo>
                      <a:pt x="1156" y="665"/>
                      <a:pt x="1129" y="649"/>
                      <a:pt x="1146" y="631"/>
                    </a:cubicBezTo>
                    <a:cubicBezTo>
                      <a:pt x="1163" y="613"/>
                      <a:pt x="1164" y="588"/>
                      <a:pt x="1154" y="580"/>
                    </a:cubicBezTo>
                    <a:cubicBezTo>
                      <a:pt x="1144" y="571"/>
                      <a:pt x="1135" y="565"/>
                      <a:pt x="1154" y="554"/>
                    </a:cubicBezTo>
                    <a:cubicBezTo>
                      <a:pt x="1172" y="544"/>
                      <a:pt x="1173" y="532"/>
                      <a:pt x="1177" y="515"/>
                    </a:cubicBezTo>
                    <a:cubicBezTo>
                      <a:pt x="1180" y="498"/>
                      <a:pt x="1171" y="485"/>
                      <a:pt x="1161" y="479"/>
                    </a:cubicBezTo>
                    <a:cubicBezTo>
                      <a:pt x="1151" y="473"/>
                      <a:pt x="1123" y="478"/>
                      <a:pt x="1100" y="487"/>
                    </a:cubicBezTo>
                    <a:cubicBezTo>
                      <a:pt x="1076" y="497"/>
                      <a:pt x="1061" y="522"/>
                      <a:pt x="1049" y="501"/>
                    </a:cubicBezTo>
                    <a:cubicBezTo>
                      <a:pt x="1037" y="481"/>
                      <a:pt x="1048" y="480"/>
                      <a:pt x="1065" y="468"/>
                    </a:cubicBezTo>
                    <a:cubicBezTo>
                      <a:pt x="1082" y="457"/>
                      <a:pt x="1098" y="440"/>
                      <a:pt x="1117" y="427"/>
                    </a:cubicBezTo>
                    <a:cubicBezTo>
                      <a:pt x="1137" y="415"/>
                      <a:pt x="1162" y="384"/>
                      <a:pt x="1158" y="359"/>
                    </a:cubicBezTo>
                    <a:cubicBezTo>
                      <a:pt x="1155" y="334"/>
                      <a:pt x="1130" y="297"/>
                      <a:pt x="1134" y="284"/>
                    </a:cubicBezTo>
                    <a:cubicBezTo>
                      <a:pt x="1137" y="272"/>
                      <a:pt x="1119" y="271"/>
                      <a:pt x="1129" y="250"/>
                    </a:cubicBezTo>
                    <a:cubicBezTo>
                      <a:pt x="1139" y="230"/>
                      <a:pt x="1121" y="214"/>
                      <a:pt x="1120" y="198"/>
                    </a:cubicBezTo>
                    <a:cubicBezTo>
                      <a:pt x="1119" y="181"/>
                      <a:pt x="1097" y="165"/>
                      <a:pt x="1078" y="169"/>
                    </a:cubicBezTo>
                    <a:cubicBezTo>
                      <a:pt x="1060" y="173"/>
                      <a:pt x="992" y="83"/>
                      <a:pt x="992" y="83"/>
                    </a:cubicBezTo>
                    <a:cubicBezTo>
                      <a:pt x="841" y="0"/>
                      <a:pt x="841" y="0"/>
                      <a:pt x="841" y="0"/>
                    </a:cubicBezTo>
                    <a:cubicBezTo>
                      <a:pt x="725" y="25"/>
                      <a:pt x="725" y="25"/>
                      <a:pt x="725" y="25"/>
                    </a:cubicBezTo>
                    <a:cubicBezTo>
                      <a:pt x="567" y="74"/>
                      <a:pt x="567" y="74"/>
                      <a:pt x="567" y="74"/>
                    </a:cubicBezTo>
                    <a:cubicBezTo>
                      <a:pt x="391" y="133"/>
                      <a:pt x="391" y="133"/>
                      <a:pt x="391" y="133"/>
                    </a:cubicBezTo>
                    <a:cubicBezTo>
                      <a:pt x="276" y="387"/>
                      <a:pt x="276" y="387"/>
                      <a:pt x="276" y="387"/>
                    </a:cubicBezTo>
                    <a:cubicBezTo>
                      <a:pt x="21" y="422"/>
                      <a:pt x="21" y="422"/>
                      <a:pt x="21" y="422"/>
                    </a:cubicBezTo>
                    <a:cubicBezTo>
                      <a:pt x="0" y="498"/>
                      <a:pt x="0" y="498"/>
                      <a:pt x="0" y="498"/>
                    </a:cubicBezTo>
                    <a:cubicBezTo>
                      <a:pt x="80" y="819"/>
                      <a:pt x="80" y="819"/>
                      <a:pt x="80" y="819"/>
                    </a:cubicBezTo>
                    <a:cubicBezTo>
                      <a:pt x="170" y="1044"/>
                      <a:pt x="170" y="1044"/>
                      <a:pt x="170" y="1044"/>
                    </a:cubicBezTo>
                    <a:lnTo>
                      <a:pt x="212" y="1055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8" name="Freeform 11"/>
              <p:cNvSpPr/>
              <p:nvPr/>
            </p:nvSpPr>
            <p:spPr bwMode="auto">
              <a:xfrm>
                <a:off x="4716041" y="4714577"/>
                <a:ext cx="568325" cy="514350"/>
              </a:xfrm>
              <a:custGeom>
                <a:avLst/>
                <a:gdLst>
                  <a:gd name="T0" fmla="*/ 234 w 1016"/>
                  <a:gd name="T1" fmla="*/ 858 h 920"/>
                  <a:gd name="T2" fmla="*/ 259 w 1016"/>
                  <a:gd name="T3" fmla="*/ 836 h 920"/>
                  <a:gd name="T4" fmla="*/ 276 w 1016"/>
                  <a:gd name="T5" fmla="*/ 824 h 920"/>
                  <a:gd name="T6" fmla="*/ 291 w 1016"/>
                  <a:gd name="T7" fmla="*/ 871 h 920"/>
                  <a:gd name="T8" fmla="*/ 307 w 1016"/>
                  <a:gd name="T9" fmla="*/ 827 h 920"/>
                  <a:gd name="T10" fmla="*/ 331 w 1016"/>
                  <a:gd name="T11" fmla="*/ 788 h 920"/>
                  <a:gd name="T12" fmla="*/ 396 w 1016"/>
                  <a:gd name="T13" fmla="*/ 795 h 920"/>
                  <a:gd name="T14" fmla="*/ 430 w 1016"/>
                  <a:gd name="T15" fmla="*/ 780 h 920"/>
                  <a:gd name="T16" fmla="*/ 430 w 1016"/>
                  <a:gd name="T17" fmla="*/ 738 h 920"/>
                  <a:gd name="T18" fmla="*/ 444 w 1016"/>
                  <a:gd name="T19" fmla="*/ 706 h 920"/>
                  <a:gd name="T20" fmla="*/ 501 w 1016"/>
                  <a:gd name="T21" fmla="*/ 725 h 920"/>
                  <a:gd name="T22" fmla="*/ 516 w 1016"/>
                  <a:gd name="T23" fmla="*/ 754 h 920"/>
                  <a:gd name="T24" fmla="*/ 552 w 1016"/>
                  <a:gd name="T25" fmla="*/ 734 h 920"/>
                  <a:gd name="T26" fmla="*/ 613 w 1016"/>
                  <a:gd name="T27" fmla="*/ 770 h 920"/>
                  <a:gd name="T28" fmla="*/ 640 w 1016"/>
                  <a:gd name="T29" fmla="*/ 793 h 920"/>
                  <a:gd name="T30" fmla="*/ 649 w 1016"/>
                  <a:gd name="T31" fmla="*/ 847 h 920"/>
                  <a:gd name="T32" fmla="*/ 685 w 1016"/>
                  <a:gd name="T33" fmla="*/ 853 h 920"/>
                  <a:gd name="T34" fmla="*/ 685 w 1016"/>
                  <a:gd name="T35" fmla="*/ 908 h 920"/>
                  <a:gd name="T36" fmla="*/ 758 w 1016"/>
                  <a:gd name="T37" fmla="*/ 888 h 920"/>
                  <a:gd name="T38" fmla="*/ 780 w 1016"/>
                  <a:gd name="T39" fmla="*/ 809 h 920"/>
                  <a:gd name="T40" fmla="*/ 763 w 1016"/>
                  <a:gd name="T41" fmla="*/ 673 h 920"/>
                  <a:gd name="T42" fmla="*/ 758 w 1016"/>
                  <a:gd name="T43" fmla="*/ 469 h 920"/>
                  <a:gd name="T44" fmla="*/ 1015 w 1016"/>
                  <a:gd name="T45" fmla="*/ 276 h 920"/>
                  <a:gd name="T46" fmla="*/ 980 w 1016"/>
                  <a:gd name="T47" fmla="*/ 89 h 920"/>
                  <a:gd name="T48" fmla="*/ 750 w 1016"/>
                  <a:gd name="T49" fmla="*/ 44 h 920"/>
                  <a:gd name="T50" fmla="*/ 613 w 1016"/>
                  <a:gd name="T51" fmla="*/ 0 h 920"/>
                  <a:gd name="T52" fmla="*/ 563 w 1016"/>
                  <a:gd name="T53" fmla="*/ 72 h 920"/>
                  <a:gd name="T54" fmla="*/ 426 w 1016"/>
                  <a:gd name="T55" fmla="*/ 264 h 920"/>
                  <a:gd name="T56" fmla="*/ 71 w 1016"/>
                  <a:gd name="T57" fmla="*/ 382 h 920"/>
                  <a:gd name="T58" fmla="*/ 0 w 1016"/>
                  <a:gd name="T59" fmla="*/ 576 h 920"/>
                  <a:gd name="T60" fmla="*/ 25 w 1016"/>
                  <a:gd name="T61" fmla="*/ 772 h 920"/>
                  <a:gd name="T62" fmla="*/ 130 w 1016"/>
                  <a:gd name="T63" fmla="*/ 795 h 920"/>
                  <a:gd name="T64" fmla="*/ 186 w 1016"/>
                  <a:gd name="T65" fmla="*/ 810 h 920"/>
                  <a:gd name="T66" fmla="*/ 222 w 1016"/>
                  <a:gd name="T67" fmla="*/ 844 h 920"/>
                  <a:gd name="T68" fmla="*/ 234 w 1016"/>
                  <a:gd name="T69" fmla="*/ 858 h 9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16" h="920">
                    <a:moveTo>
                      <a:pt x="234" y="858"/>
                    </a:moveTo>
                    <a:cubicBezTo>
                      <a:pt x="234" y="858"/>
                      <a:pt x="260" y="858"/>
                      <a:pt x="259" y="836"/>
                    </a:cubicBezTo>
                    <a:cubicBezTo>
                      <a:pt x="258" y="815"/>
                      <a:pt x="272" y="804"/>
                      <a:pt x="276" y="824"/>
                    </a:cubicBezTo>
                    <a:cubicBezTo>
                      <a:pt x="280" y="843"/>
                      <a:pt x="274" y="868"/>
                      <a:pt x="291" y="871"/>
                    </a:cubicBezTo>
                    <a:cubicBezTo>
                      <a:pt x="307" y="874"/>
                      <a:pt x="310" y="842"/>
                      <a:pt x="307" y="827"/>
                    </a:cubicBezTo>
                    <a:cubicBezTo>
                      <a:pt x="304" y="812"/>
                      <a:pt x="306" y="787"/>
                      <a:pt x="331" y="788"/>
                    </a:cubicBezTo>
                    <a:cubicBezTo>
                      <a:pt x="355" y="789"/>
                      <a:pt x="385" y="787"/>
                      <a:pt x="396" y="795"/>
                    </a:cubicBezTo>
                    <a:cubicBezTo>
                      <a:pt x="407" y="803"/>
                      <a:pt x="424" y="791"/>
                      <a:pt x="430" y="780"/>
                    </a:cubicBezTo>
                    <a:cubicBezTo>
                      <a:pt x="436" y="769"/>
                      <a:pt x="432" y="750"/>
                      <a:pt x="430" y="738"/>
                    </a:cubicBezTo>
                    <a:cubicBezTo>
                      <a:pt x="428" y="725"/>
                      <a:pt x="424" y="699"/>
                      <a:pt x="444" y="706"/>
                    </a:cubicBezTo>
                    <a:cubicBezTo>
                      <a:pt x="465" y="713"/>
                      <a:pt x="512" y="712"/>
                      <a:pt x="501" y="725"/>
                    </a:cubicBezTo>
                    <a:cubicBezTo>
                      <a:pt x="489" y="739"/>
                      <a:pt x="506" y="755"/>
                      <a:pt x="516" y="754"/>
                    </a:cubicBezTo>
                    <a:cubicBezTo>
                      <a:pt x="526" y="753"/>
                      <a:pt x="530" y="732"/>
                      <a:pt x="552" y="734"/>
                    </a:cubicBezTo>
                    <a:cubicBezTo>
                      <a:pt x="573" y="736"/>
                      <a:pt x="596" y="764"/>
                      <a:pt x="613" y="770"/>
                    </a:cubicBezTo>
                    <a:cubicBezTo>
                      <a:pt x="630" y="775"/>
                      <a:pt x="635" y="774"/>
                      <a:pt x="640" y="793"/>
                    </a:cubicBezTo>
                    <a:cubicBezTo>
                      <a:pt x="645" y="813"/>
                      <a:pt x="634" y="832"/>
                      <a:pt x="649" y="847"/>
                    </a:cubicBezTo>
                    <a:cubicBezTo>
                      <a:pt x="665" y="863"/>
                      <a:pt x="679" y="831"/>
                      <a:pt x="685" y="853"/>
                    </a:cubicBezTo>
                    <a:cubicBezTo>
                      <a:pt x="691" y="874"/>
                      <a:pt x="659" y="896"/>
                      <a:pt x="685" y="908"/>
                    </a:cubicBezTo>
                    <a:cubicBezTo>
                      <a:pt x="712" y="920"/>
                      <a:pt x="751" y="911"/>
                      <a:pt x="758" y="888"/>
                    </a:cubicBezTo>
                    <a:cubicBezTo>
                      <a:pt x="765" y="866"/>
                      <a:pt x="779" y="828"/>
                      <a:pt x="780" y="809"/>
                    </a:cubicBezTo>
                    <a:cubicBezTo>
                      <a:pt x="781" y="790"/>
                      <a:pt x="777" y="701"/>
                      <a:pt x="763" y="673"/>
                    </a:cubicBezTo>
                    <a:cubicBezTo>
                      <a:pt x="749" y="646"/>
                      <a:pt x="758" y="469"/>
                      <a:pt x="758" y="469"/>
                    </a:cubicBezTo>
                    <a:cubicBezTo>
                      <a:pt x="758" y="469"/>
                      <a:pt x="1016" y="282"/>
                      <a:pt x="1015" y="276"/>
                    </a:cubicBezTo>
                    <a:cubicBezTo>
                      <a:pt x="1014" y="269"/>
                      <a:pt x="980" y="89"/>
                      <a:pt x="980" y="89"/>
                    </a:cubicBezTo>
                    <a:cubicBezTo>
                      <a:pt x="750" y="44"/>
                      <a:pt x="750" y="44"/>
                      <a:pt x="750" y="44"/>
                    </a:cubicBezTo>
                    <a:cubicBezTo>
                      <a:pt x="613" y="0"/>
                      <a:pt x="613" y="0"/>
                      <a:pt x="613" y="0"/>
                    </a:cubicBezTo>
                    <a:cubicBezTo>
                      <a:pt x="563" y="72"/>
                      <a:pt x="563" y="72"/>
                      <a:pt x="563" y="72"/>
                    </a:cubicBezTo>
                    <a:cubicBezTo>
                      <a:pt x="426" y="264"/>
                      <a:pt x="426" y="264"/>
                      <a:pt x="426" y="264"/>
                    </a:cubicBezTo>
                    <a:cubicBezTo>
                      <a:pt x="71" y="382"/>
                      <a:pt x="71" y="382"/>
                      <a:pt x="71" y="382"/>
                    </a:cubicBezTo>
                    <a:cubicBezTo>
                      <a:pt x="0" y="576"/>
                      <a:pt x="0" y="576"/>
                      <a:pt x="0" y="576"/>
                    </a:cubicBezTo>
                    <a:cubicBezTo>
                      <a:pt x="25" y="772"/>
                      <a:pt x="25" y="772"/>
                      <a:pt x="25" y="772"/>
                    </a:cubicBezTo>
                    <a:cubicBezTo>
                      <a:pt x="130" y="795"/>
                      <a:pt x="130" y="795"/>
                      <a:pt x="130" y="795"/>
                    </a:cubicBezTo>
                    <a:cubicBezTo>
                      <a:pt x="186" y="810"/>
                      <a:pt x="186" y="810"/>
                      <a:pt x="186" y="810"/>
                    </a:cubicBezTo>
                    <a:cubicBezTo>
                      <a:pt x="222" y="844"/>
                      <a:pt x="222" y="844"/>
                      <a:pt x="222" y="844"/>
                    </a:cubicBezTo>
                    <a:lnTo>
                      <a:pt x="234" y="858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19" name="Freeform 12"/>
              <p:cNvSpPr/>
              <p:nvPr/>
            </p:nvSpPr>
            <p:spPr bwMode="auto">
              <a:xfrm>
                <a:off x="5046241" y="4563765"/>
                <a:ext cx="849313" cy="557212"/>
              </a:xfrm>
              <a:custGeom>
                <a:avLst/>
                <a:gdLst>
                  <a:gd name="T0" fmla="*/ 222 w 1517"/>
                  <a:gd name="T1" fmla="*/ 392 h 996"/>
                  <a:gd name="T2" fmla="*/ 266 w 1517"/>
                  <a:gd name="T3" fmla="*/ 392 h 996"/>
                  <a:gd name="T4" fmla="*/ 297 w 1517"/>
                  <a:gd name="T5" fmla="*/ 408 h 996"/>
                  <a:gd name="T6" fmla="*/ 309 w 1517"/>
                  <a:gd name="T7" fmla="*/ 451 h 996"/>
                  <a:gd name="T8" fmla="*/ 331 w 1517"/>
                  <a:gd name="T9" fmla="*/ 526 h 996"/>
                  <a:gd name="T10" fmla="*/ 334 w 1517"/>
                  <a:gd name="T11" fmla="*/ 572 h 996"/>
                  <a:gd name="T12" fmla="*/ 301 w 1517"/>
                  <a:gd name="T13" fmla="*/ 590 h 996"/>
                  <a:gd name="T14" fmla="*/ 241 w 1517"/>
                  <a:gd name="T15" fmla="*/ 620 h 996"/>
                  <a:gd name="T16" fmla="*/ 179 w 1517"/>
                  <a:gd name="T17" fmla="*/ 660 h 996"/>
                  <a:gd name="T18" fmla="*/ 96 w 1517"/>
                  <a:gd name="T19" fmla="*/ 673 h 996"/>
                  <a:gd name="T20" fmla="*/ 30 w 1517"/>
                  <a:gd name="T21" fmla="*/ 690 h 996"/>
                  <a:gd name="T22" fmla="*/ 23 w 1517"/>
                  <a:gd name="T23" fmla="*/ 720 h 996"/>
                  <a:gd name="T24" fmla="*/ 41 w 1517"/>
                  <a:gd name="T25" fmla="*/ 760 h 996"/>
                  <a:gd name="T26" fmla="*/ 62 w 1517"/>
                  <a:gd name="T27" fmla="*/ 842 h 996"/>
                  <a:gd name="T28" fmla="*/ 109 w 1517"/>
                  <a:gd name="T29" fmla="*/ 884 h 996"/>
                  <a:gd name="T30" fmla="*/ 140 w 1517"/>
                  <a:gd name="T31" fmla="*/ 946 h 996"/>
                  <a:gd name="T32" fmla="*/ 185 w 1517"/>
                  <a:gd name="T33" fmla="*/ 964 h 996"/>
                  <a:gd name="T34" fmla="*/ 214 w 1517"/>
                  <a:gd name="T35" fmla="*/ 887 h 996"/>
                  <a:gd name="T36" fmla="*/ 270 w 1517"/>
                  <a:gd name="T37" fmla="*/ 850 h 996"/>
                  <a:gd name="T38" fmla="*/ 332 w 1517"/>
                  <a:gd name="T39" fmla="*/ 835 h 996"/>
                  <a:gd name="T40" fmla="*/ 380 w 1517"/>
                  <a:gd name="T41" fmla="*/ 863 h 996"/>
                  <a:gd name="T42" fmla="*/ 436 w 1517"/>
                  <a:gd name="T43" fmla="*/ 819 h 996"/>
                  <a:gd name="T44" fmla="*/ 418 w 1517"/>
                  <a:gd name="T45" fmla="*/ 764 h 996"/>
                  <a:gd name="T46" fmla="*/ 461 w 1517"/>
                  <a:gd name="T47" fmla="*/ 749 h 996"/>
                  <a:gd name="T48" fmla="*/ 505 w 1517"/>
                  <a:gd name="T49" fmla="*/ 757 h 996"/>
                  <a:gd name="T50" fmla="*/ 547 w 1517"/>
                  <a:gd name="T51" fmla="*/ 767 h 996"/>
                  <a:gd name="T52" fmla="*/ 623 w 1517"/>
                  <a:gd name="T53" fmla="*/ 789 h 996"/>
                  <a:gd name="T54" fmla="*/ 689 w 1517"/>
                  <a:gd name="T55" fmla="*/ 809 h 996"/>
                  <a:gd name="T56" fmla="*/ 739 w 1517"/>
                  <a:gd name="T57" fmla="*/ 839 h 996"/>
                  <a:gd name="T58" fmla="*/ 797 w 1517"/>
                  <a:gd name="T59" fmla="*/ 831 h 996"/>
                  <a:gd name="T60" fmla="*/ 858 w 1517"/>
                  <a:gd name="T61" fmla="*/ 798 h 996"/>
                  <a:gd name="T62" fmla="*/ 858 w 1517"/>
                  <a:gd name="T63" fmla="*/ 839 h 996"/>
                  <a:gd name="T64" fmla="*/ 908 w 1517"/>
                  <a:gd name="T65" fmla="*/ 856 h 996"/>
                  <a:gd name="T66" fmla="*/ 944 w 1517"/>
                  <a:gd name="T67" fmla="*/ 804 h 996"/>
                  <a:gd name="T68" fmla="*/ 991 w 1517"/>
                  <a:gd name="T69" fmla="*/ 798 h 996"/>
                  <a:gd name="T70" fmla="*/ 1011 w 1517"/>
                  <a:gd name="T71" fmla="*/ 842 h 996"/>
                  <a:gd name="T72" fmla="*/ 1029 w 1517"/>
                  <a:gd name="T73" fmla="*/ 926 h 996"/>
                  <a:gd name="T74" fmla="*/ 1061 w 1517"/>
                  <a:gd name="T75" fmla="*/ 945 h 996"/>
                  <a:gd name="T76" fmla="*/ 1106 w 1517"/>
                  <a:gd name="T77" fmla="*/ 903 h 996"/>
                  <a:gd name="T78" fmla="*/ 1133 w 1517"/>
                  <a:gd name="T79" fmla="*/ 875 h 996"/>
                  <a:gd name="T80" fmla="*/ 1166 w 1517"/>
                  <a:gd name="T81" fmla="*/ 866 h 996"/>
                  <a:gd name="T82" fmla="*/ 1216 w 1517"/>
                  <a:gd name="T83" fmla="*/ 852 h 996"/>
                  <a:gd name="T84" fmla="*/ 1259 w 1517"/>
                  <a:gd name="T85" fmla="*/ 806 h 996"/>
                  <a:gd name="T86" fmla="*/ 1313 w 1517"/>
                  <a:gd name="T87" fmla="*/ 787 h 996"/>
                  <a:gd name="T88" fmla="*/ 1375 w 1517"/>
                  <a:gd name="T89" fmla="*/ 749 h 996"/>
                  <a:gd name="T90" fmla="*/ 1420 w 1517"/>
                  <a:gd name="T91" fmla="*/ 756 h 996"/>
                  <a:gd name="T92" fmla="*/ 1506 w 1517"/>
                  <a:gd name="T93" fmla="*/ 710 h 996"/>
                  <a:gd name="T94" fmla="*/ 1517 w 1517"/>
                  <a:gd name="T95" fmla="*/ 435 h 996"/>
                  <a:gd name="T96" fmla="*/ 1179 w 1517"/>
                  <a:gd name="T97" fmla="*/ 220 h 996"/>
                  <a:gd name="T98" fmla="*/ 694 w 1517"/>
                  <a:gd name="T99" fmla="*/ 43 h 996"/>
                  <a:gd name="T100" fmla="*/ 367 w 1517"/>
                  <a:gd name="T101" fmla="*/ 0 h 996"/>
                  <a:gd name="T102" fmla="*/ 110 w 1517"/>
                  <a:gd name="T103" fmla="*/ 36 h 996"/>
                  <a:gd name="T104" fmla="*/ 73 w 1517"/>
                  <a:gd name="T105" fmla="*/ 162 h 996"/>
                  <a:gd name="T106" fmla="*/ 170 w 1517"/>
                  <a:gd name="T107" fmla="*/ 353 h 996"/>
                  <a:gd name="T108" fmla="*/ 222 w 1517"/>
                  <a:gd name="T109" fmla="*/ 392 h 9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517" h="996">
                    <a:moveTo>
                      <a:pt x="222" y="392"/>
                    </a:moveTo>
                    <a:cubicBezTo>
                      <a:pt x="222" y="392"/>
                      <a:pt x="248" y="389"/>
                      <a:pt x="266" y="392"/>
                    </a:cubicBezTo>
                    <a:cubicBezTo>
                      <a:pt x="284" y="395"/>
                      <a:pt x="306" y="384"/>
                      <a:pt x="297" y="408"/>
                    </a:cubicBezTo>
                    <a:cubicBezTo>
                      <a:pt x="289" y="432"/>
                      <a:pt x="283" y="432"/>
                      <a:pt x="309" y="451"/>
                    </a:cubicBezTo>
                    <a:cubicBezTo>
                      <a:pt x="335" y="470"/>
                      <a:pt x="338" y="503"/>
                      <a:pt x="331" y="526"/>
                    </a:cubicBezTo>
                    <a:cubicBezTo>
                      <a:pt x="324" y="550"/>
                      <a:pt x="341" y="557"/>
                      <a:pt x="334" y="572"/>
                    </a:cubicBezTo>
                    <a:cubicBezTo>
                      <a:pt x="327" y="588"/>
                      <a:pt x="327" y="594"/>
                      <a:pt x="301" y="590"/>
                    </a:cubicBezTo>
                    <a:cubicBezTo>
                      <a:pt x="276" y="586"/>
                      <a:pt x="259" y="600"/>
                      <a:pt x="241" y="620"/>
                    </a:cubicBezTo>
                    <a:cubicBezTo>
                      <a:pt x="224" y="640"/>
                      <a:pt x="209" y="660"/>
                      <a:pt x="179" y="660"/>
                    </a:cubicBezTo>
                    <a:cubicBezTo>
                      <a:pt x="148" y="660"/>
                      <a:pt x="112" y="665"/>
                      <a:pt x="96" y="673"/>
                    </a:cubicBezTo>
                    <a:cubicBezTo>
                      <a:pt x="80" y="682"/>
                      <a:pt x="54" y="687"/>
                      <a:pt x="30" y="690"/>
                    </a:cubicBezTo>
                    <a:cubicBezTo>
                      <a:pt x="7" y="692"/>
                      <a:pt x="0" y="705"/>
                      <a:pt x="23" y="720"/>
                    </a:cubicBezTo>
                    <a:cubicBezTo>
                      <a:pt x="47" y="735"/>
                      <a:pt x="44" y="733"/>
                      <a:pt x="41" y="760"/>
                    </a:cubicBezTo>
                    <a:cubicBezTo>
                      <a:pt x="38" y="787"/>
                      <a:pt x="47" y="825"/>
                      <a:pt x="62" y="842"/>
                    </a:cubicBezTo>
                    <a:cubicBezTo>
                      <a:pt x="78" y="859"/>
                      <a:pt x="100" y="862"/>
                      <a:pt x="109" y="884"/>
                    </a:cubicBezTo>
                    <a:cubicBezTo>
                      <a:pt x="118" y="906"/>
                      <a:pt x="122" y="930"/>
                      <a:pt x="140" y="946"/>
                    </a:cubicBezTo>
                    <a:cubicBezTo>
                      <a:pt x="158" y="962"/>
                      <a:pt x="176" y="996"/>
                      <a:pt x="185" y="964"/>
                    </a:cubicBezTo>
                    <a:cubicBezTo>
                      <a:pt x="193" y="932"/>
                      <a:pt x="198" y="904"/>
                      <a:pt x="214" y="887"/>
                    </a:cubicBezTo>
                    <a:cubicBezTo>
                      <a:pt x="230" y="871"/>
                      <a:pt x="243" y="865"/>
                      <a:pt x="270" y="850"/>
                    </a:cubicBezTo>
                    <a:cubicBezTo>
                      <a:pt x="297" y="835"/>
                      <a:pt x="310" y="825"/>
                      <a:pt x="332" y="835"/>
                    </a:cubicBezTo>
                    <a:cubicBezTo>
                      <a:pt x="353" y="846"/>
                      <a:pt x="353" y="869"/>
                      <a:pt x="380" y="863"/>
                    </a:cubicBezTo>
                    <a:cubicBezTo>
                      <a:pt x="407" y="858"/>
                      <a:pt x="430" y="837"/>
                      <a:pt x="436" y="819"/>
                    </a:cubicBezTo>
                    <a:cubicBezTo>
                      <a:pt x="442" y="800"/>
                      <a:pt x="394" y="773"/>
                      <a:pt x="418" y="764"/>
                    </a:cubicBezTo>
                    <a:cubicBezTo>
                      <a:pt x="442" y="755"/>
                      <a:pt x="450" y="759"/>
                      <a:pt x="461" y="749"/>
                    </a:cubicBezTo>
                    <a:cubicBezTo>
                      <a:pt x="471" y="739"/>
                      <a:pt x="491" y="752"/>
                      <a:pt x="505" y="757"/>
                    </a:cubicBezTo>
                    <a:cubicBezTo>
                      <a:pt x="519" y="761"/>
                      <a:pt x="528" y="751"/>
                      <a:pt x="547" y="767"/>
                    </a:cubicBezTo>
                    <a:cubicBezTo>
                      <a:pt x="567" y="783"/>
                      <a:pt x="607" y="796"/>
                      <a:pt x="623" y="789"/>
                    </a:cubicBezTo>
                    <a:cubicBezTo>
                      <a:pt x="638" y="781"/>
                      <a:pt x="679" y="800"/>
                      <a:pt x="689" y="809"/>
                    </a:cubicBezTo>
                    <a:cubicBezTo>
                      <a:pt x="698" y="817"/>
                      <a:pt x="709" y="835"/>
                      <a:pt x="739" y="839"/>
                    </a:cubicBezTo>
                    <a:cubicBezTo>
                      <a:pt x="768" y="843"/>
                      <a:pt x="774" y="846"/>
                      <a:pt x="797" y="831"/>
                    </a:cubicBezTo>
                    <a:cubicBezTo>
                      <a:pt x="821" y="816"/>
                      <a:pt x="847" y="786"/>
                      <a:pt x="858" y="798"/>
                    </a:cubicBezTo>
                    <a:cubicBezTo>
                      <a:pt x="868" y="811"/>
                      <a:pt x="844" y="818"/>
                      <a:pt x="858" y="839"/>
                    </a:cubicBezTo>
                    <a:cubicBezTo>
                      <a:pt x="871" y="861"/>
                      <a:pt x="889" y="874"/>
                      <a:pt x="908" y="856"/>
                    </a:cubicBezTo>
                    <a:cubicBezTo>
                      <a:pt x="927" y="837"/>
                      <a:pt x="937" y="822"/>
                      <a:pt x="944" y="804"/>
                    </a:cubicBezTo>
                    <a:cubicBezTo>
                      <a:pt x="950" y="786"/>
                      <a:pt x="974" y="784"/>
                      <a:pt x="991" y="798"/>
                    </a:cubicBezTo>
                    <a:cubicBezTo>
                      <a:pt x="1008" y="813"/>
                      <a:pt x="1007" y="815"/>
                      <a:pt x="1011" y="842"/>
                    </a:cubicBezTo>
                    <a:cubicBezTo>
                      <a:pt x="1015" y="869"/>
                      <a:pt x="1012" y="904"/>
                      <a:pt x="1029" y="926"/>
                    </a:cubicBezTo>
                    <a:cubicBezTo>
                      <a:pt x="1046" y="949"/>
                      <a:pt x="1050" y="958"/>
                      <a:pt x="1061" y="945"/>
                    </a:cubicBezTo>
                    <a:cubicBezTo>
                      <a:pt x="1073" y="932"/>
                      <a:pt x="1090" y="906"/>
                      <a:pt x="1106" y="903"/>
                    </a:cubicBezTo>
                    <a:cubicBezTo>
                      <a:pt x="1123" y="899"/>
                      <a:pt x="1129" y="888"/>
                      <a:pt x="1133" y="875"/>
                    </a:cubicBezTo>
                    <a:cubicBezTo>
                      <a:pt x="1136" y="862"/>
                      <a:pt x="1138" y="858"/>
                      <a:pt x="1166" y="866"/>
                    </a:cubicBezTo>
                    <a:cubicBezTo>
                      <a:pt x="1194" y="874"/>
                      <a:pt x="1191" y="867"/>
                      <a:pt x="1216" y="852"/>
                    </a:cubicBezTo>
                    <a:cubicBezTo>
                      <a:pt x="1240" y="836"/>
                      <a:pt x="1231" y="815"/>
                      <a:pt x="1259" y="806"/>
                    </a:cubicBezTo>
                    <a:cubicBezTo>
                      <a:pt x="1288" y="796"/>
                      <a:pt x="1297" y="813"/>
                      <a:pt x="1313" y="787"/>
                    </a:cubicBezTo>
                    <a:cubicBezTo>
                      <a:pt x="1328" y="761"/>
                      <a:pt x="1362" y="754"/>
                      <a:pt x="1375" y="749"/>
                    </a:cubicBezTo>
                    <a:cubicBezTo>
                      <a:pt x="1388" y="744"/>
                      <a:pt x="1397" y="729"/>
                      <a:pt x="1420" y="756"/>
                    </a:cubicBezTo>
                    <a:cubicBezTo>
                      <a:pt x="1443" y="783"/>
                      <a:pt x="1496" y="734"/>
                      <a:pt x="1506" y="710"/>
                    </a:cubicBezTo>
                    <a:cubicBezTo>
                      <a:pt x="1515" y="685"/>
                      <a:pt x="1517" y="435"/>
                      <a:pt x="1517" y="435"/>
                    </a:cubicBezTo>
                    <a:cubicBezTo>
                      <a:pt x="1179" y="220"/>
                      <a:pt x="1179" y="220"/>
                      <a:pt x="1179" y="220"/>
                    </a:cubicBezTo>
                    <a:cubicBezTo>
                      <a:pt x="694" y="43"/>
                      <a:pt x="694" y="43"/>
                      <a:pt x="694" y="43"/>
                    </a:cubicBezTo>
                    <a:cubicBezTo>
                      <a:pt x="367" y="0"/>
                      <a:pt x="367" y="0"/>
                      <a:pt x="367" y="0"/>
                    </a:cubicBezTo>
                    <a:cubicBezTo>
                      <a:pt x="110" y="36"/>
                      <a:pt x="110" y="36"/>
                      <a:pt x="110" y="36"/>
                    </a:cubicBezTo>
                    <a:cubicBezTo>
                      <a:pt x="73" y="162"/>
                      <a:pt x="73" y="162"/>
                      <a:pt x="73" y="162"/>
                    </a:cubicBezTo>
                    <a:cubicBezTo>
                      <a:pt x="170" y="353"/>
                      <a:pt x="170" y="353"/>
                      <a:pt x="170" y="353"/>
                    </a:cubicBezTo>
                    <a:lnTo>
                      <a:pt x="222" y="392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0" name="Freeform 13"/>
              <p:cNvSpPr/>
              <p:nvPr/>
            </p:nvSpPr>
            <p:spPr bwMode="auto">
              <a:xfrm>
                <a:off x="6081291" y="4682827"/>
                <a:ext cx="447675" cy="560387"/>
              </a:xfrm>
              <a:custGeom>
                <a:avLst/>
                <a:gdLst>
                  <a:gd name="T0" fmla="*/ 553 w 800"/>
                  <a:gd name="T1" fmla="*/ 211 h 1002"/>
                  <a:gd name="T2" fmla="*/ 515 w 800"/>
                  <a:gd name="T3" fmla="*/ 227 h 1002"/>
                  <a:gd name="T4" fmla="*/ 498 w 800"/>
                  <a:gd name="T5" fmla="*/ 265 h 1002"/>
                  <a:gd name="T6" fmla="*/ 456 w 800"/>
                  <a:gd name="T7" fmla="*/ 289 h 1002"/>
                  <a:gd name="T8" fmla="*/ 437 w 800"/>
                  <a:gd name="T9" fmla="*/ 314 h 1002"/>
                  <a:gd name="T10" fmla="*/ 467 w 800"/>
                  <a:gd name="T11" fmla="*/ 331 h 1002"/>
                  <a:gd name="T12" fmla="*/ 517 w 800"/>
                  <a:gd name="T13" fmla="*/ 297 h 1002"/>
                  <a:gd name="T14" fmla="*/ 584 w 800"/>
                  <a:gd name="T15" fmla="*/ 282 h 1002"/>
                  <a:gd name="T16" fmla="*/ 644 w 800"/>
                  <a:gd name="T17" fmla="*/ 337 h 1002"/>
                  <a:gd name="T18" fmla="*/ 672 w 800"/>
                  <a:gd name="T19" fmla="*/ 315 h 1002"/>
                  <a:gd name="T20" fmla="*/ 710 w 800"/>
                  <a:gd name="T21" fmla="*/ 258 h 1002"/>
                  <a:gd name="T22" fmla="*/ 741 w 800"/>
                  <a:gd name="T23" fmla="*/ 284 h 1002"/>
                  <a:gd name="T24" fmla="*/ 777 w 800"/>
                  <a:gd name="T25" fmla="*/ 320 h 1002"/>
                  <a:gd name="T26" fmla="*/ 772 w 800"/>
                  <a:gd name="T27" fmla="*/ 364 h 1002"/>
                  <a:gd name="T28" fmla="*/ 724 w 800"/>
                  <a:gd name="T29" fmla="*/ 379 h 1002"/>
                  <a:gd name="T30" fmla="*/ 682 w 800"/>
                  <a:gd name="T31" fmla="*/ 411 h 1002"/>
                  <a:gd name="T32" fmla="*/ 641 w 800"/>
                  <a:gd name="T33" fmla="*/ 448 h 1002"/>
                  <a:gd name="T34" fmla="*/ 657 w 800"/>
                  <a:gd name="T35" fmla="*/ 466 h 1002"/>
                  <a:gd name="T36" fmla="*/ 683 w 800"/>
                  <a:gd name="T37" fmla="*/ 440 h 1002"/>
                  <a:gd name="T38" fmla="*/ 692 w 800"/>
                  <a:gd name="T39" fmla="*/ 428 h 1002"/>
                  <a:gd name="T40" fmla="*/ 710 w 800"/>
                  <a:gd name="T41" fmla="*/ 447 h 1002"/>
                  <a:gd name="T42" fmla="*/ 693 w 800"/>
                  <a:gd name="T43" fmla="*/ 494 h 1002"/>
                  <a:gd name="T44" fmla="*/ 656 w 800"/>
                  <a:gd name="T45" fmla="*/ 515 h 1002"/>
                  <a:gd name="T46" fmla="*/ 678 w 800"/>
                  <a:gd name="T47" fmla="*/ 551 h 1002"/>
                  <a:gd name="T48" fmla="*/ 678 w 800"/>
                  <a:gd name="T49" fmla="*/ 612 h 1002"/>
                  <a:gd name="T50" fmla="*/ 672 w 800"/>
                  <a:gd name="T51" fmla="*/ 649 h 1002"/>
                  <a:gd name="T52" fmla="*/ 691 w 800"/>
                  <a:gd name="T53" fmla="*/ 698 h 1002"/>
                  <a:gd name="T54" fmla="*/ 668 w 800"/>
                  <a:gd name="T55" fmla="*/ 709 h 1002"/>
                  <a:gd name="T56" fmla="*/ 639 w 800"/>
                  <a:gd name="T57" fmla="*/ 746 h 1002"/>
                  <a:gd name="T58" fmla="*/ 622 w 800"/>
                  <a:gd name="T59" fmla="*/ 791 h 1002"/>
                  <a:gd name="T60" fmla="*/ 592 w 800"/>
                  <a:gd name="T61" fmla="*/ 816 h 1002"/>
                  <a:gd name="T62" fmla="*/ 566 w 800"/>
                  <a:gd name="T63" fmla="*/ 832 h 1002"/>
                  <a:gd name="T64" fmla="*/ 538 w 800"/>
                  <a:gd name="T65" fmla="*/ 860 h 1002"/>
                  <a:gd name="T66" fmla="*/ 531 w 800"/>
                  <a:gd name="T67" fmla="*/ 897 h 1002"/>
                  <a:gd name="T68" fmla="*/ 531 w 800"/>
                  <a:gd name="T69" fmla="*/ 945 h 1002"/>
                  <a:gd name="T70" fmla="*/ 525 w 800"/>
                  <a:gd name="T71" fmla="*/ 980 h 1002"/>
                  <a:gd name="T72" fmla="*/ 492 w 800"/>
                  <a:gd name="T73" fmla="*/ 971 h 1002"/>
                  <a:gd name="T74" fmla="*/ 413 w 800"/>
                  <a:gd name="T75" fmla="*/ 947 h 1002"/>
                  <a:gd name="T76" fmla="*/ 348 w 800"/>
                  <a:gd name="T77" fmla="*/ 945 h 1002"/>
                  <a:gd name="T78" fmla="*/ 323 w 800"/>
                  <a:gd name="T79" fmla="*/ 900 h 1002"/>
                  <a:gd name="T80" fmla="*/ 306 w 800"/>
                  <a:gd name="T81" fmla="*/ 923 h 1002"/>
                  <a:gd name="T82" fmla="*/ 272 w 800"/>
                  <a:gd name="T83" fmla="*/ 952 h 1002"/>
                  <a:gd name="T84" fmla="*/ 223 w 800"/>
                  <a:gd name="T85" fmla="*/ 955 h 1002"/>
                  <a:gd name="T86" fmla="*/ 195 w 800"/>
                  <a:gd name="T87" fmla="*/ 936 h 1002"/>
                  <a:gd name="T88" fmla="*/ 165 w 800"/>
                  <a:gd name="T89" fmla="*/ 870 h 1002"/>
                  <a:gd name="T90" fmla="*/ 155 w 800"/>
                  <a:gd name="T91" fmla="*/ 821 h 1002"/>
                  <a:gd name="T92" fmla="*/ 134 w 800"/>
                  <a:gd name="T93" fmla="*/ 787 h 1002"/>
                  <a:gd name="T94" fmla="*/ 88 w 800"/>
                  <a:gd name="T95" fmla="*/ 781 h 1002"/>
                  <a:gd name="T96" fmla="*/ 69 w 800"/>
                  <a:gd name="T97" fmla="*/ 704 h 1002"/>
                  <a:gd name="T98" fmla="*/ 2 w 800"/>
                  <a:gd name="T99" fmla="*/ 625 h 1002"/>
                  <a:gd name="T100" fmla="*/ 17 w 800"/>
                  <a:gd name="T101" fmla="*/ 563 h 1002"/>
                  <a:gd name="T102" fmla="*/ 27 w 800"/>
                  <a:gd name="T103" fmla="*/ 500 h 1002"/>
                  <a:gd name="T104" fmla="*/ 143 w 800"/>
                  <a:gd name="T105" fmla="*/ 205 h 1002"/>
                  <a:gd name="T106" fmla="*/ 229 w 800"/>
                  <a:gd name="T107" fmla="*/ 0 h 1002"/>
                  <a:gd name="T108" fmla="*/ 410 w 800"/>
                  <a:gd name="T109" fmla="*/ 39 h 1002"/>
                  <a:gd name="T110" fmla="*/ 547 w 800"/>
                  <a:gd name="T111" fmla="*/ 125 h 1002"/>
                  <a:gd name="T112" fmla="*/ 557 w 800"/>
                  <a:gd name="T113" fmla="*/ 209 h 1002"/>
                  <a:gd name="T114" fmla="*/ 553 w 800"/>
                  <a:gd name="T115" fmla="*/ 211 h 10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800" h="1002">
                    <a:moveTo>
                      <a:pt x="553" y="211"/>
                    </a:moveTo>
                    <a:cubicBezTo>
                      <a:pt x="542" y="216"/>
                      <a:pt x="530" y="221"/>
                      <a:pt x="515" y="227"/>
                    </a:cubicBezTo>
                    <a:cubicBezTo>
                      <a:pt x="489" y="238"/>
                      <a:pt x="505" y="240"/>
                      <a:pt x="498" y="265"/>
                    </a:cubicBezTo>
                    <a:cubicBezTo>
                      <a:pt x="491" y="291"/>
                      <a:pt x="474" y="292"/>
                      <a:pt x="456" y="289"/>
                    </a:cubicBezTo>
                    <a:cubicBezTo>
                      <a:pt x="437" y="287"/>
                      <a:pt x="431" y="292"/>
                      <a:pt x="437" y="314"/>
                    </a:cubicBezTo>
                    <a:cubicBezTo>
                      <a:pt x="443" y="336"/>
                      <a:pt x="457" y="330"/>
                      <a:pt x="467" y="331"/>
                    </a:cubicBezTo>
                    <a:cubicBezTo>
                      <a:pt x="478" y="332"/>
                      <a:pt x="510" y="307"/>
                      <a:pt x="517" y="297"/>
                    </a:cubicBezTo>
                    <a:cubicBezTo>
                      <a:pt x="525" y="288"/>
                      <a:pt x="566" y="270"/>
                      <a:pt x="584" y="282"/>
                    </a:cubicBezTo>
                    <a:cubicBezTo>
                      <a:pt x="603" y="293"/>
                      <a:pt x="620" y="317"/>
                      <a:pt x="644" y="337"/>
                    </a:cubicBezTo>
                    <a:cubicBezTo>
                      <a:pt x="668" y="357"/>
                      <a:pt x="664" y="322"/>
                      <a:pt x="672" y="315"/>
                    </a:cubicBezTo>
                    <a:cubicBezTo>
                      <a:pt x="681" y="308"/>
                      <a:pt x="693" y="284"/>
                      <a:pt x="710" y="258"/>
                    </a:cubicBezTo>
                    <a:cubicBezTo>
                      <a:pt x="727" y="232"/>
                      <a:pt x="739" y="259"/>
                      <a:pt x="741" y="284"/>
                    </a:cubicBezTo>
                    <a:cubicBezTo>
                      <a:pt x="742" y="308"/>
                      <a:pt x="754" y="300"/>
                      <a:pt x="777" y="320"/>
                    </a:cubicBezTo>
                    <a:cubicBezTo>
                      <a:pt x="800" y="340"/>
                      <a:pt x="780" y="348"/>
                      <a:pt x="772" y="364"/>
                    </a:cubicBezTo>
                    <a:cubicBezTo>
                      <a:pt x="765" y="381"/>
                      <a:pt x="744" y="388"/>
                      <a:pt x="724" y="379"/>
                    </a:cubicBezTo>
                    <a:cubicBezTo>
                      <a:pt x="703" y="371"/>
                      <a:pt x="687" y="399"/>
                      <a:pt x="682" y="411"/>
                    </a:cubicBezTo>
                    <a:cubicBezTo>
                      <a:pt x="677" y="422"/>
                      <a:pt x="678" y="429"/>
                      <a:pt x="641" y="448"/>
                    </a:cubicBezTo>
                    <a:cubicBezTo>
                      <a:pt x="604" y="466"/>
                      <a:pt x="645" y="472"/>
                      <a:pt x="657" y="466"/>
                    </a:cubicBezTo>
                    <a:cubicBezTo>
                      <a:pt x="668" y="461"/>
                      <a:pt x="682" y="450"/>
                      <a:pt x="683" y="440"/>
                    </a:cubicBezTo>
                    <a:cubicBezTo>
                      <a:pt x="685" y="429"/>
                      <a:pt x="682" y="450"/>
                      <a:pt x="692" y="428"/>
                    </a:cubicBezTo>
                    <a:cubicBezTo>
                      <a:pt x="702" y="406"/>
                      <a:pt x="710" y="434"/>
                      <a:pt x="710" y="447"/>
                    </a:cubicBezTo>
                    <a:cubicBezTo>
                      <a:pt x="710" y="460"/>
                      <a:pt x="698" y="481"/>
                      <a:pt x="693" y="494"/>
                    </a:cubicBezTo>
                    <a:cubicBezTo>
                      <a:pt x="687" y="507"/>
                      <a:pt x="678" y="506"/>
                      <a:pt x="656" y="515"/>
                    </a:cubicBezTo>
                    <a:cubicBezTo>
                      <a:pt x="634" y="524"/>
                      <a:pt x="662" y="531"/>
                      <a:pt x="678" y="551"/>
                    </a:cubicBezTo>
                    <a:cubicBezTo>
                      <a:pt x="695" y="571"/>
                      <a:pt x="693" y="591"/>
                      <a:pt x="678" y="612"/>
                    </a:cubicBezTo>
                    <a:cubicBezTo>
                      <a:pt x="664" y="632"/>
                      <a:pt x="661" y="630"/>
                      <a:pt x="672" y="649"/>
                    </a:cubicBezTo>
                    <a:cubicBezTo>
                      <a:pt x="682" y="667"/>
                      <a:pt x="681" y="669"/>
                      <a:pt x="691" y="698"/>
                    </a:cubicBezTo>
                    <a:cubicBezTo>
                      <a:pt x="701" y="726"/>
                      <a:pt x="670" y="694"/>
                      <a:pt x="668" y="709"/>
                    </a:cubicBezTo>
                    <a:cubicBezTo>
                      <a:pt x="666" y="724"/>
                      <a:pt x="656" y="730"/>
                      <a:pt x="639" y="746"/>
                    </a:cubicBezTo>
                    <a:cubicBezTo>
                      <a:pt x="622" y="763"/>
                      <a:pt x="623" y="774"/>
                      <a:pt x="622" y="791"/>
                    </a:cubicBezTo>
                    <a:cubicBezTo>
                      <a:pt x="620" y="807"/>
                      <a:pt x="605" y="817"/>
                      <a:pt x="592" y="816"/>
                    </a:cubicBezTo>
                    <a:cubicBezTo>
                      <a:pt x="579" y="815"/>
                      <a:pt x="573" y="814"/>
                      <a:pt x="566" y="832"/>
                    </a:cubicBezTo>
                    <a:cubicBezTo>
                      <a:pt x="560" y="849"/>
                      <a:pt x="553" y="858"/>
                      <a:pt x="538" y="860"/>
                    </a:cubicBezTo>
                    <a:cubicBezTo>
                      <a:pt x="524" y="861"/>
                      <a:pt x="523" y="871"/>
                      <a:pt x="531" y="897"/>
                    </a:cubicBezTo>
                    <a:cubicBezTo>
                      <a:pt x="538" y="923"/>
                      <a:pt x="534" y="929"/>
                      <a:pt x="531" y="945"/>
                    </a:cubicBezTo>
                    <a:cubicBezTo>
                      <a:pt x="528" y="959"/>
                      <a:pt x="536" y="961"/>
                      <a:pt x="525" y="980"/>
                    </a:cubicBezTo>
                    <a:cubicBezTo>
                      <a:pt x="525" y="980"/>
                      <a:pt x="505" y="1002"/>
                      <a:pt x="492" y="971"/>
                    </a:cubicBezTo>
                    <a:cubicBezTo>
                      <a:pt x="480" y="940"/>
                      <a:pt x="454" y="919"/>
                      <a:pt x="413" y="947"/>
                    </a:cubicBezTo>
                    <a:cubicBezTo>
                      <a:pt x="372" y="976"/>
                      <a:pt x="359" y="983"/>
                      <a:pt x="348" y="945"/>
                    </a:cubicBezTo>
                    <a:cubicBezTo>
                      <a:pt x="337" y="907"/>
                      <a:pt x="348" y="902"/>
                      <a:pt x="323" y="900"/>
                    </a:cubicBezTo>
                    <a:cubicBezTo>
                      <a:pt x="299" y="898"/>
                      <a:pt x="311" y="909"/>
                      <a:pt x="306" y="923"/>
                    </a:cubicBezTo>
                    <a:cubicBezTo>
                      <a:pt x="301" y="937"/>
                      <a:pt x="281" y="939"/>
                      <a:pt x="272" y="952"/>
                    </a:cubicBezTo>
                    <a:cubicBezTo>
                      <a:pt x="263" y="964"/>
                      <a:pt x="245" y="948"/>
                      <a:pt x="223" y="955"/>
                    </a:cubicBezTo>
                    <a:cubicBezTo>
                      <a:pt x="200" y="961"/>
                      <a:pt x="187" y="961"/>
                      <a:pt x="195" y="936"/>
                    </a:cubicBezTo>
                    <a:cubicBezTo>
                      <a:pt x="203" y="912"/>
                      <a:pt x="178" y="885"/>
                      <a:pt x="165" y="870"/>
                    </a:cubicBezTo>
                    <a:cubicBezTo>
                      <a:pt x="153" y="854"/>
                      <a:pt x="142" y="844"/>
                      <a:pt x="155" y="821"/>
                    </a:cubicBezTo>
                    <a:cubicBezTo>
                      <a:pt x="169" y="799"/>
                      <a:pt x="158" y="776"/>
                      <a:pt x="134" y="787"/>
                    </a:cubicBezTo>
                    <a:cubicBezTo>
                      <a:pt x="109" y="797"/>
                      <a:pt x="97" y="810"/>
                      <a:pt x="88" y="781"/>
                    </a:cubicBezTo>
                    <a:cubicBezTo>
                      <a:pt x="78" y="753"/>
                      <a:pt x="96" y="734"/>
                      <a:pt x="69" y="704"/>
                    </a:cubicBezTo>
                    <a:cubicBezTo>
                      <a:pt x="42" y="673"/>
                      <a:pt x="3" y="661"/>
                      <a:pt x="2" y="625"/>
                    </a:cubicBezTo>
                    <a:cubicBezTo>
                      <a:pt x="0" y="589"/>
                      <a:pt x="9" y="573"/>
                      <a:pt x="17" y="563"/>
                    </a:cubicBezTo>
                    <a:cubicBezTo>
                      <a:pt x="25" y="553"/>
                      <a:pt x="27" y="503"/>
                      <a:pt x="27" y="500"/>
                    </a:cubicBezTo>
                    <a:cubicBezTo>
                      <a:pt x="27" y="497"/>
                      <a:pt x="143" y="205"/>
                      <a:pt x="143" y="205"/>
                    </a:cubicBezTo>
                    <a:cubicBezTo>
                      <a:pt x="229" y="0"/>
                      <a:pt x="229" y="0"/>
                      <a:pt x="229" y="0"/>
                    </a:cubicBezTo>
                    <a:cubicBezTo>
                      <a:pt x="410" y="39"/>
                      <a:pt x="410" y="39"/>
                      <a:pt x="410" y="39"/>
                    </a:cubicBezTo>
                    <a:cubicBezTo>
                      <a:pt x="547" y="125"/>
                      <a:pt x="547" y="125"/>
                      <a:pt x="547" y="125"/>
                    </a:cubicBezTo>
                    <a:cubicBezTo>
                      <a:pt x="557" y="209"/>
                      <a:pt x="557" y="209"/>
                      <a:pt x="557" y="209"/>
                    </a:cubicBezTo>
                    <a:lnTo>
                      <a:pt x="553" y="211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1" name="Freeform 14"/>
              <p:cNvSpPr/>
              <p:nvPr/>
            </p:nvSpPr>
            <p:spPr bwMode="auto">
              <a:xfrm>
                <a:off x="6335291" y="4692352"/>
                <a:ext cx="117475" cy="107950"/>
              </a:xfrm>
              <a:custGeom>
                <a:avLst/>
                <a:gdLst>
                  <a:gd name="T0" fmla="*/ 104 w 210"/>
                  <a:gd name="T1" fmla="*/ 193 h 193"/>
                  <a:gd name="T2" fmla="*/ 120 w 210"/>
                  <a:gd name="T3" fmla="*/ 182 h 193"/>
                  <a:gd name="T4" fmla="*/ 185 w 210"/>
                  <a:gd name="T5" fmla="*/ 135 h 193"/>
                  <a:gd name="T6" fmla="*/ 195 w 210"/>
                  <a:gd name="T7" fmla="*/ 100 h 193"/>
                  <a:gd name="T8" fmla="*/ 153 w 210"/>
                  <a:gd name="T9" fmla="*/ 41 h 193"/>
                  <a:gd name="T10" fmla="*/ 86 w 210"/>
                  <a:gd name="T11" fmla="*/ 13 h 193"/>
                  <a:gd name="T12" fmla="*/ 81 w 210"/>
                  <a:gd name="T13" fmla="*/ 8 h 193"/>
                  <a:gd name="T14" fmla="*/ 73 w 210"/>
                  <a:gd name="T15" fmla="*/ 0 h 193"/>
                  <a:gd name="T16" fmla="*/ 0 w 210"/>
                  <a:gd name="T17" fmla="*/ 49 h 193"/>
                  <a:gd name="T18" fmla="*/ 8 w 210"/>
                  <a:gd name="T19" fmla="*/ 94 h 193"/>
                  <a:gd name="T20" fmla="*/ 25 w 210"/>
                  <a:gd name="T21" fmla="*/ 116 h 193"/>
                  <a:gd name="T22" fmla="*/ 33 w 210"/>
                  <a:gd name="T23" fmla="*/ 139 h 193"/>
                  <a:gd name="T24" fmla="*/ 54 w 210"/>
                  <a:gd name="T25" fmla="*/ 163 h 193"/>
                  <a:gd name="T26" fmla="*/ 87 w 210"/>
                  <a:gd name="T27" fmla="*/ 183 h 193"/>
                  <a:gd name="T28" fmla="*/ 104 w 210"/>
                  <a:gd name="T29" fmla="*/ 193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0" h="193">
                    <a:moveTo>
                      <a:pt x="104" y="193"/>
                    </a:moveTo>
                    <a:cubicBezTo>
                      <a:pt x="111" y="189"/>
                      <a:pt x="113" y="187"/>
                      <a:pt x="120" y="182"/>
                    </a:cubicBezTo>
                    <a:cubicBezTo>
                      <a:pt x="135" y="167"/>
                      <a:pt x="161" y="140"/>
                      <a:pt x="185" y="135"/>
                    </a:cubicBezTo>
                    <a:cubicBezTo>
                      <a:pt x="210" y="130"/>
                      <a:pt x="210" y="135"/>
                      <a:pt x="195" y="100"/>
                    </a:cubicBezTo>
                    <a:cubicBezTo>
                      <a:pt x="180" y="66"/>
                      <a:pt x="172" y="55"/>
                      <a:pt x="153" y="41"/>
                    </a:cubicBezTo>
                    <a:cubicBezTo>
                      <a:pt x="135" y="27"/>
                      <a:pt x="113" y="41"/>
                      <a:pt x="86" y="13"/>
                    </a:cubicBezTo>
                    <a:cubicBezTo>
                      <a:pt x="84" y="11"/>
                      <a:pt x="83" y="9"/>
                      <a:pt x="81" y="8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8" y="94"/>
                      <a:pt x="8" y="94"/>
                      <a:pt x="8" y="94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5" y="116"/>
                      <a:pt x="33" y="130"/>
                      <a:pt x="33" y="139"/>
                    </a:cubicBezTo>
                    <a:cubicBezTo>
                      <a:pt x="33" y="148"/>
                      <a:pt x="30" y="152"/>
                      <a:pt x="54" y="163"/>
                    </a:cubicBezTo>
                    <a:cubicBezTo>
                      <a:pt x="79" y="175"/>
                      <a:pt x="82" y="177"/>
                      <a:pt x="87" y="183"/>
                    </a:cubicBezTo>
                    <a:cubicBezTo>
                      <a:pt x="92" y="189"/>
                      <a:pt x="104" y="193"/>
                      <a:pt x="104" y="193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2" name="Freeform 15"/>
              <p:cNvSpPr/>
              <p:nvPr/>
            </p:nvSpPr>
            <p:spPr bwMode="auto">
              <a:xfrm>
                <a:off x="5643141" y="4305002"/>
                <a:ext cx="574675" cy="692150"/>
              </a:xfrm>
              <a:custGeom>
                <a:avLst/>
                <a:gdLst>
                  <a:gd name="T0" fmla="*/ 214 w 1029"/>
                  <a:gd name="T1" fmla="*/ 858 h 1236"/>
                  <a:gd name="T2" fmla="*/ 247 w 1029"/>
                  <a:gd name="T3" fmla="*/ 893 h 1236"/>
                  <a:gd name="T4" fmla="*/ 274 w 1029"/>
                  <a:gd name="T5" fmla="*/ 902 h 1236"/>
                  <a:gd name="T6" fmla="*/ 331 w 1029"/>
                  <a:gd name="T7" fmla="*/ 918 h 1236"/>
                  <a:gd name="T8" fmla="*/ 341 w 1029"/>
                  <a:gd name="T9" fmla="*/ 954 h 1236"/>
                  <a:gd name="T10" fmla="*/ 315 w 1029"/>
                  <a:gd name="T11" fmla="*/ 990 h 1236"/>
                  <a:gd name="T12" fmla="*/ 327 w 1029"/>
                  <a:gd name="T13" fmla="*/ 1022 h 1236"/>
                  <a:gd name="T14" fmla="*/ 343 w 1029"/>
                  <a:gd name="T15" fmla="*/ 1061 h 1236"/>
                  <a:gd name="T16" fmla="*/ 359 w 1029"/>
                  <a:gd name="T17" fmla="*/ 1093 h 1236"/>
                  <a:gd name="T18" fmla="*/ 389 w 1029"/>
                  <a:gd name="T19" fmla="*/ 1133 h 1236"/>
                  <a:gd name="T20" fmla="*/ 408 w 1029"/>
                  <a:gd name="T21" fmla="*/ 1193 h 1236"/>
                  <a:gd name="T22" fmla="*/ 456 w 1029"/>
                  <a:gd name="T23" fmla="*/ 1193 h 1236"/>
                  <a:gd name="T24" fmla="*/ 502 w 1029"/>
                  <a:gd name="T25" fmla="*/ 1138 h 1236"/>
                  <a:gd name="T26" fmla="*/ 538 w 1029"/>
                  <a:gd name="T27" fmla="*/ 1152 h 1236"/>
                  <a:gd name="T28" fmla="*/ 515 w 1029"/>
                  <a:gd name="T29" fmla="*/ 1191 h 1236"/>
                  <a:gd name="T30" fmla="*/ 518 w 1029"/>
                  <a:gd name="T31" fmla="*/ 1232 h 1236"/>
                  <a:gd name="T32" fmla="*/ 565 w 1029"/>
                  <a:gd name="T33" fmla="*/ 1213 h 1236"/>
                  <a:gd name="T34" fmla="*/ 584 w 1029"/>
                  <a:gd name="T35" fmla="*/ 1165 h 1236"/>
                  <a:gd name="T36" fmla="*/ 602 w 1029"/>
                  <a:gd name="T37" fmla="*/ 1151 h 1236"/>
                  <a:gd name="T38" fmla="*/ 645 w 1029"/>
                  <a:gd name="T39" fmla="*/ 1193 h 1236"/>
                  <a:gd name="T40" fmla="*/ 725 w 1029"/>
                  <a:gd name="T41" fmla="*/ 1202 h 1236"/>
                  <a:gd name="T42" fmla="*/ 784 w 1029"/>
                  <a:gd name="T43" fmla="*/ 1219 h 1236"/>
                  <a:gd name="T44" fmla="*/ 841 w 1029"/>
                  <a:gd name="T45" fmla="*/ 1197 h 1236"/>
                  <a:gd name="T46" fmla="*/ 899 w 1029"/>
                  <a:gd name="T47" fmla="*/ 1124 h 1236"/>
                  <a:gd name="T48" fmla="*/ 905 w 1029"/>
                  <a:gd name="T49" fmla="*/ 1045 h 1236"/>
                  <a:gd name="T50" fmla="*/ 923 w 1029"/>
                  <a:gd name="T51" fmla="*/ 1014 h 1236"/>
                  <a:gd name="T52" fmla="*/ 973 w 1029"/>
                  <a:gd name="T53" fmla="*/ 992 h 1236"/>
                  <a:gd name="T54" fmla="*/ 968 w 1029"/>
                  <a:gd name="T55" fmla="*/ 966 h 1236"/>
                  <a:gd name="T56" fmla="*/ 967 w 1029"/>
                  <a:gd name="T57" fmla="*/ 935 h 1236"/>
                  <a:gd name="T58" fmla="*/ 1003 w 1029"/>
                  <a:gd name="T59" fmla="*/ 889 h 1236"/>
                  <a:gd name="T60" fmla="*/ 1019 w 1029"/>
                  <a:gd name="T61" fmla="*/ 761 h 1236"/>
                  <a:gd name="T62" fmla="*/ 966 w 1029"/>
                  <a:gd name="T63" fmla="*/ 464 h 1236"/>
                  <a:gd name="T64" fmla="*/ 763 w 1029"/>
                  <a:gd name="T65" fmla="*/ 244 h 1236"/>
                  <a:gd name="T66" fmla="*/ 423 w 1029"/>
                  <a:gd name="T67" fmla="*/ 0 h 1236"/>
                  <a:gd name="T68" fmla="*/ 103 w 1029"/>
                  <a:gd name="T69" fmla="*/ 244 h 1236"/>
                  <a:gd name="T70" fmla="*/ 0 w 1029"/>
                  <a:gd name="T71" fmla="*/ 560 h 1236"/>
                  <a:gd name="T72" fmla="*/ 173 w 1029"/>
                  <a:gd name="T73" fmla="*/ 732 h 1236"/>
                  <a:gd name="T74" fmla="*/ 214 w 1029"/>
                  <a:gd name="T75" fmla="*/ 858 h 1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029" h="1236">
                    <a:moveTo>
                      <a:pt x="214" y="858"/>
                    </a:moveTo>
                    <a:cubicBezTo>
                      <a:pt x="214" y="858"/>
                      <a:pt x="241" y="883"/>
                      <a:pt x="247" y="893"/>
                    </a:cubicBezTo>
                    <a:cubicBezTo>
                      <a:pt x="252" y="903"/>
                      <a:pt x="258" y="903"/>
                      <a:pt x="274" y="902"/>
                    </a:cubicBezTo>
                    <a:cubicBezTo>
                      <a:pt x="291" y="901"/>
                      <a:pt x="314" y="895"/>
                      <a:pt x="331" y="918"/>
                    </a:cubicBezTo>
                    <a:cubicBezTo>
                      <a:pt x="347" y="942"/>
                      <a:pt x="354" y="944"/>
                      <a:pt x="341" y="954"/>
                    </a:cubicBezTo>
                    <a:cubicBezTo>
                      <a:pt x="327" y="965"/>
                      <a:pt x="318" y="979"/>
                      <a:pt x="315" y="990"/>
                    </a:cubicBezTo>
                    <a:cubicBezTo>
                      <a:pt x="312" y="1001"/>
                      <a:pt x="317" y="1013"/>
                      <a:pt x="327" y="1022"/>
                    </a:cubicBezTo>
                    <a:cubicBezTo>
                      <a:pt x="338" y="1031"/>
                      <a:pt x="341" y="1051"/>
                      <a:pt x="343" y="1061"/>
                    </a:cubicBezTo>
                    <a:cubicBezTo>
                      <a:pt x="345" y="1071"/>
                      <a:pt x="350" y="1088"/>
                      <a:pt x="359" y="1093"/>
                    </a:cubicBezTo>
                    <a:cubicBezTo>
                      <a:pt x="368" y="1098"/>
                      <a:pt x="381" y="1109"/>
                      <a:pt x="389" y="1133"/>
                    </a:cubicBezTo>
                    <a:cubicBezTo>
                      <a:pt x="397" y="1156"/>
                      <a:pt x="391" y="1172"/>
                      <a:pt x="408" y="1193"/>
                    </a:cubicBezTo>
                    <a:cubicBezTo>
                      <a:pt x="425" y="1215"/>
                      <a:pt x="446" y="1204"/>
                      <a:pt x="456" y="1193"/>
                    </a:cubicBezTo>
                    <a:cubicBezTo>
                      <a:pt x="465" y="1182"/>
                      <a:pt x="484" y="1141"/>
                      <a:pt x="502" y="1138"/>
                    </a:cubicBezTo>
                    <a:cubicBezTo>
                      <a:pt x="519" y="1135"/>
                      <a:pt x="541" y="1136"/>
                      <a:pt x="538" y="1152"/>
                    </a:cubicBezTo>
                    <a:cubicBezTo>
                      <a:pt x="534" y="1169"/>
                      <a:pt x="524" y="1181"/>
                      <a:pt x="515" y="1191"/>
                    </a:cubicBezTo>
                    <a:cubicBezTo>
                      <a:pt x="506" y="1201"/>
                      <a:pt x="506" y="1228"/>
                      <a:pt x="518" y="1232"/>
                    </a:cubicBezTo>
                    <a:cubicBezTo>
                      <a:pt x="530" y="1236"/>
                      <a:pt x="557" y="1219"/>
                      <a:pt x="565" y="1213"/>
                    </a:cubicBezTo>
                    <a:cubicBezTo>
                      <a:pt x="573" y="1206"/>
                      <a:pt x="592" y="1180"/>
                      <a:pt x="584" y="1165"/>
                    </a:cubicBezTo>
                    <a:cubicBezTo>
                      <a:pt x="575" y="1151"/>
                      <a:pt x="588" y="1135"/>
                      <a:pt x="602" y="1151"/>
                    </a:cubicBezTo>
                    <a:cubicBezTo>
                      <a:pt x="616" y="1167"/>
                      <a:pt x="627" y="1188"/>
                      <a:pt x="645" y="1193"/>
                    </a:cubicBezTo>
                    <a:cubicBezTo>
                      <a:pt x="664" y="1198"/>
                      <a:pt x="706" y="1204"/>
                      <a:pt x="725" y="1202"/>
                    </a:cubicBezTo>
                    <a:cubicBezTo>
                      <a:pt x="745" y="1200"/>
                      <a:pt x="768" y="1208"/>
                      <a:pt x="784" y="1219"/>
                    </a:cubicBezTo>
                    <a:cubicBezTo>
                      <a:pt x="801" y="1229"/>
                      <a:pt x="819" y="1216"/>
                      <a:pt x="841" y="1197"/>
                    </a:cubicBezTo>
                    <a:cubicBezTo>
                      <a:pt x="862" y="1179"/>
                      <a:pt x="891" y="1142"/>
                      <a:pt x="899" y="1124"/>
                    </a:cubicBezTo>
                    <a:cubicBezTo>
                      <a:pt x="907" y="1107"/>
                      <a:pt x="912" y="1077"/>
                      <a:pt x="905" y="1045"/>
                    </a:cubicBezTo>
                    <a:cubicBezTo>
                      <a:pt x="899" y="1014"/>
                      <a:pt x="903" y="1012"/>
                      <a:pt x="923" y="1014"/>
                    </a:cubicBezTo>
                    <a:cubicBezTo>
                      <a:pt x="942" y="1016"/>
                      <a:pt x="959" y="1001"/>
                      <a:pt x="973" y="992"/>
                    </a:cubicBezTo>
                    <a:cubicBezTo>
                      <a:pt x="987" y="983"/>
                      <a:pt x="992" y="976"/>
                      <a:pt x="968" y="966"/>
                    </a:cubicBezTo>
                    <a:cubicBezTo>
                      <a:pt x="943" y="955"/>
                      <a:pt x="950" y="944"/>
                      <a:pt x="967" y="935"/>
                    </a:cubicBezTo>
                    <a:cubicBezTo>
                      <a:pt x="983" y="926"/>
                      <a:pt x="996" y="902"/>
                      <a:pt x="1003" y="889"/>
                    </a:cubicBezTo>
                    <a:cubicBezTo>
                      <a:pt x="1010" y="875"/>
                      <a:pt x="1029" y="790"/>
                      <a:pt x="1019" y="761"/>
                    </a:cubicBezTo>
                    <a:cubicBezTo>
                      <a:pt x="1009" y="731"/>
                      <a:pt x="966" y="464"/>
                      <a:pt x="966" y="464"/>
                    </a:cubicBezTo>
                    <a:cubicBezTo>
                      <a:pt x="763" y="244"/>
                      <a:pt x="763" y="244"/>
                      <a:pt x="763" y="244"/>
                    </a:cubicBezTo>
                    <a:cubicBezTo>
                      <a:pt x="423" y="0"/>
                      <a:pt x="423" y="0"/>
                      <a:pt x="423" y="0"/>
                    </a:cubicBezTo>
                    <a:cubicBezTo>
                      <a:pt x="103" y="244"/>
                      <a:pt x="103" y="244"/>
                      <a:pt x="103" y="244"/>
                    </a:cubicBezTo>
                    <a:cubicBezTo>
                      <a:pt x="0" y="560"/>
                      <a:pt x="0" y="560"/>
                      <a:pt x="0" y="560"/>
                    </a:cubicBezTo>
                    <a:cubicBezTo>
                      <a:pt x="173" y="732"/>
                      <a:pt x="173" y="732"/>
                      <a:pt x="173" y="732"/>
                    </a:cubicBezTo>
                    <a:lnTo>
                      <a:pt x="214" y="858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3" name="Freeform 16"/>
              <p:cNvSpPr/>
              <p:nvPr/>
            </p:nvSpPr>
            <p:spPr bwMode="auto">
              <a:xfrm>
                <a:off x="5179591" y="4158952"/>
                <a:ext cx="695325" cy="628650"/>
              </a:xfrm>
              <a:custGeom>
                <a:avLst/>
                <a:gdLst>
                  <a:gd name="T0" fmla="*/ 219 w 1241"/>
                  <a:gd name="T1" fmla="*/ 769 h 1123"/>
                  <a:gd name="T2" fmla="*/ 261 w 1241"/>
                  <a:gd name="T3" fmla="*/ 836 h 1123"/>
                  <a:gd name="T4" fmla="*/ 334 w 1241"/>
                  <a:gd name="T5" fmla="*/ 905 h 1123"/>
                  <a:gd name="T6" fmla="*/ 448 w 1241"/>
                  <a:gd name="T7" fmla="*/ 954 h 1123"/>
                  <a:gd name="T8" fmla="*/ 585 w 1241"/>
                  <a:gd name="T9" fmla="*/ 954 h 1123"/>
                  <a:gd name="T10" fmla="*/ 692 w 1241"/>
                  <a:gd name="T11" fmla="*/ 937 h 1123"/>
                  <a:gd name="T12" fmla="*/ 739 w 1241"/>
                  <a:gd name="T13" fmla="*/ 959 h 1123"/>
                  <a:gd name="T14" fmla="*/ 753 w 1241"/>
                  <a:gd name="T15" fmla="*/ 1021 h 1123"/>
                  <a:gd name="T16" fmla="*/ 781 w 1241"/>
                  <a:gd name="T17" fmla="*/ 1067 h 1123"/>
                  <a:gd name="T18" fmla="*/ 859 w 1241"/>
                  <a:gd name="T19" fmla="*/ 1063 h 1123"/>
                  <a:gd name="T20" fmla="*/ 905 w 1241"/>
                  <a:gd name="T21" fmla="*/ 1085 h 1123"/>
                  <a:gd name="T22" fmla="*/ 974 w 1241"/>
                  <a:gd name="T23" fmla="*/ 1110 h 1123"/>
                  <a:gd name="T24" fmla="*/ 1019 w 1241"/>
                  <a:gd name="T25" fmla="*/ 1105 h 1123"/>
                  <a:gd name="T26" fmla="*/ 1046 w 1241"/>
                  <a:gd name="T27" fmla="*/ 1104 h 1123"/>
                  <a:gd name="T28" fmla="*/ 1089 w 1241"/>
                  <a:gd name="T29" fmla="*/ 1041 h 1123"/>
                  <a:gd name="T30" fmla="*/ 1141 w 1241"/>
                  <a:gd name="T31" fmla="*/ 992 h 1123"/>
                  <a:gd name="T32" fmla="*/ 1130 w 1241"/>
                  <a:gd name="T33" fmla="*/ 903 h 1123"/>
                  <a:gd name="T34" fmla="*/ 1108 w 1241"/>
                  <a:gd name="T35" fmla="*/ 872 h 1123"/>
                  <a:gd name="T36" fmla="*/ 1019 w 1241"/>
                  <a:gd name="T37" fmla="*/ 866 h 1123"/>
                  <a:gd name="T38" fmla="*/ 964 w 1241"/>
                  <a:gd name="T39" fmla="*/ 807 h 1123"/>
                  <a:gd name="T40" fmla="*/ 924 w 1241"/>
                  <a:gd name="T41" fmla="*/ 769 h 1123"/>
                  <a:gd name="T42" fmla="*/ 955 w 1241"/>
                  <a:gd name="T43" fmla="*/ 761 h 1123"/>
                  <a:gd name="T44" fmla="*/ 1001 w 1241"/>
                  <a:gd name="T45" fmla="*/ 740 h 1123"/>
                  <a:gd name="T46" fmla="*/ 1006 w 1241"/>
                  <a:gd name="T47" fmla="*/ 658 h 1123"/>
                  <a:gd name="T48" fmla="*/ 1047 w 1241"/>
                  <a:gd name="T49" fmla="*/ 637 h 1123"/>
                  <a:gd name="T50" fmla="*/ 1039 w 1241"/>
                  <a:gd name="T51" fmla="*/ 549 h 1123"/>
                  <a:gd name="T52" fmla="*/ 1100 w 1241"/>
                  <a:gd name="T53" fmla="*/ 555 h 1123"/>
                  <a:gd name="T54" fmla="*/ 1141 w 1241"/>
                  <a:gd name="T55" fmla="*/ 606 h 1123"/>
                  <a:gd name="T56" fmla="*/ 1201 w 1241"/>
                  <a:gd name="T57" fmla="*/ 566 h 1123"/>
                  <a:gd name="T58" fmla="*/ 1229 w 1241"/>
                  <a:gd name="T59" fmla="*/ 522 h 1123"/>
                  <a:gd name="T60" fmla="*/ 1207 w 1241"/>
                  <a:gd name="T61" fmla="*/ 471 h 1123"/>
                  <a:gd name="T62" fmla="*/ 1180 w 1241"/>
                  <a:gd name="T63" fmla="*/ 455 h 1123"/>
                  <a:gd name="T64" fmla="*/ 1146 w 1241"/>
                  <a:gd name="T65" fmla="*/ 395 h 1123"/>
                  <a:gd name="T66" fmla="*/ 1157 w 1241"/>
                  <a:gd name="T67" fmla="*/ 192 h 1123"/>
                  <a:gd name="T68" fmla="*/ 1119 w 1241"/>
                  <a:gd name="T69" fmla="*/ 49 h 1123"/>
                  <a:gd name="T70" fmla="*/ 827 w 1241"/>
                  <a:gd name="T71" fmla="*/ 0 h 1123"/>
                  <a:gd name="T72" fmla="*/ 522 w 1241"/>
                  <a:gd name="T73" fmla="*/ 64 h 1123"/>
                  <a:gd name="T74" fmla="*/ 0 w 1241"/>
                  <a:gd name="T75" fmla="*/ 432 h 1123"/>
                  <a:gd name="T76" fmla="*/ 32 w 1241"/>
                  <a:gd name="T77" fmla="*/ 658 h 1123"/>
                  <a:gd name="T78" fmla="*/ 196 w 1241"/>
                  <a:gd name="T79" fmla="*/ 750 h 1123"/>
                  <a:gd name="T80" fmla="*/ 219 w 1241"/>
                  <a:gd name="T81" fmla="*/ 769 h 1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41" h="1123">
                    <a:moveTo>
                      <a:pt x="219" y="769"/>
                    </a:moveTo>
                    <a:cubicBezTo>
                      <a:pt x="219" y="769"/>
                      <a:pt x="252" y="824"/>
                      <a:pt x="261" y="836"/>
                    </a:cubicBezTo>
                    <a:cubicBezTo>
                      <a:pt x="270" y="849"/>
                      <a:pt x="304" y="880"/>
                      <a:pt x="334" y="905"/>
                    </a:cubicBezTo>
                    <a:cubicBezTo>
                      <a:pt x="363" y="929"/>
                      <a:pt x="405" y="941"/>
                      <a:pt x="448" y="954"/>
                    </a:cubicBezTo>
                    <a:cubicBezTo>
                      <a:pt x="491" y="967"/>
                      <a:pt x="548" y="968"/>
                      <a:pt x="585" y="954"/>
                    </a:cubicBezTo>
                    <a:cubicBezTo>
                      <a:pt x="622" y="940"/>
                      <a:pt x="669" y="934"/>
                      <a:pt x="692" y="937"/>
                    </a:cubicBezTo>
                    <a:cubicBezTo>
                      <a:pt x="716" y="940"/>
                      <a:pt x="737" y="922"/>
                      <a:pt x="739" y="959"/>
                    </a:cubicBezTo>
                    <a:cubicBezTo>
                      <a:pt x="742" y="995"/>
                      <a:pt x="744" y="993"/>
                      <a:pt x="753" y="1021"/>
                    </a:cubicBezTo>
                    <a:cubicBezTo>
                      <a:pt x="762" y="1048"/>
                      <a:pt x="747" y="1076"/>
                      <a:pt x="781" y="1067"/>
                    </a:cubicBezTo>
                    <a:cubicBezTo>
                      <a:pt x="816" y="1058"/>
                      <a:pt x="832" y="1050"/>
                      <a:pt x="859" y="1063"/>
                    </a:cubicBezTo>
                    <a:cubicBezTo>
                      <a:pt x="887" y="1075"/>
                      <a:pt x="883" y="1050"/>
                      <a:pt x="905" y="1085"/>
                    </a:cubicBezTo>
                    <a:cubicBezTo>
                      <a:pt x="928" y="1120"/>
                      <a:pt x="943" y="1116"/>
                      <a:pt x="974" y="1110"/>
                    </a:cubicBezTo>
                    <a:cubicBezTo>
                      <a:pt x="1005" y="1104"/>
                      <a:pt x="1004" y="1086"/>
                      <a:pt x="1019" y="1105"/>
                    </a:cubicBezTo>
                    <a:cubicBezTo>
                      <a:pt x="1035" y="1123"/>
                      <a:pt x="1047" y="1123"/>
                      <a:pt x="1046" y="1104"/>
                    </a:cubicBezTo>
                    <a:cubicBezTo>
                      <a:pt x="1045" y="1084"/>
                      <a:pt x="1069" y="1056"/>
                      <a:pt x="1089" y="1041"/>
                    </a:cubicBezTo>
                    <a:cubicBezTo>
                      <a:pt x="1108" y="1027"/>
                      <a:pt x="1143" y="1024"/>
                      <a:pt x="1141" y="992"/>
                    </a:cubicBezTo>
                    <a:cubicBezTo>
                      <a:pt x="1139" y="960"/>
                      <a:pt x="1127" y="924"/>
                      <a:pt x="1130" y="903"/>
                    </a:cubicBezTo>
                    <a:cubicBezTo>
                      <a:pt x="1132" y="881"/>
                      <a:pt x="1126" y="851"/>
                      <a:pt x="1108" y="872"/>
                    </a:cubicBezTo>
                    <a:cubicBezTo>
                      <a:pt x="1091" y="894"/>
                      <a:pt x="1042" y="891"/>
                      <a:pt x="1019" y="866"/>
                    </a:cubicBezTo>
                    <a:cubicBezTo>
                      <a:pt x="997" y="841"/>
                      <a:pt x="992" y="807"/>
                      <a:pt x="964" y="807"/>
                    </a:cubicBezTo>
                    <a:cubicBezTo>
                      <a:pt x="936" y="807"/>
                      <a:pt x="917" y="788"/>
                      <a:pt x="924" y="769"/>
                    </a:cubicBezTo>
                    <a:cubicBezTo>
                      <a:pt x="931" y="751"/>
                      <a:pt x="942" y="759"/>
                      <a:pt x="955" y="761"/>
                    </a:cubicBezTo>
                    <a:cubicBezTo>
                      <a:pt x="967" y="763"/>
                      <a:pt x="992" y="765"/>
                      <a:pt x="1001" y="740"/>
                    </a:cubicBezTo>
                    <a:cubicBezTo>
                      <a:pt x="1010" y="715"/>
                      <a:pt x="992" y="668"/>
                      <a:pt x="1006" y="658"/>
                    </a:cubicBezTo>
                    <a:cubicBezTo>
                      <a:pt x="1020" y="648"/>
                      <a:pt x="1054" y="663"/>
                      <a:pt x="1047" y="637"/>
                    </a:cubicBezTo>
                    <a:cubicBezTo>
                      <a:pt x="1040" y="612"/>
                      <a:pt x="1020" y="555"/>
                      <a:pt x="1039" y="549"/>
                    </a:cubicBezTo>
                    <a:cubicBezTo>
                      <a:pt x="1057" y="543"/>
                      <a:pt x="1091" y="542"/>
                      <a:pt x="1100" y="555"/>
                    </a:cubicBezTo>
                    <a:cubicBezTo>
                      <a:pt x="1109" y="569"/>
                      <a:pt x="1125" y="606"/>
                      <a:pt x="1141" y="606"/>
                    </a:cubicBezTo>
                    <a:cubicBezTo>
                      <a:pt x="1158" y="606"/>
                      <a:pt x="1161" y="577"/>
                      <a:pt x="1201" y="566"/>
                    </a:cubicBezTo>
                    <a:cubicBezTo>
                      <a:pt x="1241" y="554"/>
                      <a:pt x="1238" y="540"/>
                      <a:pt x="1229" y="522"/>
                    </a:cubicBezTo>
                    <a:cubicBezTo>
                      <a:pt x="1220" y="503"/>
                      <a:pt x="1199" y="485"/>
                      <a:pt x="1207" y="471"/>
                    </a:cubicBezTo>
                    <a:cubicBezTo>
                      <a:pt x="1215" y="458"/>
                      <a:pt x="1206" y="457"/>
                      <a:pt x="1180" y="455"/>
                    </a:cubicBezTo>
                    <a:cubicBezTo>
                      <a:pt x="1154" y="453"/>
                      <a:pt x="1136" y="439"/>
                      <a:pt x="1146" y="395"/>
                    </a:cubicBezTo>
                    <a:cubicBezTo>
                      <a:pt x="1157" y="351"/>
                      <a:pt x="1157" y="192"/>
                      <a:pt x="1157" y="192"/>
                    </a:cubicBezTo>
                    <a:cubicBezTo>
                      <a:pt x="1119" y="49"/>
                      <a:pt x="1119" y="49"/>
                      <a:pt x="1119" y="49"/>
                    </a:cubicBezTo>
                    <a:cubicBezTo>
                      <a:pt x="827" y="0"/>
                      <a:pt x="827" y="0"/>
                      <a:pt x="827" y="0"/>
                    </a:cubicBezTo>
                    <a:cubicBezTo>
                      <a:pt x="522" y="64"/>
                      <a:pt x="522" y="64"/>
                      <a:pt x="522" y="64"/>
                    </a:cubicBezTo>
                    <a:cubicBezTo>
                      <a:pt x="0" y="432"/>
                      <a:pt x="0" y="432"/>
                      <a:pt x="0" y="432"/>
                    </a:cubicBezTo>
                    <a:cubicBezTo>
                      <a:pt x="32" y="658"/>
                      <a:pt x="32" y="658"/>
                      <a:pt x="32" y="658"/>
                    </a:cubicBezTo>
                    <a:cubicBezTo>
                      <a:pt x="196" y="750"/>
                      <a:pt x="196" y="750"/>
                      <a:pt x="196" y="750"/>
                    </a:cubicBezTo>
                    <a:lnTo>
                      <a:pt x="219" y="769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4" name="Freeform 17"/>
              <p:cNvSpPr/>
              <p:nvPr/>
            </p:nvSpPr>
            <p:spPr bwMode="auto">
              <a:xfrm>
                <a:off x="5798716" y="4246265"/>
                <a:ext cx="644525" cy="536575"/>
              </a:xfrm>
              <a:custGeom>
                <a:avLst/>
                <a:gdLst>
                  <a:gd name="T0" fmla="*/ 584 w 1153"/>
                  <a:gd name="T1" fmla="*/ 79 h 960"/>
                  <a:gd name="T2" fmla="*/ 572 w 1153"/>
                  <a:gd name="T3" fmla="*/ 95 h 960"/>
                  <a:gd name="T4" fmla="*/ 565 w 1153"/>
                  <a:gd name="T5" fmla="*/ 127 h 960"/>
                  <a:gd name="T6" fmla="*/ 589 w 1153"/>
                  <a:gd name="T7" fmla="*/ 141 h 960"/>
                  <a:gd name="T8" fmla="*/ 611 w 1153"/>
                  <a:gd name="T9" fmla="*/ 155 h 960"/>
                  <a:gd name="T10" fmla="*/ 632 w 1153"/>
                  <a:gd name="T11" fmla="*/ 175 h 960"/>
                  <a:gd name="T12" fmla="*/ 666 w 1153"/>
                  <a:gd name="T13" fmla="*/ 199 h 960"/>
                  <a:gd name="T14" fmla="*/ 677 w 1153"/>
                  <a:gd name="T15" fmla="*/ 215 h 960"/>
                  <a:gd name="T16" fmla="*/ 717 w 1153"/>
                  <a:gd name="T17" fmla="*/ 206 h 960"/>
                  <a:gd name="T18" fmla="*/ 781 w 1153"/>
                  <a:gd name="T19" fmla="*/ 247 h 960"/>
                  <a:gd name="T20" fmla="*/ 811 w 1153"/>
                  <a:gd name="T21" fmla="*/ 311 h 960"/>
                  <a:gd name="T22" fmla="*/ 825 w 1153"/>
                  <a:gd name="T23" fmla="*/ 328 h 960"/>
                  <a:gd name="T24" fmla="*/ 846 w 1153"/>
                  <a:gd name="T25" fmla="*/ 360 h 960"/>
                  <a:gd name="T26" fmla="*/ 868 w 1153"/>
                  <a:gd name="T27" fmla="*/ 440 h 960"/>
                  <a:gd name="T28" fmla="*/ 904 w 1153"/>
                  <a:gd name="T29" fmla="*/ 498 h 960"/>
                  <a:gd name="T30" fmla="*/ 924 w 1153"/>
                  <a:gd name="T31" fmla="*/ 553 h 960"/>
                  <a:gd name="T32" fmla="*/ 992 w 1153"/>
                  <a:gd name="T33" fmla="*/ 598 h 960"/>
                  <a:gd name="T34" fmla="*/ 1031 w 1153"/>
                  <a:gd name="T35" fmla="*/ 637 h 960"/>
                  <a:gd name="T36" fmla="*/ 1063 w 1153"/>
                  <a:gd name="T37" fmla="*/ 665 h 960"/>
                  <a:gd name="T38" fmla="*/ 1111 w 1153"/>
                  <a:gd name="T39" fmla="*/ 695 h 960"/>
                  <a:gd name="T40" fmla="*/ 1143 w 1153"/>
                  <a:gd name="T41" fmla="*/ 736 h 960"/>
                  <a:gd name="T42" fmla="*/ 1138 w 1153"/>
                  <a:gd name="T43" fmla="*/ 794 h 960"/>
                  <a:gd name="T44" fmla="*/ 1108 w 1153"/>
                  <a:gd name="T45" fmla="*/ 802 h 960"/>
                  <a:gd name="T46" fmla="*/ 1038 w 1153"/>
                  <a:gd name="T47" fmla="*/ 774 h 960"/>
                  <a:gd name="T48" fmla="*/ 945 w 1153"/>
                  <a:gd name="T49" fmla="*/ 729 h 960"/>
                  <a:gd name="T50" fmla="*/ 928 w 1153"/>
                  <a:gd name="T51" fmla="*/ 736 h 960"/>
                  <a:gd name="T52" fmla="*/ 990 w 1153"/>
                  <a:gd name="T53" fmla="*/ 769 h 960"/>
                  <a:gd name="T54" fmla="*/ 1032 w 1153"/>
                  <a:gd name="T55" fmla="*/ 797 h 960"/>
                  <a:gd name="T56" fmla="*/ 1014 w 1153"/>
                  <a:gd name="T57" fmla="*/ 831 h 960"/>
                  <a:gd name="T58" fmla="*/ 989 w 1153"/>
                  <a:gd name="T59" fmla="*/ 890 h 960"/>
                  <a:gd name="T60" fmla="*/ 959 w 1153"/>
                  <a:gd name="T61" fmla="*/ 926 h 960"/>
                  <a:gd name="T62" fmla="*/ 891 w 1153"/>
                  <a:gd name="T63" fmla="*/ 933 h 960"/>
                  <a:gd name="T64" fmla="*/ 833 w 1153"/>
                  <a:gd name="T65" fmla="*/ 843 h 960"/>
                  <a:gd name="T66" fmla="*/ 792 w 1153"/>
                  <a:gd name="T67" fmla="*/ 869 h 960"/>
                  <a:gd name="T68" fmla="*/ 755 w 1153"/>
                  <a:gd name="T69" fmla="*/ 920 h 960"/>
                  <a:gd name="T70" fmla="*/ 646 w 1153"/>
                  <a:gd name="T71" fmla="*/ 906 h 960"/>
                  <a:gd name="T72" fmla="*/ 570 w 1153"/>
                  <a:gd name="T73" fmla="*/ 919 h 960"/>
                  <a:gd name="T74" fmla="*/ 589 w 1153"/>
                  <a:gd name="T75" fmla="*/ 867 h 960"/>
                  <a:gd name="T76" fmla="*/ 525 w 1153"/>
                  <a:gd name="T77" fmla="*/ 823 h 960"/>
                  <a:gd name="T78" fmla="*/ 478 w 1153"/>
                  <a:gd name="T79" fmla="*/ 769 h 960"/>
                  <a:gd name="T80" fmla="*/ 524 w 1153"/>
                  <a:gd name="T81" fmla="*/ 700 h 960"/>
                  <a:gd name="T82" fmla="*/ 495 w 1153"/>
                  <a:gd name="T83" fmla="*/ 649 h 960"/>
                  <a:gd name="T84" fmla="*/ 511 w 1153"/>
                  <a:gd name="T85" fmla="*/ 628 h 960"/>
                  <a:gd name="T86" fmla="*/ 586 w 1153"/>
                  <a:gd name="T87" fmla="*/ 639 h 960"/>
                  <a:gd name="T88" fmla="*/ 602 w 1153"/>
                  <a:gd name="T89" fmla="*/ 623 h 960"/>
                  <a:gd name="T90" fmla="*/ 583 w 1153"/>
                  <a:gd name="T91" fmla="*/ 570 h 960"/>
                  <a:gd name="T92" fmla="*/ 532 w 1153"/>
                  <a:gd name="T93" fmla="*/ 563 h 960"/>
                  <a:gd name="T94" fmla="*/ 474 w 1153"/>
                  <a:gd name="T95" fmla="*/ 604 h 960"/>
                  <a:gd name="T96" fmla="*/ 424 w 1153"/>
                  <a:gd name="T97" fmla="*/ 557 h 960"/>
                  <a:gd name="T98" fmla="*/ 384 w 1153"/>
                  <a:gd name="T99" fmla="*/ 477 h 960"/>
                  <a:gd name="T100" fmla="*/ 393 w 1153"/>
                  <a:gd name="T101" fmla="*/ 429 h 960"/>
                  <a:gd name="T102" fmla="*/ 361 w 1153"/>
                  <a:gd name="T103" fmla="*/ 392 h 960"/>
                  <a:gd name="T104" fmla="*/ 312 w 1153"/>
                  <a:gd name="T105" fmla="*/ 380 h 960"/>
                  <a:gd name="T106" fmla="*/ 243 w 1153"/>
                  <a:gd name="T107" fmla="*/ 344 h 960"/>
                  <a:gd name="T108" fmla="*/ 162 w 1153"/>
                  <a:gd name="T109" fmla="*/ 294 h 960"/>
                  <a:gd name="T110" fmla="*/ 99 w 1153"/>
                  <a:gd name="T111" fmla="*/ 253 h 960"/>
                  <a:gd name="T112" fmla="*/ 31 w 1153"/>
                  <a:gd name="T113" fmla="*/ 184 h 960"/>
                  <a:gd name="T114" fmla="*/ 399 w 1153"/>
                  <a:gd name="T115" fmla="*/ 0 h 960"/>
                  <a:gd name="T116" fmla="*/ 491 w 1153"/>
                  <a:gd name="T117" fmla="*/ 26 h 960"/>
                  <a:gd name="T118" fmla="*/ 542 w 1153"/>
                  <a:gd name="T119" fmla="*/ 52 h 960"/>
                  <a:gd name="T120" fmla="*/ 586 w 1153"/>
                  <a:gd name="T121" fmla="*/ 75 h 960"/>
                  <a:gd name="T122" fmla="*/ 584 w 1153"/>
                  <a:gd name="T123" fmla="*/ 79 h 9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53" h="960">
                    <a:moveTo>
                      <a:pt x="584" y="79"/>
                    </a:moveTo>
                    <a:cubicBezTo>
                      <a:pt x="581" y="87"/>
                      <a:pt x="577" y="89"/>
                      <a:pt x="572" y="95"/>
                    </a:cubicBezTo>
                    <a:cubicBezTo>
                      <a:pt x="566" y="104"/>
                      <a:pt x="561" y="117"/>
                      <a:pt x="565" y="127"/>
                    </a:cubicBezTo>
                    <a:cubicBezTo>
                      <a:pt x="569" y="137"/>
                      <a:pt x="575" y="149"/>
                      <a:pt x="589" y="141"/>
                    </a:cubicBezTo>
                    <a:cubicBezTo>
                      <a:pt x="604" y="134"/>
                      <a:pt x="608" y="140"/>
                      <a:pt x="611" y="155"/>
                    </a:cubicBezTo>
                    <a:cubicBezTo>
                      <a:pt x="615" y="170"/>
                      <a:pt x="615" y="169"/>
                      <a:pt x="632" y="175"/>
                    </a:cubicBezTo>
                    <a:cubicBezTo>
                      <a:pt x="649" y="181"/>
                      <a:pt x="667" y="186"/>
                      <a:pt x="666" y="199"/>
                    </a:cubicBezTo>
                    <a:cubicBezTo>
                      <a:pt x="665" y="211"/>
                      <a:pt x="671" y="221"/>
                      <a:pt x="677" y="215"/>
                    </a:cubicBezTo>
                    <a:cubicBezTo>
                      <a:pt x="683" y="209"/>
                      <a:pt x="700" y="203"/>
                      <a:pt x="717" y="206"/>
                    </a:cubicBezTo>
                    <a:cubicBezTo>
                      <a:pt x="733" y="209"/>
                      <a:pt x="767" y="227"/>
                      <a:pt x="781" y="247"/>
                    </a:cubicBezTo>
                    <a:cubicBezTo>
                      <a:pt x="794" y="268"/>
                      <a:pt x="810" y="292"/>
                      <a:pt x="811" y="311"/>
                    </a:cubicBezTo>
                    <a:cubicBezTo>
                      <a:pt x="812" y="329"/>
                      <a:pt x="812" y="337"/>
                      <a:pt x="825" y="328"/>
                    </a:cubicBezTo>
                    <a:cubicBezTo>
                      <a:pt x="838" y="320"/>
                      <a:pt x="848" y="335"/>
                      <a:pt x="846" y="360"/>
                    </a:cubicBezTo>
                    <a:cubicBezTo>
                      <a:pt x="845" y="386"/>
                      <a:pt x="850" y="404"/>
                      <a:pt x="868" y="440"/>
                    </a:cubicBezTo>
                    <a:cubicBezTo>
                      <a:pt x="885" y="477"/>
                      <a:pt x="888" y="469"/>
                      <a:pt x="904" y="498"/>
                    </a:cubicBezTo>
                    <a:cubicBezTo>
                      <a:pt x="921" y="526"/>
                      <a:pt x="915" y="533"/>
                      <a:pt x="924" y="553"/>
                    </a:cubicBezTo>
                    <a:cubicBezTo>
                      <a:pt x="932" y="574"/>
                      <a:pt x="953" y="592"/>
                      <a:pt x="992" y="598"/>
                    </a:cubicBezTo>
                    <a:cubicBezTo>
                      <a:pt x="1031" y="604"/>
                      <a:pt x="1023" y="611"/>
                      <a:pt x="1031" y="637"/>
                    </a:cubicBezTo>
                    <a:cubicBezTo>
                      <a:pt x="1038" y="663"/>
                      <a:pt x="1041" y="659"/>
                      <a:pt x="1063" y="665"/>
                    </a:cubicBezTo>
                    <a:cubicBezTo>
                      <a:pt x="1085" y="671"/>
                      <a:pt x="1100" y="670"/>
                      <a:pt x="1111" y="695"/>
                    </a:cubicBezTo>
                    <a:cubicBezTo>
                      <a:pt x="1123" y="719"/>
                      <a:pt x="1133" y="713"/>
                      <a:pt x="1143" y="736"/>
                    </a:cubicBezTo>
                    <a:cubicBezTo>
                      <a:pt x="1153" y="759"/>
                      <a:pt x="1137" y="766"/>
                      <a:pt x="1138" y="794"/>
                    </a:cubicBezTo>
                    <a:cubicBezTo>
                      <a:pt x="1139" y="822"/>
                      <a:pt x="1128" y="798"/>
                      <a:pt x="1108" y="802"/>
                    </a:cubicBezTo>
                    <a:cubicBezTo>
                      <a:pt x="1088" y="805"/>
                      <a:pt x="1057" y="787"/>
                      <a:pt x="1038" y="774"/>
                    </a:cubicBezTo>
                    <a:cubicBezTo>
                      <a:pt x="1019" y="760"/>
                      <a:pt x="959" y="736"/>
                      <a:pt x="945" y="729"/>
                    </a:cubicBezTo>
                    <a:cubicBezTo>
                      <a:pt x="932" y="722"/>
                      <a:pt x="919" y="728"/>
                      <a:pt x="928" y="736"/>
                    </a:cubicBezTo>
                    <a:cubicBezTo>
                      <a:pt x="936" y="744"/>
                      <a:pt x="973" y="763"/>
                      <a:pt x="990" y="769"/>
                    </a:cubicBezTo>
                    <a:cubicBezTo>
                      <a:pt x="1006" y="775"/>
                      <a:pt x="1009" y="773"/>
                      <a:pt x="1032" y="797"/>
                    </a:cubicBezTo>
                    <a:cubicBezTo>
                      <a:pt x="1032" y="797"/>
                      <a:pt x="1025" y="822"/>
                      <a:pt x="1014" y="831"/>
                    </a:cubicBezTo>
                    <a:cubicBezTo>
                      <a:pt x="1004" y="840"/>
                      <a:pt x="991" y="864"/>
                      <a:pt x="989" y="890"/>
                    </a:cubicBezTo>
                    <a:cubicBezTo>
                      <a:pt x="987" y="916"/>
                      <a:pt x="985" y="919"/>
                      <a:pt x="959" y="926"/>
                    </a:cubicBezTo>
                    <a:cubicBezTo>
                      <a:pt x="933" y="934"/>
                      <a:pt x="905" y="960"/>
                      <a:pt x="891" y="933"/>
                    </a:cubicBezTo>
                    <a:cubicBezTo>
                      <a:pt x="876" y="906"/>
                      <a:pt x="852" y="850"/>
                      <a:pt x="833" y="843"/>
                    </a:cubicBezTo>
                    <a:cubicBezTo>
                      <a:pt x="813" y="837"/>
                      <a:pt x="805" y="850"/>
                      <a:pt x="792" y="869"/>
                    </a:cubicBezTo>
                    <a:cubicBezTo>
                      <a:pt x="779" y="889"/>
                      <a:pt x="777" y="919"/>
                      <a:pt x="755" y="920"/>
                    </a:cubicBezTo>
                    <a:cubicBezTo>
                      <a:pt x="734" y="921"/>
                      <a:pt x="656" y="895"/>
                      <a:pt x="646" y="906"/>
                    </a:cubicBezTo>
                    <a:cubicBezTo>
                      <a:pt x="637" y="917"/>
                      <a:pt x="562" y="944"/>
                      <a:pt x="570" y="919"/>
                    </a:cubicBezTo>
                    <a:cubicBezTo>
                      <a:pt x="577" y="895"/>
                      <a:pt x="620" y="852"/>
                      <a:pt x="589" y="867"/>
                    </a:cubicBezTo>
                    <a:cubicBezTo>
                      <a:pt x="559" y="882"/>
                      <a:pt x="531" y="849"/>
                      <a:pt x="525" y="823"/>
                    </a:cubicBezTo>
                    <a:cubicBezTo>
                      <a:pt x="518" y="797"/>
                      <a:pt x="469" y="796"/>
                      <a:pt x="478" y="769"/>
                    </a:cubicBezTo>
                    <a:cubicBezTo>
                      <a:pt x="488" y="742"/>
                      <a:pt x="512" y="717"/>
                      <a:pt x="524" y="700"/>
                    </a:cubicBezTo>
                    <a:cubicBezTo>
                      <a:pt x="536" y="683"/>
                      <a:pt x="501" y="652"/>
                      <a:pt x="495" y="649"/>
                    </a:cubicBezTo>
                    <a:cubicBezTo>
                      <a:pt x="489" y="645"/>
                      <a:pt x="497" y="631"/>
                      <a:pt x="511" y="628"/>
                    </a:cubicBezTo>
                    <a:cubicBezTo>
                      <a:pt x="525" y="624"/>
                      <a:pt x="579" y="624"/>
                      <a:pt x="586" y="639"/>
                    </a:cubicBezTo>
                    <a:cubicBezTo>
                      <a:pt x="593" y="653"/>
                      <a:pt x="602" y="641"/>
                      <a:pt x="602" y="623"/>
                    </a:cubicBezTo>
                    <a:cubicBezTo>
                      <a:pt x="602" y="604"/>
                      <a:pt x="581" y="589"/>
                      <a:pt x="583" y="570"/>
                    </a:cubicBezTo>
                    <a:cubicBezTo>
                      <a:pt x="585" y="550"/>
                      <a:pt x="548" y="546"/>
                      <a:pt x="532" y="563"/>
                    </a:cubicBezTo>
                    <a:cubicBezTo>
                      <a:pt x="516" y="581"/>
                      <a:pt x="497" y="609"/>
                      <a:pt x="474" y="604"/>
                    </a:cubicBezTo>
                    <a:cubicBezTo>
                      <a:pt x="451" y="598"/>
                      <a:pt x="438" y="585"/>
                      <a:pt x="424" y="557"/>
                    </a:cubicBezTo>
                    <a:cubicBezTo>
                      <a:pt x="411" y="529"/>
                      <a:pt x="366" y="492"/>
                      <a:pt x="384" y="477"/>
                    </a:cubicBezTo>
                    <a:cubicBezTo>
                      <a:pt x="402" y="462"/>
                      <a:pt x="398" y="457"/>
                      <a:pt x="393" y="429"/>
                    </a:cubicBezTo>
                    <a:cubicBezTo>
                      <a:pt x="387" y="402"/>
                      <a:pt x="380" y="384"/>
                      <a:pt x="361" y="392"/>
                    </a:cubicBezTo>
                    <a:cubicBezTo>
                      <a:pt x="341" y="399"/>
                      <a:pt x="325" y="399"/>
                      <a:pt x="312" y="380"/>
                    </a:cubicBezTo>
                    <a:cubicBezTo>
                      <a:pt x="299" y="360"/>
                      <a:pt x="266" y="346"/>
                      <a:pt x="243" y="344"/>
                    </a:cubicBezTo>
                    <a:cubicBezTo>
                      <a:pt x="221" y="342"/>
                      <a:pt x="189" y="307"/>
                      <a:pt x="162" y="294"/>
                    </a:cubicBezTo>
                    <a:cubicBezTo>
                      <a:pt x="135" y="282"/>
                      <a:pt x="109" y="259"/>
                      <a:pt x="99" y="253"/>
                    </a:cubicBezTo>
                    <a:cubicBezTo>
                      <a:pt x="89" y="247"/>
                      <a:pt x="0" y="237"/>
                      <a:pt x="31" y="184"/>
                    </a:cubicBezTo>
                    <a:cubicBezTo>
                      <a:pt x="63" y="130"/>
                      <a:pt x="399" y="0"/>
                      <a:pt x="399" y="0"/>
                    </a:cubicBezTo>
                    <a:cubicBezTo>
                      <a:pt x="399" y="0"/>
                      <a:pt x="489" y="26"/>
                      <a:pt x="491" y="26"/>
                    </a:cubicBezTo>
                    <a:cubicBezTo>
                      <a:pt x="493" y="26"/>
                      <a:pt x="542" y="52"/>
                      <a:pt x="542" y="52"/>
                    </a:cubicBezTo>
                    <a:cubicBezTo>
                      <a:pt x="586" y="75"/>
                      <a:pt x="586" y="75"/>
                      <a:pt x="586" y="75"/>
                    </a:cubicBezTo>
                    <a:lnTo>
                      <a:pt x="584" y="79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5" name="Freeform 18"/>
              <p:cNvSpPr/>
              <p:nvPr/>
            </p:nvSpPr>
            <p:spPr bwMode="auto">
              <a:xfrm>
                <a:off x="5662191" y="3901777"/>
                <a:ext cx="733425" cy="503237"/>
              </a:xfrm>
              <a:custGeom>
                <a:avLst/>
                <a:gdLst>
                  <a:gd name="T0" fmla="*/ 508 w 1312"/>
                  <a:gd name="T1" fmla="*/ 103 h 900"/>
                  <a:gd name="T2" fmla="*/ 547 w 1312"/>
                  <a:gd name="T3" fmla="*/ 71 h 900"/>
                  <a:gd name="T4" fmla="*/ 670 w 1312"/>
                  <a:gd name="T5" fmla="*/ 92 h 900"/>
                  <a:gd name="T6" fmla="*/ 665 w 1312"/>
                  <a:gd name="T7" fmla="*/ 186 h 900"/>
                  <a:gd name="T8" fmla="*/ 740 w 1312"/>
                  <a:gd name="T9" fmla="*/ 247 h 900"/>
                  <a:gd name="T10" fmla="*/ 831 w 1312"/>
                  <a:gd name="T11" fmla="*/ 202 h 900"/>
                  <a:gd name="T12" fmla="*/ 886 w 1312"/>
                  <a:gd name="T13" fmla="*/ 114 h 900"/>
                  <a:gd name="T14" fmla="*/ 928 w 1312"/>
                  <a:gd name="T15" fmla="*/ 31 h 900"/>
                  <a:gd name="T16" fmla="*/ 974 w 1312"/>
                  <a:gd name="T17" fmla="*/ 16 h 900"/>
                  <a:gd name="T18" fmla="*/ 1001 w 1312"/>
                  <a:gd name="T19" fmla="*/ 58 h 900"/>
                  <a:gd name="T20" fmla="*/ 1064 w 1312"/>
                  <a:gd name="T21" fmla="*/ 103 h 900"/>
                  <a:gd name="T22" fmla="*/ 1122 w 1312"/>
                  <a:gd name="T23" fmla="*/ 128 h 900"/>
                  <a:gd name="T24" fmla="*/ 1219 w 1312"/>
                  <a:gd name="T25" fmla="*/ 94 h 900"/>
                  <a:gd name="T26" fmla="*/ 1306 w 1312"/>
                  <a:gd name="T27" fmla="*/ 108 h 900"/>
                  <a:gd name="T28" fmla="*/ 1292 w 1312"/>
                  <a:gd name="T29" fmla="*/ 220 h 900"/>
                  <a:gd name="T30" fmla="*/ 1203 w 1312"/>
                  <a:gd name="T31" fmla="*/ 229 h 900"/>
                  <a:gd name="T32" fmla="*/ 1128 w 1312"/>
                  <a:gd name="T33" fmla="*/ 284 h 900"/>
                  <a:gd name="T34" fmla="*/ 1043 w 1312"/>
                  <a:gd name="T35" fmla="*/ 350 h 900"/>
                  <a:gd name="T36" fmla="*/ 1011 w 1312"/>
                  <a:gd name="T37" fmla="*/ 411 h 900"/>
                  <a:gd name="T38" fmla="*/ 974 w 1312"/>
                  <a:gd name="T39" fmla="*/ 455 h 900"/>
                  <a:gd name="T40" fmla="*/ 938 w 1312"/>
                  <a:gd name="T41" fmla="*/ 480 h 900"/>
                  <a:gd name="T42" fmla="*/ 894 w 1312"/>
                  <a:gd name="T43" fmla="*/ 561 h 900"/>
                  <a:gd name="T44" fmla="*/ 832 w 1312"/>
                  <a:gd name="T45" fmla="*/ 678 h 900"/>
                  <a:gd name="T46" fmla="*/ 787 w 1312"/>
                  <a:gd name="T47" fmla="*/ 700 h 900"/>
                  <a:gd name="T48" fmla="*/ 726 w 1312"/>
                  <a:gd name="T49" fmla="*/ 751 h 900"/>
                  <a:gd name="T50" fmla="*/ 670 w 1312"/>
                  <a:gd name="T51" fmla="*/ 840 h 900"/>
                  <a:gd name="T52" fmla="*/ 614 w 1312"/>
                  <a:gd name="T53" fmla="*/ 843 h 900"/>
                  <a:gd name="T54" fmla="*/ 544 w 1312"/>
                  <a:gd name="T55" fmla="*/ 848 h 900"/>
                  <a:gd name="T56" fmla="*/ 407 w 1312"/>
                  <a:gd name="T57" fmla="*/ 796 h 900"/>
                  <a:gd name="T58" fmla="*/ 317 w 1312"/>
                  <a:gd name="T59" fmla="*/ 832 h 900"/>
                  <a:gd name="T60" fmla="*/ 243 w 1312"/>
                  <a:gd name="T61" fmla="*/ 878 h 900"/>
                  <a:gd name="T62" fmla="*/ 128 w 1312"/>
                  <a:gd name="T63" fmla="*/ 876 h 900"/>
                  <a:gd name="T64" fmla="*/ 7 w 1312"/>
                  <a:gd name="T65" fmla="*/ 799 h 900"/>
                  <a:gd name="T66" fmla="*/ 85 w 1312"/>
                  <a:gd name="T67" fmla="*/ 684 h 900"/>
                  <a:gd name="T68" fmla="*/ 179 w 1312"/>
                  <a:gd name="T69" fmla="*/ 602 h 900"/>
                  <a:gd name="T70" fmla="*/ 98 w 1312"/>
                  <a:gd name="T71" fmla="*/ 629 h 900"/>
                  <a:gd name="T72" fmla="*/ 82 w 1312"/>
                  <a:gd name="T73" fmla="*/ 556 h 900"/>
                  <a:gd name="T74" fmla="*/ 55 w 1312"/>
                  <a:gd name="T75" fmla="*/ 294 h 900"/>
                  <a:gd name="T76" fmla="*/ 431 w 1312"/>
                  <a:gd name="T77" fmla="*/ 53 h 900"/>
                  <a:gd name="T78" fmla="*/ 489 w 1312"/>
                  <a:gd name="T79" fmla="*/ 49 h 9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312" h="900">
                    <a:moveTo>
                      <a:pt x="489" y="49"/>
                    </a:moveTo>
                    <a:cubicBezTo>
                      <a:pt x="499" y="63"/>
                      <a:pt x="502" y="87"/>
                      <a:pt x="508" y="103"/>
                    </a:cubicBezTo>
                    <a:cubicBezTo>
                      <a:pt x="518" y="129"/>
                      <a:pt x="532" y="107"/>
                      <a:pt x="540" y="105"/>
                    </a:cubicBezTo>
                    <a:cubicBezTo>
                      <a:pt x="549" y="103"/>
                      <a:pt x="545" y="83"/>
                      <a:pt x="547" y="71"/>
                    </a:cubicBezTo>
                    <a:cubicBezTo>
                      <a:pt x="550" y="59"/>
                      <a:pt x="564" y="54"/>
                      <a:pt x="589" y="60"/>
                    </a:cubicBezTo>
                    <a:cubicBezTo>
                      <a:pt x="614" y="66"/>
                      <a:pt x="657" y="83"/>
                      <a:pt x="670" y="92"/>
                    </a:cubicBezTo>
                    <a:cubicBezTo>
                      <a:pt x="684" y="100"/>
                      <a:pt x="677" y="109"/>
                      <a:pt x="673" y="124"/>
                    </a:cubicBezTo>
                    <a:cubicBezTo>
                      <a:pt x="669" y="139"/>
                      <a:pt x="673" y="164"/>
                      <a:pt x="665" y="186"/>
                    </a:cubicBezTo>
                    <a:cubicBezTo>
                      <a:pt x="657" y="208"/>
                      <a:pt x="670" y="214"/>
                      <a:pt x="676" y="221"/>
                    </a:cubicBezTo>
                    <a:cubicBezTo>
                      <a:pt x="683" y="227"/>
                      <a:pt x="717" y="253"/>
                      <a:pt x="740" y="247"/>
                    </a:cubicBezTo>
                    <a:cubicBezTo>
                      <a:pt x="762" y="242"/>
                      <a:pt x="783" y="250"/>
                      <a:pt x="809" y="242"/>
                    </a:cubicBezTo>
                    <a:cubicBezTo>
                      <a:pt x="835" y="234"/>
                      <a:pt x="830" y="225"/>
                      <a:pt x="831" y="202"/>
                    </a:cubicBezTo>
                    <a:cubicBezTo>
                      <a:pt x="831" y="180"/>
                      <a:pt x="823" y="178"/>
                      <a:pt x="857" y="164"/>
                    </a:cubicBezTo>
                    <a:cubicBezTo>
                      <a:pt x="892" y="150"/>
                      <a:pt x="885" y="133"/>
                      <a:pt x="886" y="114"/>
                    </a:cubicBezTo>
                    <a:cubicBezTo>
                      <a:pt x="887" y="95"/>
                      <a:pt x="932" y="83"/>
                      <a:pt x="948" y="73"/>
                    </a:cubicBezTo>
                    <a:cubicBezTo>
                      <a:pt x="963" y="63"/>
                      <a:pt x="939" y="47"/>
                      <a:pt x="928" y="31"/>
                    </a:cubicBezTo>
                    <a:cubicBezTo>
                      <a:pt x="918" y="14"/>
                      <a:pt x="941" y="21"/>
                      <a:pt x="956" y="37"/>
                    </a:cubicBezTo>
                    <a:cubicBezTo>
                      <a:pt x="970" y="53"/>
                      <a:pt x="969" y="33"/>
                      <a:pt x="974" y="16"/>
                    </a:cubicBezTo>
                    <a:cubicBezTo>
                      <a:pt x="980" y="0"/>
                      <a:pt x="994" y="34"/>
                      <a:pt x="991" y="44"/>
                    </a:cubicBezTo>
                    <a:cubicBezTo>
                      <a:pt x="989" y="53"/>
                      <a:pt x="990" y="61"/>
                      <a:pt x="1001" y="58"/>
                    </a:cubicBezTo>
                    <a:cubicBezTo>
                      <a:pt x="1012" y="55"/>
                      <a:pt x="1038" y="66"/>
                      <a:pt x="1045" y="83"/>
                    </a:cubicBezTo>
                    <a:cubicBezTo>
                      <a:pt x="1052" y="99"/>
                      <a:pt x="1059" y="113"/>
                      <a:pt x="1064" y="103"/>
                    </a:cubicBezTo>
                    <a:cubicBezTo>
                      <a:pt x="1070" y="93"/>
                      <a:pt x="1084" y="77"/>
                      <a:pt x="1088" y="98"/>
                    </a:cubicBezTo>
                    <a:cubicBezTo>
                      <a:pt x="1091" y="120"/>
                      <a:pt x="1100" y="129"/>
                      <a:pt x="1122" y="128"/>
                    </a:cubicBezTo>
                    <a:cubicBezTo>
                      <a:pt x="1144" y="128"/>
                      <a:pt x="1163" y="122"/>
                      <a:pt x="1186" y="103"/>
                    </a:cubicBezTo>
                    <a:cubicBezTo>
                      <a:pt x="1209" y="85"/>
                      <a:pt x="1208" y="89"/>
                      <a:pt x="1219" y="94"/>
                    </a:cubicBezTo>
                    <a:cubicBezTo>
                      <a:pt x="1231" y="100"/>
                      <a:pt x="1250" y="112"/>
                      <a:pt x="1271" y="100"/>
                    </a:cubicBezTo>
                    <a:cubicBezTo>
                      <a:pt x="1293" y="87"/>
                      <a:pt x="1300" y="92"/>
                      <a:pt x="1306" y="108"/>
                    </a:cubicBezTo>
                    <a:cubicBezTo>
                      <a:pt x="1312" y="124"/>
                      <a:pt x="1301" y="156"/>
                      <a:pt x="1287" y="165"/>
                    </a:cubicBezTo>
                    <a:cubicBezTo>
                      <a:pt x="1273" y="175"/>
                      <a:pt x="1289" y="200"/>
                      <a:pt x="1292" y="220"/>
                    </a:cubicBezTo>
                    <a:cubicBezTo>
                      <a:pt x="1295" y="240"/>
                      <a:pt x="1286" y="240"/>
                      <a:pt x="1258" y="228"/>
                    </a:cubicBezTo>
                    <a:cubicBezTo>
                      <a:pt x="1229" y="217"/>
                      <a:pt x="1239" y="220"/>
                      <a:pt x="1203" y="229"/>
                    </a:cubicBezTo>
                    <a:cubicBezTo>
                      <a:pt x="1167" y="238"/>
                      <a:pt x="1170" y="245"/>
                      <a:pt x="1170" y="260"/>
                    </a:cubicBezTo>
                    <a:cubicBezTo>
                      <a:pt x="1170" y="276"/>
                      <a:pt x="1155" y="290"/>
                      <a:pt x="1128" y="284"/>
                    </a:cubicBezTo>
                    <a:cubicBezTo>
                      <a:pt x="1101" y="279"/>
                      <a:pt x="1088" y="302"/>
                      <a:pt x="1080" y="307"/>
                    </a:cubicBezTo>
                    <a:cubicBezTo>
                      <a:pt x="1072" y="313"/>
                      <a:pt x="1046" y="331"/>
                      <a:pt x="1043" y="350"/>
                    </a:cubicBezTo>
                    <a:cubicBezTo>
                      <a:pt x="1040" y="369"/>
                      <a:pt x="1032" y="374"/>
                      <a:pt x="1019" y="366"/>
                    </a:cubicBezTo>
                    <a:cubicBezTo>
                      <a:pt x="1006" y="358"/>
                      <a:pt x="1009" y="395"/>
                      <a:pt x="1011" y="411"/>
                    </a:cubicBezTo>
                    <a:cubicBezTo>
                      <a:pt x="1013" y="426"/>
                      <a:pt x="1021" y="432"/>
                      <a:pt x="1015" y="445"/>
                    </a:cubicBezTo>
                    <a:cubicBezTo>
                      <a:pt x="1009" y="459"/>
                      <a:pt x="980" y="460"/>
                      <a:pt x="974" y="455"/>
                    </a:cubicBezTo>
                    <a:cubicBezTo>
                      <a:pt x="967" y="449"/>
                      <a:pt x="952" y="446"/>
                      <a:pt x="943" y="448"/>
                    </a:cubicBezTo>
                    <a:cubicBezTo>
                      <a:pt x="933" y="450"/>
                      <a:pt x="937" y="456"/>
                      <a:pt x="938" y="480"/>
                    </a:cubicBezTo>
                    <a:cubicBezTo>
                      <a:pt x="939" y="503"/>
                      <a:pt x="925" y="497"/>
                      <a:pt x="917" y="516"/>
                    </a:cubicBezTo>
                    <a:cubicBezTo>
                      <a:pt x="909" y="536"/>
                      <a:pt x="911" y="544"/>
                      <a:pt x="894" y="561"/>
                    </a:cubicBezTo>
                    <a:cubicBezTo>
                      <a:pt x="876" y="579"/>
                      <a:pt x="870" y="598"/>
                      <a:pt x="853" y="619"/>
                    </a:cubicBezTo>
                    <a:cubicBezTo>
                      <a:pt x="835" y="639"/>
                      <a:pt x="835" y="654"/>
                      <a:pt x="832" y="678"/>
                    </a:cubicBezTo>
                    <a:cubicBezTo>
                      <a:pt x="831" y="685"/>
                      <a:pt x="831" y="686"/>
                      <a:pt x="830" y="690"/>
                    </a:cubicBezTo>
                    <a:cubicBezTo>
                      <a:pt x="830" y="690"/>
                      <a:pt x="803" y="690"/>
                      <a:pt x="787" y="700"/>
                    </a:cubicBezTo>
                    <a:cubicBezTo>
                      <a:pt x="771" y="710"/>
                      <a:pt x="754" y="717"/>
                      <a:pt x="745" y="719"/>
                    </a:cubicBezTo>
                    <a:cubicBezTo>
                      <a:pt x="735" y="721"/>
                      <a:pt x="725" y="738"/>
                      <a:pt x="726" y="751"/>
                    </a:cubicBezTo>
                    <a:cubicBezTo>
                      <a:pt x="728" y="764"/>
                      <a:pt x="734" y="792"/>
                      <a:pt x="710" y="800"/>
                    </a:cubicBezTo>
                    <a:cubicBezTo>
                      <a:pt x="685" y="807"/>
                      <a:pt x="675" y="824"/>
                      <a:pt x="670" y="840"/>
                    </a:cubicBezTo>
                    <a:cubicBezTo>
                      <a:pt x="665" y="855"/>
                      <a:pt x="668" y="867"/>
                      <a:pt x="648" y="870"/>
                    </a:cubicBezTo>
                    <a:cubicBezTo>
                      <a:pt x="629" y="872"/>
                      <a:pt x="610" y="870"/>
                      <a:pt x="614" y="843"/>
                    </a:cubicBezTo>
                    <a:cubicBezTo>
                      <a:pt x="618" y="816"/>
                      <a:pt x="598" y="820"/>
                      <a:pt x="581" y="818"/>
                    </a:cubicBezTo>
                    <a:cubicBezTo>
                      <a:pt x="563" y="817"/>
                      <a:pt x="547" y="837"/>
                      <a:pt x="544" y="848"/>
                    </a:cubicBezTo>
                    <a:cubicBezTo>
                      <a:pt x="541" y="860"/>
                      <a:pt x="517" y="878"/>
                      <a:pt x="506" y="867"/>
                    </a:cubicBezTo>
                    <a:cubicBezTo>
                      <a:pt x="495" y="855"/>
                      <a:pt x="419" y="802"/>
                      <a:pt x="407" y="796"/>
                    </a:cubicBezTo>
                    <a:cubicBezTo>
                      <a:pt x="394" y="791"/>
                      <a:pt x="374" y="790"/>
                      <a:pt x="344" y="793"/>
                    </a:cubicBezTo>
                    <a:cubicBezTo>
                      <a:pt x="314" y="796"/>
                      <a:pt x="324" y="805"/>
                      <a:pt x="317" y="832"/>
                    </a:cubicBezTo>
                    <a:cubicBezTo>
                      <a:pt x="310" y="859"/>
                      <a:pt x="320" y="882"/>
                      <a:pt x="292" y="885"/>
                    </a:cubicBezTo>
                    <a:cubicBezTo>
                      <a:pt x="265" y="887"/>
                      <a:pt x="268" y="863"/>
                      <a:pt x="243" y="878"/>
                    </a:cubicBezTo>
                    <a:cubicBezTo>
                      <a:pt x="217" y="893"/>
                      <a:pt x="202" y="875"/>
                      <a:pt x="183" y="885"/>
                    </a:cubicBezTo>
                    <a:cubicBezTo>
                      <a:pt x="164" y="895"/>
                      <a:pt x="147" y="900"/>
                      <a:pt x="128" y="876"/>
                    </a:cubicBezTo>
                    <a:cubicBezTo>
                      <a:pt x="109" y="853"/>
                      <a:pt x="102" y="822"/>
                      <a:pt x="69" y="816"/>
                    </a:cubicBezTo>
                    <a:cubicBezTo>
                      <a:pt x="36" y="809"/>
                      <a:pt x="0" y="821"/>
                      <a:pt x="7" y="799"/>
                    </a:cubicBezTo>
                    <a:cubicBezTo>
                      <a:pt x="14" y="776"/>
                      <a:pt x="30" y="741"/>
                      <a:pt x="55" y="730"/>
                    </a:cubicBezTo>
                    <a:cubicBezTo>
                      <a:pt x="81" y="718"/>
                      <a:pt x="76" y="700"/>
                      <a:pt x="85" y="684"/>
                    </a:cubicBezTo>
                    <a:cubicBezTo>
                      <a:pt x="95" y="667"/>
                      <a:pt x="111" y="659"/>
                      <a:pt x="135" y="646"/>
                    </a:cubicBezTo>
                    <a:cubicBezTo>
                      <a:pt x="158" y="634"/>
                      <a:pt x="173" y="615"/>
                      <a:pt x="179" y="602"/>
                    </a:cubicBezTo>
                    <a:cubicBezTo>
                      <a:pt x="185" y="590"/>
                      <a:pt x="190" y="576"/>
                      <a:pt x="167" y="586"/>
                    </a:cubicBezTo>
                    <a:cubicBezTo>
                      <a:pt x="144" y="596"/>
                      <a:pt x="124" y="617"/>
                      <a:pt x="98" y="629"/>
                    </a:cubicBezTo>
                    <a:cubicBezTo>
                      <a:pt x="72" y="641"/>
                      <a:pt x="63" y="625"/>
                      <a:pt x="70" y="616"/>
                    </a:cubicBezTo>
                    <a:cubicBezTo>
                      <a:pt x="78" y="607"/>
                      <a:pt x="120" y="569"/>
                      <a:pt x="82" y="556"/>
                    </a:cubicBezTo>
                    <a:cubicBezTo>
                      <a:pt x="44" y="543"/>
                      <a:pt x="38" y="441"/>
                      <a:pt x="38" y="441"/>
                    </a:cubicBezTo>
                    <a:cubicBezTo>
                      <a:pt x="55" y="294"/>
                      <a:pt x="55" y="294"/>
                      <a:pt x="55" y="294"/>
                    </a:cubicBezTo>
                    <a:cubicBezTo>
                      <a:pt x="294" y="66"/>
                      <a:pt x="294" y="66"/>
                      <a:pt x="294" y="66"/>
                    </a:cubicBezTo>
                    <a:cubicBezTo>
                      <a:pt x="431" y="53"/>
                      <a:pt x="431" y="53"/>
                      <a:pt x="431" y="53"/>
                    </a:cubicBezTo>
                    <a:cubicBezTo>
                      <a:pt x="486" y="45"/>
                      <a:pt x="486" y="45"/>
                      <a:pt x="486" y="45"/>
                    </a:cubicBezTo>
                    <a:lnTo>
                      <a:pt x="489" y="49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6" name="Freeform 19"/>
              <p:cNvSpPr/>
              <p:nvPr/>
            </p:nvSpPr>
            <p:spPr bwMode="auto">
              <a:xfrm>
                <a:off x="5141491" y="3619202"/>
                <a:ext cx="492125" cy="827087"/>
              </a:xfrm>
              <a:custGeom>
                <a:avLst/>
                <a:gdLst>
                  <a:gd name="T0" fmla="*/ 174 w 880"/>
                  <a:gd name="T1" fmla="*/ 1464 h 1478"/>
                  <a:gd name="T2" fmla="*/ 255 w 880"/>
                  <a:gd name="T3" fmla="*/ 1464 h 1478"/>
                  <a:gd name="T4" fmla="*/ 328 w 880"/>
                  <a:gd name="T5" fmla="*/ 1415 h 1478"/>
                  <a:gd name="T6" fmla="*/ 391 w 880"/>
                  <a:gd name="T7" fmla="*/ 1380 h 1478"/>
                  <a:gd name="T8" fmla="*/ 440 w 880"/>
                  <a:gd name="T9" fmla="*/ 1342 h 1478"/>
                  <a:gd name="T10" fmla="*/ 453 w 880"/>
                  <a:gd name="T11" fmla="*/ 1322 h 1478"/>
                  <a:gd name="T12" fmla="*/ 487 w 880"/>
                  <a:gd name="T13" fmla="*/ 1305 h 1478"/>
                  <a:gd name="T14" fmla="*/ 559 w 880"/>
                  <a:gd name="T15" fmla="*/ 1300 h 1478"/>
                  <a:gd name="T16" fmla="*/ 642 w 880"/>
                  <a:gd name="T17" fmla="*/ 1266 h 1478"/>
                  <a:gd name="T18" fmla="*/ 713 w 880"/>
                  <a:gd name="T19" fmla="*/ 1198 h 1478"/>
                  <a:gd name="T20" fmla="*/ 719 w 880"/>
                  <a:gd name="T21" fmla="*/ 1118 h 1478"/>
                  <a:gd name="T22" fmla="*/ 758 w 880"/>
                  <a:gd name="T23" fmla="*/ 999 h 1478"/>
                  <a:gd name="T24" fmla="*/ 880 w 880"/>
                  <a:gd name="T25" fmla="*/ 655 h 1478"/>
                  <a:gd name="T26" fmla="*/ 840 w 880"/>
                  <a:gd name="T27" fmla="*/ 130 h 1478"/>
                  <a:gd name="T28" fmla="*/ 751 w 880"/>
                  <a:gd name="T29" fmla="*/ 0 h 1478"/>
                  <a:gd name="T30" fmla="*/ 585 w 880"/>
                  <a:gd name="T31" fmla="*/ 28 h 1478"/>
                  <a:gd name="T32" fmla="*/ 136 w 880"/>
                  <a:gd name="T33" fmla="*/ 299 h 1478"/>
                  <a:gd name="T34" fmla="*/ 81 w 880"/>
                  <a:gd name="T35" fmla="*/ 627 h 1478"/>
                  <a:gd name="T36" fmla="*/ 0 w 880"/>
                  <a:gd name="T37" fmla="*/ 1162 h 1478"/>
                  <a:gd name="T38" fmla="*/ 106 w 880"/>
                  <a:gd name="T39" fmla="*/ 1420 h 1478"/>
                  <a:gd name="T40" fmla="*/ 174 w 880"/>
                  <a:gd name="T41" fmla="*/ 1464 h 1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80" h="1478">
                    <a:moveTo>
                      <a:pt x="174" y="1464"/>
                    </a:moveTo>
                    <a:cubicBezTo>
                      <a:pt x="174" y="1464"/>
                      <a:pt x="243" y="1478"/>
                      <a:pt x="255" y="1464"/>
                    </a:cubicBezTo>
                    <a:cubicBezTo>
                      <a:pt x="267" y="1451"/>
                      <a:pt x="298" y="1426"/>
                      <a:pt x="328" y="1415"/>
                    </a:cubicBezTo>
                    <a:cubicBezTo>
                      <a:pt x="358" y="1404"/>
                      <a:pt x="380" y="1404"/>
                      <a:pt x="391" y="1380"/>
                    </a:cubicBezTo>
                    <a:cubicBezTo>
                      <a:pt x="403" y="1356"/>
                      <a:pt x="430" y="1344"/>
                      <a:pt x="440" y="1342"/>
                    </a:cubicBezTo>
                    <a:cubicBezTo>
                      <a:pt x="449" y="1340"/>
                      <a:pt x="453" y="1329"/>
                      <a:pt x="453" y="1322"/>
                    </a:cubicBezTo>
                    <a:cubicBezTo>
                      <a:pt x="453" y="1314"/>
                      <a:pt x="460" y="1301"/>
                      <a:pt x="487" y="1305"/>
                    </a:cubicBezTo>
                    <a:cubicBezTo>
                      <a:pt x="513" y="1309"/>
                      <a:pt x="535" y="1310"/>
                      <a:pt x="559" y="1300"/>
                    </a:cubicBezTo>
                    <a:cubicBezTo>
                      <a:pt x="584" y="1290"/>
                      <a:pt x="629" y="1279"/>
                      <a:pt x="642" y="1266"/>
                    </a:cubicBezTo>
                    <a:cubicBezTo>
                      <a:pt x="656" y="1254"/>
                      <a:pt x="705" y="1226"/>
                      <a:pt x="713" y="1198"/>
                    </a:cubicBezTo>
                    <a:cubicBezTo>
                      <a:pt x="721" y="1169"/>
                      <a:pt x="718" y="1138"/>
                      <a:pt x="719" y="1118"/>
                    </a:cubicBezTo>
                    <a:cubicBezTo>
                      <a:pt x="720" y="1097"/>
                      <a:pt x="722" y="1011"/>
                      <a:pt x="758" y="999"/>
                    </a:cubicBezTo>
                    <a:cubicBezTo>
                      <a:pt x="794" y="987"/>
                      <a:pt x="880" y="655"/>
                      <a:pt x="880" y="655"/>
                    </a:cubicBezTo>
                    <a:cubicBezTo>
                      <a:pt x="840" y="130"/>
                      <a:pt x="840" y="130"/>
                      <a:pt x="840" y="130"/>
                    </a:cubicBezTo>
                    <a:cubicBezTo>
                      <a:pt x="751" y="0"/>
                      <a:pt x="751" y="0"/>
                      <a:pt x="751" y="0"/>
                    </a:cubicBezTo>
                    <a:cubicBezTo>
                      <a:pt x="585" y="28"/>
                      <a:pt x="585" y="28"/>
                      <a:pt x="585" y="28"/>
                    </a:cubicBezTo>
                    <a:cubicBezTo>
                      <a:pt x="136" y="299"/>
                      <a:pt x="136" y="299"/>
                      <a:pt x="136" y="299"/>
                    </a:cubicBezTo>
                    <a:cubicBezTo>
                      <a:pt x="81" y="627"/>
                      <a:pt x="81" y="627"/>
                      <a:pt x="81" y="627"/>
                    </a:cubicBezTo>
                    <a:cubicBezTo>
                      <a:pt x="0" y="1162"/>
                      <a:pt x="0" y="1162"/>
                      <a:pt x="0" y="1162"/>
                    </a:cubicBezTo>
                    <a:cubicBezTo>
                      <a:pt x="106" y="1420"/>
                      <a:pt x="106" y="1420"/>
                      <a:pt x="106" y="1420"/>
                    </a:cubicBezTo>
                    <a:lnTo>
                      <a:pt x="174" y="1464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7" name="Freeform 20"/>
              <p:cNvSpPr/>
              <p:nvPr/>
            </p:nvSpPr>
            <p:spPr bwMode="auto">
              <a:xfrm>
                <a:off x="5478041" y="3358852"/>
                <a:ext cx="600075" cy="879475"/>
              </a:xfrm>
              <a:custGeom>
                <a:avLst/>
                <a:gdLst>
                  <a:gd name="T0" fmla="*/ 820 w 1074"/>
                  <a:gd name="T1" fmla="*/ 812 h 1572"/>
                  <a:gd name="T2" fmla="*/ 906 w 1074"/>
                  <a:gd name="T3" fmla="*/ 787 h 1572"/>
                  <a:gd name="T4" fmla="*/ 1005 w 1074"/>
                  <a:gd name="T5" fmla="*/ 697 h 1572"/>
                  <a:gd name="T6" fmla="*/ 1068 w 1074"/>
                  <a:gd name="T7" fmla="*/ 595 h 1572"/>
                  <a:gd name="T8" fmla="*/ 1074 w 1074"/>
                  <a:gd name="T9" fmla="*/ 540 h 1572"/>
                  <a:gd name="T10" fmla="*/ 881 w 1074"/>
                  <a:gd name="T11" fmla="*/ 260 h 1572"/>
                  <a:gd name="T12" fmla="*/ 680 w 1074"/>
                  <a:gd name="T13" fmla="*/ 0 h 1572"/>
                  <a:gd name="T14" fmla="*/ 179 w 1074"/>
                  <a:gd name="T15" fmla="*/ 147 h 1572"/>
                  <a:gd name="T16" fmla="*/ 2 w 1074"/>
                  <a:gd name="T17" fmla="*/ 406 h 1572"/>
                  <a:gd name="T18" fmla="*/ 147 w 1074"/>
                  <a:gd name="T19" fmla="*/ 600 h 1572"/>
                  <a:gd name="T20" fmla="*/ 106 w 1074"/>
                  <a:gd name="T21" fmla="*/ 689 h 1572"/>
                  <a:gd name="T22" fmla="*/ 135 w 1074"/>
                  <a:gd name="T23" fmla="*/ 734 h 1572"/>
                  <a:gd name="T24" fmla="*/ 190 w 1074"/>
                  <a:gd name="T25" fmla="*/ 783 h 1572"/>
                  <a:gd name="T26" fmla="*/ 181 w 1074"/>
                  <a:gd name="T27" fmla="*/ 887 h 1572"/>
                  <a:gd name="T28" fmla="*/ 104 w 1074"/>
                  <a:gd name="T29" fmla="*/ 942 h 1572"/>
                  <a:gd name="T30" fmla="*/ 48 w 1074"/>
                  <a:gd name="T31" fmla="*/ 1033 h 1572"/>
                  <a:gd name="T32" fmla="*/ 126 w 1074"/>
                  <a:gd name="T33" fmla="*/ 1153 h 1572"/>
                  <a:gd name="T34" fmla="*/ 159 w 1074"/>
                  <a:gd name="T35" fmla="*/ 1221 h 1572"/>
                  <a:gd name="T36" fmla="*/ 132 w 1074"/>
                  <a:gd name="T37" fmla="*/ 1328 h 1572"/>
                  <a:gd name="T38" fmla="*/ 77 w 1074"/>
                  <a:gd name="T39" fmla="*/ 1432 h 1572"/>
                  <a:gd name="T40" fmla="*/ 181 w 1074"/>
                  <a:gd name="T41" fmla="*/ 1530 h 1572"/>
                  <a:gd name="T42" fmla="*/ 289 w 1074"/>
                  <a:gd name="T43" fmla="*/ 1549 h 1572"/>
                  <a:gd name="T44" fmla="*/ 351 w 1074"/>
                  <a:gd name="T45" fmla="*/ 1534 h 1572"/>
                  <a:gd name="T46" fmla="*/ 417 w 1074"/>
                  <a:gd name="T47" fmla="*/ 1542 h 1572"/>
                  <a:gd name="T48" fmla="*/ 400 w 1074"/>
                  <a:gd name="T49" fmla="*/ 1454 h 1572"/>
                  <a:gd name="T50" fmla="*/ 464 w 1074"/>
                  <a:gd name="T51" fmla="*/ 1316 h 1572"/>
                  <a:gd name="T52" fmla="*/ 547 w 1074"/>
                  <a:gd name="T53" fmla="*/ 1193 h 1572"/>
                  <a:gd name="T54" fmla="*/ 697 w 1074"/>
                  <a:gd name="T55" fmla="*/ 1122 h 1572"/>
                  <a:gd name="T56" fmla="*/ 779 w 1074"/>
                  <a:gd name="T57" fmla="*/ 1041 h 1572"/>
                  <a:gd name="T58" fmla="*/ 792 w 1074"/>
                  <a:gd name="T59" fmla="*/ 1005 h 1572"/>
                  <a:gd name="T60" fmla="*/ 734 w 1074"/>
                  <a:gd name="T61" fmla="*/ 960 h 1572"/>
                  <a:gd name="T62" fmla="*/ 751 w 1074"/>
                  <a:gd name="T63" fmla="*/ 795 h 1572"/>
                  <a:gd name="T64" fmla="*/ 781 w 1074"/>
                  <a:gd name="T65" fmla="*/ 804 h 15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74" h="1572">
                    <a:moveTo>
                      <a:pt x="781" y="804"/>
                    </a:moveTo>
                    <a:cubicBezTo>
                      <a:pt x="792" y="802"/>
                      <a:pt x="807" y="805"/>
                      <a:pt x="820" y="812"/>
                    </a:cubicBezTo>
                    <a:cubicBezTo>
                      <a:pt x="843" y="824"/>
                      <a:pt x="884" y="826"/>
                      <a:pt x="880" y="806"/>
                    </a:cubicBezTo>
                    <a:cubicBezTo>
                      <a:pt x="875" y="786"/>
                      <a:pt x="887" y="783"/>
                      <a:pt x="906" y="787"/>
                    </a:cubicBezTo>
                    <a:cubicBezTo>
                      <a:pt x="925" y="790"/>
                      <a:pt x="948" y="800"/>
                      <a:pt x="966" y="774"/>
                    </a:cubicBezTo>
                    <a:cubicBezTo>
                      <a:pt x="983" y="748"/>
                      <a:pt x="1003" y="723"/>
                      <a:pt x="1005" y="697"/>
                    </a:cubicBezTo>
                    <a:cubicBezTo>
                      <a:pt x="1008" y="671"/>
                      <a:pt x="1016" y="653"/>
                      <a:pt x="1054" y="610"/>
                    </a:cubicBezTo>
                    <a:cubicBezTo>
                      <a:pt x="1059" y="605"/>
                      <a:pt x="1063" y="600"/>
                      <a:pt x="1068" y="595"/>
                    </a:cubicBezTo>
                    <a:cubicBezTo>
                      <a:pt x="1072" y="592"/>
                      <a:pt x="1072" y="592"/>
                      <a:pt x="1072" y="592"/>
                    </a:cubicBezTo>
                    <a:cubicBezTo>
                      <a:pt x="1074" y="540"/>
                      <a:pt x="1074" y="540"/>
                      <a:pt x="1074" y="540"/>
                    </a:cubicBezTo>
                    <a:cubicBezTo>
                      <a:pt x="1057" y="368"/>
                      <a:pt x="1057" y="368"/>
                      <a:pt x="1057" y="368"/>
                    </a:cubicBezTo>
                    <a:cubicBezTo>
                      <a:pt x="881" y="260"/>
                      <a:pt x="881" y="260"/>
                      <a:pt x="881" y="260"/>
                    </a:cubicBezTo>
                    <a:cubicBezTo>
                      <a:pt x="881" y="260"/>
                      <a:pt x="724" y="140"/>
                      <a:pt x="722" y="138"/>
                    </a:cubicBezTo>
                    <a:cubicBezTo>
                      <a:pt x="720" y="136"/>
                      <a:pt x="680" y="0"/>
                      <a:pt x="680" y="0"/>
                    </a:cubicBezTo>
                    <a:cubicBezTo>
                      <a:pt x="271" y="138"/>
                      <a:pt x="271" y="138"/>
                      <a:pt x="271" y="138"/>
                    </a:cubicBezTo>
                    <a:cubicBezTo>
                      <a:pt x="179" y="147"/>
                      <a:pt x="179" y="147"/>
                      <a:pt x="179" y="147"/>
                    </a:cubicBezTo>
                    <a:cubicBezTo>
                      <a:pt x="78" y="286"/>
                      <a:pt x="78" y="286"/>
                      <a:pt x="78" y="286"/>
                    </a:cubicBezTo>
                    <a:cubicBezTo>
                      <a:pt x="78" y="286"/>
                      <a:pt x="4" y="404"/>
                      <a:pt x="2" y="406"/>
                    </a:cubicBezTo>
                    <a:cubicBezTo>
                      <a:pt x="0" y="408"/>
                      <a:pt x="31" y="541"/>
                      <a:pt x="76" y="542"/>
                    </a:cubicBezTo>
                    <a:cubicBezTo>
                      <a:pt x="120" y="544"/>
                      <a:pt x="141" y="578"/>
                      <a:pt x="147" y="600"/>
                    </a:cubicBezTo>
                    <a:cubicBezTo>
                      <a:pt x="154" y="622"/>
                      <a:pt x="164" y="648"/>
                      <a:pt x="145" y="652"/>
                    </a:cubicBezTo>
                    <a:cubicBezTo>
                      <a:pt x="127" y="656"/>
                      <a:pt x="125" y="683"/>
                      <a:pt x="106" y="689"/>
                    </a:cubicBezTo>
                    <a:cubicBezTo>
                      <a:pt x="87" y="695"/>
                      <a:pt x="89" y="692"/>
                      <a:pt x="85" y="712"/>
                    </a:cubicBezTo>
                    <a:cubicBezTo>
                      <a:pt x="80" y="733"/>
                      <a:pt x="115" y="738"/>
                      <a:pt x="135" y="734"/>
                    </a:cubicBezTo>
                    <a:cubicBezTo>
                      <a:pt x="155" y="729"/>
                      <a:pt x="177" y="721"/>
                      <a:pt x="177" y="734"/>
                    </a:cubicBezTo>
                    <a:cubicBezTo>
                      <a:pt x="176" y="747"/>
                      <a:pt x="175" y="758"/>
                      <a:pt x="190" y="783"/>
                    </a:cubicBezTo>
                    <a:cubicBezTo>
                      <a:pt x="205" y="807"/>
                      <a:pt x="207" y="816"/>
                      <a:pt x="199" y="827"/>
                    </a:cubicBezTo>
                    <a:cubicBezTo>
                      <a:pt x="192" y="837"/>
                      <a:pt x="186" y="867"/>
                      <a:pt x="181" y="887"/>
                    </a:cubicBezTo>
                    <a:cubicBezTo>
                      <a:pt x="176" y="906"/>
                      <a:pt x="154" y="911"/>
                      <a:pt x="125" y="908"/>
                    </a:cubicBezTo>
                    <a:cubicBezTo>
                      <a:pt x="97" y="905"/>
                      <a:pt x="95" y="918"/>
                      <a:pt x="104" y="942"/>
                    </a:cubicBezTo>
                    <a:cubicBezTo>
                      <a:pt x="113" y="966"/>
                      <a:pt x="102" y="981"/>
                      <a:pt x="76" y="988"/>
                    </a:cubicBezTo>
                    <a:cubicBezTo>
                      <a:pt x="50" y="995"/>
                      <a:pt x="48" y="1014"/>
                      <a:pt x="48" y="1033"/>
                    </a:cubicBezTo>
                    <a:cubicBezTo>
                      <a:pt x="48" y="1053"/>
                      <a:pt x="48" y="1080"/>
                      <a:pt x="72" y="1098"/>
                    </a:cubicBezTo>
                    <a:cubicBezTo>
                      <a:pt x="96" y="1115"/>
                      <a:pt x="104" y="1130"/>
                      <a:pt x="126" y="1153"/>
                    </a:cubicBezTo>
                    <a:cubicBezTo>
                      <a:pt x="148" y="1176"/>
                      <a:pt x="140" y="1189"/>
                      <a:pt x="153" y="1197"/>
                    </a:cubicBezTo>
                    <a:cubicBezTo>
                      <a:pt x="167" y="1205"/>
                      <a:pt x="166" y="1214"/>
                      <a:pt x="159" y="1221"/>
                    </a:cubicBezTo>
                    <a:cubicBezTo>
                      <a:pt x="151" y="1228"/>
                      <a:pt x="153" y="1240"/>
                      <a:pt x="149" y="1263"/>
                    </a:cubicBezTo>
                    <a:cubicBezTo>
                      <a:pt x="145" y="1286"/>
                      <a:pt x="143" y="1318"/>
                      <a:pt x="132" y="1328"/>
                    </a:cubicBezTo>
                    <a:cubicBezTo>
                      <a:pt x="122" y="1338"/>
                      <a:pt x="123" y="1379"/>
                      <a:pt x="120" y="1400"/>
                    </a:cubicBezTo>
                    <a:cubicBezTo>
                      <a:pt x="117" y="1420"/>
                      <a:pt x="98" y="1425"/>
                      <a:pt x="77" y="1432"/>
                    </a:cubicBezTo>
                    <a:cubicBezTo>
                      <a:pt x="56" y="1440"/>
                      <a:pt x="104" y="1479"/>
                      <a:pt x="122" y="1500"/>
                    </a:cubicBezTo>
                    <a:cubicBezTo>
                      <a:pt x="140" y="1521"/>
                      <a:pt x="156" y="1529"/>
                      <a:pt x="181" y="1530"/>
                    </a:cubicBezTo>
                    <a:cubicBezTo>
                      <a:pt x="205" y="1531"/>
                      <a:pt x="212" y="1516"/>
                      <a:pt x="231" y="1525"/>
                    </a:cubicBezTo>
                    <a:cubicBezTo>
                      <a:pt x="250" y="1534"/>
                      <a:pt x="277" y="1550"/>
                      <a:pt x="289" y="1549"/>
                    </a:cubicBezTo>
                    <a:cubicBezTo>
                      <a:pt x="300" y="1547"/>
                      <a:pt x="308" y="1546"/>
                      <a:pt x="330" y="1559"/>
                    </a:cubicBezTo>
                    <a:cubicBezTo>
                      <a:pt x="353" y="1572"/>
                      <a:pt x="341" y="1553"/>
                      <a:pt x="351" y="1534"/>
                    </a:cubicBezTo>
                    <a:cubicBezTo>
                      <a:pt x="361" y="1515"/>
                      <a:pt x="362" y="1510"/>
                      <a:pt x="382" y="1525"/>
                    </a:cubicBezTo>
                    <a:cubicBezTo>
                      <a:pt x="401" y="1539"/>
                      <a:pt x="408" y="1541"/>
                      <a:pt x="417" y="1542"/>
                    </a:cubicBezTo>
                    <a:cubicBezTo>
                      <a:pt x="427" y="1544"/>
                      <a:pt x="425" y="1525"/>
                      <a:pt x="419" y="1507"/>
                    </a:cubicBezTo>
                    <a:cubicBezTo>
                      <a:pt x="412" y="1490"/>
                      <a:pt x="399" y="1474"/>
                      <a:pt x="400" y="1454"/>
                    </a:cubicBezTo>
                    <a:cubicBezTo>
                      <a:pt x="401" y="1433"/>
                      <a:pt x="402" y="1421"/>
                      <a:pt x="432" y="1396"/>
                    </a:cubicBezTo>
                    <a:cubicBezTo>
                      <a:pt x="461" y="1372"/>
                      <a:pt x="456" y="1348"/>
                      <a:pt x="464" y="1316"/>
                    </a:cubicBezTo>
                    <a:cubicBezTo>
                      <a:pt x="473" y="1283"/>
                      <a:pt x="484" y="1291"/>
                      <a:pt x="496" y="1271"/>
                    </a:cubicBezTo>
                    <a:cubicBezTo>
                      <a:pt x="507" y="1250"/>
                      <a:pt x="536" y="1219"/>
                      <a:pt x="547" y="1193"/>
                    </a:cubicBezTo>
                    <a:cubicBezTo>
                      <a:pt x="558" y="1167"/>
                      <a:pt x="581" y="1158"/>
                      <a:pt x="600" y="1143"/>
                    </a:cubicBezTo>
                    <a:cubicBezTo>
                      <a:pt x="619" y="1128"/>
                      <a:pt x="669" y="1123"/>
                      <a:pt x="697" y="1122"/>
                    </a:cubicBezTo>
                    <a:cubicBezTo>
                      <a:pt x="725" y="1122"/>
                      <a:pt x="727" y="1113"/>
                      <a:pt x="729" y="1090"/>
                    </a:cubicBezTo>
                    <a:cubicBezTo>
                      <a:pt x="731" y="1068"/>
                      <a:pt x="759" y="1054"/>
                      <a:pt x="779" y="1041"/>
                    </a:cubicBezTo>
                    <a:cubicBezTo>
                      <a:pt x="800" y="1028"/>
                      <a:pt x="815" y="1015"/>
                      <a:pt x="815" y="1015"/>
                    </a:cubicBezTo>
                    <a:cubicBezTo>
                      <a:pt x="810" y="1006"/>
                      <a:pt x="804" y="1004"/>
                      <a:pt x="792" y="1005"/>
                    </a:cubicBezTo>
                    <a:cubicBezTo>
                      <a:pt x="762" y="1007"/>
                      <a:pt x="743" y="993"/>
                      <a:pt x="736" y="964"/>
                    </a:cubicBezTo>
                    <a:cubicBezTo>
                      <a:pt x="734" y="960"/>
                      <a:pt x="734" y="960"/>
                      <a:pt x="734" y="960"/>
                    </a:cubicBezTo>
                    <a:cubicBezTo>
                      <a:pt x="702" y="837"/>
                      <a:pt x="702" y="837"/>
                      <a:pt x="702" y="837"/>
                    </a:cubicBezTo>
                    <a:cubicBezTo>
                      <a:pt x="751" y="795"/>
                      <a:pt x="751" y="795"/>
                      <a:pt x="751" y="795"/>
                    </a:cubicBezTo>
                    <a:cubicBezTo>
                      <a:pt x="772" y="805"/>
                      <a:pt x="772" y="805"/>
                      <a:pt x="772" y="805"/>
                    </a:cubicBezTo>
                    <a:lnTo>
                      <a:pt x="781" y="804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8" name="Freeform 21"/>
              <p:cNvSpPr/>
              <p:nvPr/>
            </p:nvSpPr>
            <p:spPr bwMode="auto">
              <a:xfrm>
                <a:off x="5763791" y="3690640"/>
                <a:ext cx="146050" cy="212725"/>
              </a:xfrm>
              <a:custGeom>
                <a:avLst/>
                <a:gdLst>
                  <a:gd name="T0" fmla="*/ 61 w 261"/>
                  <a:gd name="T1" fmla="*/ 146 h 379"/>
                  <a:gd name="T2" fmla="*/ 88 w 261"/>
                  <a:gd name="T3" fmla="*/ 244 h 379"/>
                  <a:gd name="T4" fmla="*/ 88 w 261"/>
                  <a:gd name="T5" fmla="*/ 279 h 379"/>
                  <a:gd name="T6" fmla="*/ 119 w 261"/>
                  <a:gd name="T7" fmla="*/ 317 h 379"/>
                  <a:gd name="T8" fmla="*/ 204 w 261"/>
                  <a:gd name="T9" fmla="*/ 371 h 379"/>
                  <a:gd name="T10" fmla="*/ 223 w 261"/>
                  <a:gd name="T11" fmla="*/ 367 h 379"/>
                  <a:gd name="T12" fmla="*/ 222 w 261"/>
                  <a:gd name="T13" fmla="*/ 357 h 379"/>
                  <a:gd name="T14" fmla="*/ 231 w 261"/>
                  <a:gd name="T15" fmla="*/ 282 h 379"/>
                  <a:gd name="T16" fmla="*/ 250 w 261"/>
                  <a:gd name="T17" fmla="*/ 221 h 379"/>
                  <a:gd name="T18" fmla="*/ 261 w 261"/>
                  <a:gd name="T19" fmla="*/ 212 h 379"/>
                  <a:gd name="T20" fmla="*/ 254 w 261"/>
                  <a:gd name="T21" fmla="*/ 182 h 379"/>
                  <a:gd name="T22" fmla="*/ 241 w 261"/>
                  <a:gd name="T23" fmla="*/ 146 h 379"/>
                  <a:gd name="T24" fmla="*/ 211 w 261"/>
                  <a:gd name="T25" fmla="*/ 154 h 379"/>
                  <a:gd name="T26" fmla="*/ 182 w 261"/>
                  <a:gd name="T27" fmla="*/ 95 h 379"/>
                  <a:gd name="T28" fmla="*/ 188 w 261"/>
                  <a:gd name="T29" fmla="*/ 55 h 379"/>
                  <a:gd name="T30" fmla="*/ 191 w 261"/>
                  <a:gd name="T31" fmla="*/ 20 h 379"/>
                  <a:gd name="T32" fmla="*/ 113 w 261"/>
                  <a:gd name="T33" fmla="*/ 2 h 379"/>
                  <a:gd name="T34" fmla="*/ 7 w 261"/>
                  <a:gd name="T35" fmla="*/ 67 h 379"/>
                  <a:gd name="T36" fmla="*/ 60 w 261"/>
                  <a:gd name="T37" fmla="*/ 122 h 379"/>
                  <a:gd name="T38" fmla="*/ 61 w 261"/>
                  <a:gd name="T39" fmla="*/ 146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61" h="379">
                    <a:moveTo>
                      <a:pt x="61" y="146"/>
                    </a:moveTo>
                    <a:cubicBezTo>
                      <a:pt x="61" y="146"/>
                      <a:pt x="82" y="224"/>
                      <a:pt x="88" y="244"/>
                    </a:cubicBezTo>
                    <a:cubicBezTo>
                      <a:pt x="94" y="263"/>
                      <a:pt x="90" y="265"/>
                      <a:pt x="88" y="279"/>
                    </a:cubicBezTo>
                    <a:cubicBezTo>
                      <a:pt x="86" y="292"/>
                      <a:pt x="86" y="293"/>
                      <a:pt x="119" y="317"/>
                    </a:cubicBezTo>
                    <a:cubicBezTo>
                      <a:pt x="151" y="340"/>
                      <a:pt x="192" y="379"/>
                      <a:pt x="204" y="371"/>
                    </a:cubicBezTo>
                    <a:cubicBezTo>
                      <a:pt x="223" y="367"/>
                      <a:pt x="223" y="367"/>
                      <a:pt x="223" y="367"/>
                    </a:cubicBezTo>
                    <a:cubicBezTo>
                      <a:pt x="222" y="362"/>
                      <a:pt x="222" y="362"/>
                      <a:pt x="222" y="357"/>
                    </a:cubicBezTo>
                    <a:cubicBezTo>
                      <a:pt x="216" y="318"/>
                      <a:pt x="222" y="305"/>
                      <a:pt x="231" y="282"/>
                    </a:cubicBezTo>
                    <a:cubicBezTo>
                      <a:pt x="240" y="259"/>
                      <a:pt x="239" y="234"/>
                      <a:pt x="250" y="221"/>
                    </a:cubicBezTo>
                    <a:cubicBezTo>
                      <a:pt x="254" y="215"/>
                      <a:pt x="253" y="213"/>
                      <a:pt x="261" y="212"/>
                    </a:cubicBezTo>
                    <a:cubicBezTo>
                      <a:pt x="261" y="212"/>
                      <a:pt x="256" y="197"/>
                      <a:pt x="254" y="182"/>
                    </a:cubicBezTo>
                    <a:cubicBezTo>
                      <a:pt x="253" y="167"/>
                      <a:pt x="256" y="145"/>
                      <a:pt x="241" y="146"/>
                    </a:cubicBezTo>
                    <a:cubicBezTo>
                      <a:pt x="226" y="148"/>
                      <a:pt x="225" y="164"/>
                      <a:pt x="211" y="154"/>
                    </a:cubicBezTo>
                    <a:cubicBezTo>
                      <a:pt x="197" y="143"/>
                      <a:pt x="193" y="116"/>
                      <a:pt x="182" y="95"/>
                    </a:cubicBezTo>
                    <a:cubicBezTo>
                      <a:pt x="170" y="74"/>
                      <a:pt x="179" y="59"/>
                      <a:pt x="188" y="55"/>
                    </a:cubicBezTo>
                    <a:cubicBezTo>
                      <a:pt x="197" y="51"/>
                      <a:pt x="209" y="31"/>
                      <a:pt x="191" y="20"/>
                    </a:cubicBezTo>
                    <a:cubicBezTo>
                      <a:pt x="174" y="10"/>
                      <a:pt x="131" y="0"/>
                      <a:pt x="113" y="2"/>
                    </a:cubicBezTo>
                    <a:cubicBezTo>
                      <a:pt x="95" y="5"/>
                      <a:pt x="0" y="52"/>
                      <a:pt x="7" y="67"/>
                    </a:cubicBezTo>
                    <a:cubicBezTo>
                      <a:pt x="15" y="82"/>
                      <a:pt x="55" y="117"/>
                      <a:pt x="60" y="122"/>
                    </a:cubicBezTo>
                    <a:cubicBezTo>
                      <a:pt x="65" y="128"/>
                      <a:pt x="61" y="146"/>
                      <a:pt x="61" y="146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29" name="Freeform 22"/>
              <p:cNvSpPr/>
              <p:nvPr/>
            </p:nvSpPr>
            <p:spPr bwMode="auto">
              <a:xfrm>
                <a:off x="5970166" y="3206452"/>
                <a:ext cx="655638" cy="582612"/>
              </a:xfrm>
              <a:custGeom>
                <a:avLst/>
                <a:gdLst>
                  <a:gd name="T0" fmla="*/ 1160 w 1173"/>
                  <a:gd name="T1" fmla="*/ 513 h 1039"/>
                  <a:gd name="T2" fmla="*/ 1107 w 1173"/>
                  <a:gd name="T3" fmla="*/ 544 h 1039"/>
                  <a:gd name="T4" fmla="*/ 1014 w 1173"/>
                  <a:gd name="T5" fmla="*/ 620 h 1039"/>
                  <a:gd name="T6" fmla="*/ 958 w 1173"/>
                  <a:gd name="T7" fmla="*/ 716 h 1039"/>
                  <a:gd name="T8" fmla="*/ 930 w 1173"/>
                  <a:gd name="T9" fmla="*/ 787 h 1039"/>
                  <a:gd name="T10" fmla="*/ 855 w 1173"/>
                  <a:gd name="T11" fmla="*/ 802 h 1039"/>
                  <a:gd name="T12" fmla="*/ 777 w 1173"/>
                  <a:gd name="T13" fmla="*/ 835 h 1039"/>
                  <a:gd name="T14" fmla="*/ 707 w 1173"/>
                  <a:gd name="T15" fmla="*/ 882 h 1039"/>
                  <a:gd name="T16" fmla="*/ 636 w 1173"/>
                  <a:gd name="T17" fmla="*/ 939 h 1039"/>
                  <a:gd name="T18" fmla="*/ 585 w 1173"/>
                  <a:gd name="T19" fmla="*/ 1016 h 1039"/>
                  <a:gd name="T20" fmla="*/ 551 w 1173"/>
                  <a:gd name="T21" fmla="*/ 1032 h 1039"/>
                  <a:gd name="T22" fmla="*/ 530 w 1173"/>
                  <a:gd name="T23" fmla="*/ 1007 h 1039"/>
                  <a:gd name="T24" fmla="*/ 526 w 1173"/>
                  <a:gd name="T25" fmla="*/ 966 h 1039"/>
                  <a:gd name="T26" fmla="*/ 547 w 1173"/>
                  <a:gd name="T27" fmla="*/ 943 h 1039"/>
                  <a:gd name="T28" fmla="*/ 513 w 1173"/>
                  <a:gd name="T29" fmla="*/ 949 h 1039"/>
                  <a:gd name="T30" fmla="*/ 471 w 1173"/>
                  <a:gd name="T31" fmla="*/ 960 h 1039"/>
                  <a:gd name="T32" fmla="*/ 487 w 1173"/>
                  <a:gd name="T33" fmla="*/ 917 h 1039"/>
                  <a:gd name="T34" fmla="*/ 483 w 1173"/>
                  <a:gd name="T35" fmla="*/ 873 h 1039"/>
                  <a:gd name="T36" fmla="*/ 495 w 1173"/>
                  <a:gd name="T37" fmla="*/ 843 h 1039"/>
                  <a:gd name="T38" fmla="*/ 530 w 1173"/>
                  <a:gd name="T39" fmla="*/ 790 h 1039"/>
                  <a:gd name="T40" fmla="*/ 566 w 1173"/>
                  <a:gd name="T41" fmla="*/ 739 h 1039"/>
                  <a:gd name="T42" fmla="*/ 573 w 1173"/>
                  <a:gd name="T43" fmla="*/ 679 h 1039"/>
                  <a:gd name="T44" fmla="*/ 551 w 1173"/>
                  <a:gd name="T45" fmla="*/ 645 h 1039"/>
                  <a:gd name="T46" fmla="*/ 504 w 1173"/>
                  <a:gd name="T47" fmla="*/ 613 h 1039"/>
                  <a:gd name="T48" fmla="*/ 447 w 1173"/>
                  <a:gd name="T49" fmla="*/ 626 h 1039"/>
                  <a:gd name="T50" fmla="*/ 376 w 1173"/>
                  <a:gd name="T51" fmla="*/ 633 h 1039"/>
                  <a:gd name="T52" fmla="*/ 365 w 1173"/>
                  <a:gd name="T53" fmla="*/ 662 h 1039"/>
                  <a:gd name="T54" fmla="*/ 340 w 1173"/>
                  <a:gd name="T55" fmla="*/ 698 h 1039"/>
                  <a:gd name="T56" fmla="*/ 304 w 1173"/>
                  <a:gd name="T57" fmla="*/ 769 h 1039"/>
                  <a:gd name="T58" fmla="*/ 254 w 1173"/>
                  <a:gd name="T59" fmla="*/ 820 h 1039"/>
                  <a:gd name="T60" fmla="*/ 191 w 1173"/>
                  <a:gd name="T61" fmla="*/ 863 h 1039"/>
                  <a:gd name="T62" fmla="*/ 163 w 1173"/>
                  <a:gd name="T63" fmla="*/ 825 h 1039"/>
                  <a:gd name="T64" fmla="*/ 139 w 1173"/>
                  <a:gd name="T65" fmla="*/ 785 h 1039"/>
                  <a:gd name="T66" fmla="*/ 102 w 1173"/>
                  <a:gd name="T67" fmla="*/ 766 h 1039"/>
                  <a:gd name="T68" fmla="*/ 71 w 1173"/>
                  <a:gd name="T69" fmla="*/ 743 h 1039"/>
                  <a:gd name="T70" fmla="*/ 51 w 1173"/>
                  <a:gd name="T71" fmla="*/ 740 h 1039"/>
                  <a:gd name="T72" fmla="*/ 11 w 1173"/>
                  <a:gd name="T73" fmla="*/ 710 h 1039"/>
                  <a:gd name="T74" fmla="*/ 22 w 1173"/>
                  <a:gd name="T75" fmla="*/ 654 h 1039"/>
                  <a:gd name="T76" fmla="*/ 61 w 1173"/>
                  <a:gd name="T77" fmla="*/ 595 h 1039"/>
                  <a:gd name="T78" fmla="*/ 0 w 1173"/>
                  <a:gd name="T79" fmla="*/ 480 h 1039"/>
                  <a:gd name="T80" fmla="*/ 39 w 1173"/>
                  <a:gd name="T81" fmla="*/ 283 h 1039"/>
                  <a:gd name="T82" fmla="*/ 327 w 1173"/>
                  <a:gd name="T83" fmla="*/ 142 h 1039"/>
                  <a:gd name="T84" fmla="*/ 519 w 1173"/>
                  <a:gd name="T85" fmla="*/ 39 h 1039"/>
                  <a:gd name="T86" fmla="*/ 777 w 1173"/>
                  <a:gd name="T87" fmla="*/ 0 h 1039"/>
                  <a:gd name="T88" fmla="*/ 1160 w 1173"/>
                  <a:gd name="T89" fmla="*/ 130 h 1039"/>
                  <a:gd name="T90" fmla="*/ 1160 w 1173"/>
                  <a:gd name="T91" fmla="*/ 288 h 1039"/>
                  <a:gd name="T92" fmla="*/ 1164 w 1173"/>
                  <a:gd name="T93" fmla="*/ 464 h 1039"/>
                  <a:gd name="T94" fmla="*/ 1173 w 1173"/>
                  <a:gd name="T95" fmla="*/ 502 h 1039"/>
                  <a:gd name="T96" fmla="*/ 1160 w 1173"/>
                  <a:gd name="T97" fmla="*/ 513 h 10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73" h="1039">
                    <a:moveTo>
                      <a:pt x="1160" y="513"/>
                    </a:moveTo>
                    <a:cubicBezTo>
                      <a:pt x="1141" y="528"/>
                      <a:pt x="1120" y="539"/>
                      <a:pt x="1107" y="544"/>
                    </a:cubicBezTo>
                    <a:cubicBezTo>
                      <a:pt x="1086" y="553"/>
                      <a:pt x="1031" y="596"/>
                      <a:pt x="1014" y="620"/>
                    </a:cubicBezTo>
                    <a:cubicBezTo>
                      <a:pt x="998" y="644"/>
                      <a:pt x="966" y="694"/>
                      <a:pt x="958" y="716"/>
                    </a:cubicBezTo>
                    <a:cubicBezTo>
                      <a:pt x="950" y="739"/>
                      <a:pt x="941" y="763"/>
                      <a:pt x="930" y="787"/>
                    </a:cubicBezTo>
                    <a:cubicBezTo>
                      <a:pt x="918" y="811"/>
                      <a:pt x="876" y="795"/>
                      <a:pt x="855" y="802"/>
                    </a:cubicBezTo>
                    <a:cubicBezTo>
                      <a:pt x="833" y="810"/>
                      <a:pt x="791" y="827"/>
                      <a:pt x="777" y="835"/>
                    </a:cubicBezTo>
                    <a:cubicBezTo>
                      <a:pt x="764" y="843"/>
                      <a:pt x="723" y="865"/>
                      <a:pt x="707" y="882"/>
                    </a:cubicBezTo>
                    <a:cubicBezTo>
                      <a:pt x="691" y="900"/>
                      <a:pt x="653" y="916"/>
                      <a:pt x="636" y="939"/>
                    </a:cubicBezTo>
                    <a:cubicBezTo>
                      <a:pt x="619" y="962"/>
                      <a:pt x="590" y="993"/>
                      <a:pt x="585" y="1016"/>
                    </a:cubicBezTo>
                    <a:cubicBezTo>
                      <a:pt x="580" y="1039"/>
                      <a:pt x="560" y="1037"/>
                      <a:pt x="551" y="1032"/>
                    </a:cubicBezTo>
                    <a:cubicBezTo>
                      <a:pt x="541" y="1026"/>
                      <a:pt x="536" y="1013"/>
                      <a:pt x="530" y="1007"/>
                    </a:cubicBezTo>
                    <a:cubicBezTo>
                      <a:pt x="525" y="1001"/>
                      <a:pt x="522" y="981"/>
                      <a:pt x="526" y="966"/>
                    </a:cubicBezTo>
                    <a:cubicBezTo>
                      <a:pt x="530" y="950"/>
                      <a:pt x="540" y="957"/>
                      <a:pt x="547" y="943"/>
                    </a:cubicBezTo>
                    <a:cubicBezTo>
                      <a:pt x="555" y="929"/>
                      <a:pt x="521" y="942"/>
                      <a:pt x="513" y="949"/>
                    </a:cubicBezTo>
                    <a:cubicBezTo>
                      <a:pt x="505" y="955"/>
                      <a:pt x="491" y="966"/>
                      <a:pt x="471" y="960"/>
                    </a:cubicBezTo>
                    <a:cubicBezTo>
                      <a:pt x="452" y="955"/>
                      <a:pt x="477" y="930"/>
                      <a:pt x="487" y="917"/>
                    </a:cubicBezTo>
                    <a:cubicBezTo>
                      <a:pt x="497" y="904"/>
                      <a:pt x="483" y="886"/>
                      <a:pt x="483" y="873"/>
                    </a:cubicBezTo>
                    <a:cubicBezTo>
                      <a:pt x="483" y="861"/>
                      <a:pt x="478" y="852"/>
                      <a:pt x="495" y="843"/>
                    </a:cubicBezTo>
                    <a:cubicBezTo>
                      <a:pt x="513" y="834"/>
                      <a:pt x="518" y="819"/>
                      <a:pt x="530" y="790"/>
                    </a:cubicBezTo>
                    <a:cubicBezTo>
                      <a:pt x="542" y="761"/>
                      <a:pt x="547" y="761"/>
                      <a:pt x="566" y="739"/>
                    </a:cubicBezTo>
                    <a:cubicBezTo>
                      <a:pt x="585" y="717"/>
                      <a:pt x="578" y="706"/>
                      <a:pt x="573" y="679"/>
                    </a:cubicBezTo>
                    <a:cubicBezTo>
                      <a:pt x="568" y="651"/>
                      <a:pt x="568" y="656"/>
                      <a:pt x="551" y="645"/>
                    </a:cubicBezTo>
                    <a:cubicBezTo>
                      <a:pt x="533" y="635"/>
                      <a:pt x="510" y="627"/>
                      <a:pt x="504" y="613"/>
                    </a:cubicBezTo>
                    <a:cubicBezTo>
                      <a:pt x="499" y="600"/>
                      <a:pt x="464" y="616"/>
                      <a:pt x="447" y="626"/>
                    </a:cubicBezTo>
                    <a:cubicBezTo>
                      <a:pt x="431" y="636"/>
                      <a:pt x="402" y="636"/>
                      <a:pt x="376" y="633"/>
                    </a:cubicBezTo>
                    <a:cubicBezTo>
                      <a:pt x="349" y="630"/>
                      <a:pt x="356" y="641"/>
                      <a:pt x="365" y="662"/>
                    </a:cubicBezTo>
                    <a:cubicBezTo>
                      <a:pt x="374" y="682"/>
                      <a:pt x="359" y="670"/>
                      <a:pt x="340" y="698"/>
                    </a:cubicBezTo>
                    <a:cubicBezTo>
                      <a:pt x="320" y="726"/>
                      <a:pt x="312" y="750"/>
                      <a:pt x="304" y="769"/>
                    </a:cubicBezTo>
                    <a:cubicBezTo>
                      <a:pt x="297" y="787"/>
                      <a:pt x="262" y="812"/>
                      <a:pt x="254" y="820"/>
                    </a:cubicBezTo>
                    <a:cubicBezTo>
                      <a:pt x="247" y="827"/>
                      <a:pt x="223" y="832"/>
                      <a:pt x="191" y="863"/>
                    </a:cubicBezTo>
                    <a:cubicBezTo>
                      <a:pt x="191" y="863"/>
                      <a:pt x="177" y="836"/>
                      <a:pt x="163" y="825"/>
                    </a:cubicBezTo>
                    <a:cubicBezTo>
                      <a:pt x="148" y="814"/>
                      <a:pt x="144" y="801"/>
                      <a:pt x="139" y="785"/>
                    </a:cubicBezTo>
                    <a:cubicBezTo>
                      <a:pt x="134" y="769"/>
                      <a:pt x="127" y="757"/>
                      <a:pt x="102" y="766"/>
                    </a:cubicBezTo>
                    <a:cubicBezTo>
                      <a:pt x="78" y="774"/>
                      <a:pt x="77" y="755"/>
                      <a:pt x="71" y="743"/>
                    </a:cubicBezTo>
                    <a:cubicBezTo>
                      <a:pt x="66" y="731"/>
                      <a:pt x="63" y="736"/>
                      <a:pt x="51" y="740"/>
                    </a:cubicBezTo>
                    <a:cubicBezTo>
                      <a:pt x="39" y="744"/>
                      <a:pt x="21" y="744"/>
                      <a:pt x="11" y="710"/>
                    </a:cubicBezTo>
                    <a:cubicBezTo>
                      <a:pt x="1" y="676"/>
                      <a:pt x="4" y="676"/>
                      <a:pt x="22" y="654"/>
                    </a:cubicBezTo>
                    <a:cubicBezTo>
                      <a:pt x="41" y="631"/>
                      <a:pt x="61" y="595"/>
                      <a:pt x="61" y="595"/>
                    </a:cubicBezTo>
                    <a:cubicBezTo>
                      <a:pt x="0" y="480"/>
                      <a:pt x="0" y="480"/>
                      <a:pt x="0" y="480"/>
                    </a:cubicBezTo>
                    <a:cubicBezTo>
                      <a:pt x="39" y="283"/>
                      <a:pt x="39" y="283"/>
                      <a:pt x="39" y="283"/>
                    </a:cubicBezTo>
                    <a:cubicBezTo>
                      <a:pt x="327" y="142"/>
                      <a:pt x="327" y="142"/>
                      <a:pt x="327" y="142"/>
                    </a:cubicBezTo>
                    <a:cubicBezTo>
                      <a:pt x="519" y="39"/>
                      <a:pt x="519" y="39"/>
                      <a:pt x="519" y="39"/>
                    </a:cubicBezTo>
                    <a:cubicBezTo>
                      <a:pt x="777" y="0"/>
                      <a:pt x="777" y="0"/>
                      <a:pt x="777" y="0"/>
                    </a:cubicBezTo>
                    <a:cubicBezTo>
                      <a:pt x="1160" y="130"/>
                      <a:pt x="1160" y="130"/>
                      <a:pt x="1160" y="130"/>
                    </a:cubicBezTo>
                    <a:cubicBezTo>
                      <a:pt x="1160" y="288"/>
                      <a:pt x="1160" y="288"/>
                      <a:pt x="1160" y="288"/>
                    </a:cubicBezTo>
                    <a:cubicBezTo>
                      <a:pt x="1164" y="464"/>
                      <a:pt x="1164" y="464"/>
                      <a:pt x="1164" y="464"/>
                    </a:cubicBezTo>
                    <a:cubicBezTo>
                      <a:pt x="1173" y="502"/>
                      <a:pt x="1173" y="502"/>
                      <a:pt x="1173" y="502"/>
                    </a:cubicBezTo>
                    <a:lnTo>
                      <a:pt x="1160" y="513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0" name="Freeform 23"/>
              <p:cNvSpPr/>
              <p:nvPr/>
            </p:nvSpPr>
            <p:spPr bwMode="auto">
              <a:xfrm>
                <a:off x="6103516" y="2833390"/>
                <a:ext cx="938213" cy="654050"/>
              </a:xfrm>
              <a:custGeom>
                <a:avLst/>
                <a:gdLst>
                  <a:gd name="T0" fmla="*/ 1658 w 1676"/>
                  <a:gd name="T1" fmla="*/ 410 h 1169"/>
                  <a:gd name="T2" fmla="*/ 1670 w 1676"/>
                  <a:gd name="T3" fmla="*/ 434 h 1169"/>
                  <a:gd name="T4" fmla="*/ 1657 w 1676"/>
                  <a:gd name="T5" fmla="*/ 546 h 1169"/>
                  <a:gd name="T6" fmla="*/ 1597 w 1676"/>
                  <a:gd name="T7" fmla="*/ 592 h 1169"/>
                  <a:gd name="T8" fmla="*/ 1611 w 1676"/>
                  <a:gd name="T9" fmla="*/ 645 h 1169"/>
                  <a:gd name="T10" fmla="*/ 1582 w 1676"/>
                  <a:gd name="T11" fmla="*/ 647 h 1169"/>
                  <a:gd name="T12" fmla="*/ 1527 w 1676"/>
                  <a:gd name="T13" fmla="*/ 597 h 1169"/>
                  <a:gd name="T14" fmla="*/ 1469 w 1676"/>
                  <a:gd name="T15" fmla="*/ 565 h 1169"/>
                  <a:gd name="T16" fmla="*/ 1467 w 1676"/>
                  <a:gd name="T17" fmla="*/ 662 h 1169"/>
                  <a:gd name="T18" fmla="*/ 1421 w 1676"/>
                  <a:gd name="T19" fmla="*/ 708 h 1169"/>
                  <a:gd name="T20" fmla="*/ 1379 w 1676"/>
                  <a:gd name="T21" fmla="*/ 793 h 1169"/>
                  <a:gd name="T22" fmla="*/ 1306 w 1676"/>
                  <a:gd name="T23" fmla="*/ 833 h 1169"/>
                  <a:gd name="T24" fmla="*/ 1240 w 1676"/>
                  <a:gd name="T25" fmla="*/ 856 h 1169"/>
                  <a:gd name="T26" fmla="*/ 1271 w 1676"/>
                  <a:gd name="T27" fmla="*/ 911 h 1169"/>
                  <a:gd name="T28" fmla="*/ 1271 w 1676"/>
                  <a:gd name="T29" fmla="*/ 958 h 1169"/>
                  <a:gd name="T30" fmla="*/ 1212 w 1676"/>
                  <a:gd name="T31" fmla="*/ 981 h 1169"/>
                  <a:gd name="T32" fmla="*/ 1112 w 1676"/>
                  <a:gd name="T33" fmla="*/ 994 h 1169"/>
                  <a:gd name="T34" fmla="*/ 1050 w 1676"/>
                  <a:gd name="T35" fmla="*/ 952 h 1169"/>
                  <a:gd name="T36" fmla="*/ 1008 w 1676"/>
                  <a:gd name="T37" fmla="*/ 1012 h 1169"/>
                  <a:gd name="T38" fmla="*/ 985 w 1676"/>
                  <a:gd name="T39" fmla="*/ 1072 h 1169"/>
                  <a:gd name="T40" fmla="*/ 950 w 1676"/>
                  <a:gd name="T41" fmla="*/ 1141 h 1169"/>
                  <a:gd name="T42" fmla="*/ 935 w 1676"/>
                  <a:gd name="T43" fmla="*/ 1169 h 1169"/>
                  <a:gd name="T44" fmla="*/ 897 w 1676"/>
                  <a:gd name="T45" fmla="*/ 1131 h 1169"/>
                  <a:gd name="T46" fmla="*/ 874 w 1676"/>
                  <a:gd name="T47" fmla="*/ 1070 h 1169"/>
                  <a:gd name="T48" fmla="*/ 832 w 1676"/>
                  <a:gd name="T49" fmla="*/ 1009 h 1169"/>
                  <a:gd name="T50" fmla="*/ 791 w 1676"/>
                  <a:gd name="T51" fmla="*/ 958 h 1169"/>
                  <a:gd name="T52" fmla="*/ 787 w 1676"/>
                  <a:gd name="T53" fmla="*/ 891 h 1169"/>
                  <a:gd name="T54" fmla="*/ 738 w 1676"/>
                  <a:gd name="T55" fmla="*/ 833 h 1169"/>
                  <a:gd name="T56" fmla="*/ 700 w 1676"/>
                  <a:gd name="T57" fmla="*/ 777 h 1169"/>
                  <a:gd name="T58" fmla="*/ 665 w 1676"/>
                  <a:gd name="T59" fmla="*/ 728 h 1169"/>
                  <a:gd name="T60" fmla="*/ 639 w 1676"/>
                  <a:gd name="T61" fmla="*/ 736 h 1169"/>
                  <a:gd name="T62" fmla="*/ 617 w 1676"/>
                  <a:gd name="T63" fmla="*/ 779 h 1169"/>
                  <a:gd name="T64" fmla="*/ 597 w 1676"/>
                  <a:gd name="T65" fmla="*/ 732 h 1169"/>
                  <a:gd name="T66" fmla="*/ 562 w 1676"/>
                  <a:gd name="T67" fmla="*/ 691 h 1169"/>
                  <a:gd name="T68" fmla="*/ 447 w 1676"/>
                  <a:gd name="T69" fmla="*/ 699 h 1169"/>
                  <a:gd name="T70" fmla="*/ 203 w 1676"/>
                  <a:gd name="T71" fmla="*/ 616 h 1169"/>
                  <a:gd name="T72" fmla="*/ 0 w 1676"/>
                  <a:gd name="T73" fmla="*/ 321 h 1169"/>
                  <a:gd name="T74" fmla="*/ 22 w 1676"/>
                  <a:gd name="T75" fmla="*/ 94 h 1169"/>
                  <a:gd name="T76" fmla="*/ 539 w 1676"/>
                  <a:gd name="T77" fmla="*/ 0 h 1169"/>
                  <a:gd name="T78" fmla="*/ 1165 w 1676"/>
                  <a:gd name="T79" fmla="*/ 157 h 1169"/>
                  <a:gd name="T80" fmla="*/ 1491 w 1676"/>
                  <a:gd name="T81" fmla="*/ 279 h 1169"/>
                  <a:gd name="T82" fmla="*/ 1606 w 1676"/>
                  <a:gd name="T83" fmla="*/ 383 h 1169"/>
                  <a:gd name="T84" fmla="*/ 1655 w 1676"/>
                  <a:gd name="T85" fmla="*/ 406 h 1169"/>
                  <a:gd name="T86" fmla="*/ 1658 w 1676"/>
                  <a:gd name="T87" fmla="*/ 410 h 1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676" h="1169">
                    <a:moveTo>
                      <a:pt x="1658" y="410"/>
                    </a:moveTo>
                    <a:cubicBezTo>
                      <a:pt x="1663" y="416"/>
                      <a:pt x="1668" y="424"/>
                      <a:pt x="1670" y="434"/>
                    </a:cubicBezTo>
                    <a:cubicBezTo>
                      <a:pt x="1676" y="467"/>
                      <a:pt x="1669" y="526"/>
                      <a:pt x="1657" y="546"/>
                    </a:cubicBezTo>
                    <a:cubicBezTo>
                      <a:pt x="1646" y="567"/>
                      <a:pt x="1619" y="579"/>
                      <a:pt x="1597" y="592"/>
                    </a:cubicBezTo>
                    <a:cubicBezTo>
                      <a:pt x="1574" y="606"/>
                      <a:pt x="1591" y="615"/>
                      <a:pt x="1611" y="645"/>
                    </a:cubicBezTo>
                    <a:cubicBezTo>
                      <a:pt x="1632" y="674"/>
                      <a:pt x="1598" y="660"/>
                      <a:pt x="1582" y="647"/>
                    </a:cubicBezTo>
                    <a:cubicBezTo>
                      <a:pt x="1565" y="633"/>
                      <a:pt x="1547" y="635"/>
                      <a:pt x="1527" y="597"/>
                    </a:cubicBezTo>
                    <a:cubicBezTo>
                      <a:pt x="1508" y="559"/>
                      <a:pt x="1493" y="559"/>
                      <a:pt x="1469" y="565"/>
                    </a:cubicBezTo>
                    <a:cubicBezTo>
                      <a:pt x="1445" y="570"/>
                      <a:pt x="1458" y="630"/>
                      <a:pt x="1467" y="662"/>
                    </a:cubicBezTo>
                    <a:cubicBezTo>
                      <a:pt x="1476" y="694"/>
                      <a:pt x="1458" y="698"/>
                      <a:pt x="1421" y="708"/>
                    </a:cubicBezTo>
                    <a:cubicBezTo>
                      <a:pt x="1384" y="718"/>
                      <a:pt x="1389" y="758"/>
                      <a:pt x="1379" y="793"/>
                    </a:cubicBezTo>
                    <a:cubicBezTo>
                      <a:pt x="1368" y="828"/>
                      <a:pt x="1324" y="832"/>
                      <a:pt x="1306" y="833"/>
                    </a:cubicBezTo>
                    <a:cubicBezTo>
                      <a:pt x="1287" y="834"/>
                      <a:pt x="1254" y="842"/>
                      <a:pt x="1240" y="856"/>
                    </a:cubicBezTo>
                    <a:cubicBezTo>
                      <a:pt x="1227" y="869"/>
                      <a:pt x="1255" y="885"/>
                      <a:pt x="1271" y="911"/>
                    </a:cubicBezTo>
                    <a:cubicBezTo>
                      <a:pt x="1287" y="937"/>
                      <a:pt x="1286" y="950"/>
                      <a:pt x="1271" y="958"/>
                    </a:cubicBezTo>
                    <a:cubicBezTo>
                      <a:pt x="1256" y="966"/>
                      <a:pt x="1234" y="972"/>
                      <a:pt x="1212" y="981"/>
                    </a:cubicBezTo>
                    <a:cubicBezTo>
                      <a:pt x="1189" y="989"/>
                      <a:pt x="1139" y="996"/>
                      <a:pt x="1112" y="994"/>
                    </a:cubicBezTo>
                    <a:cubicBezTo>
                      <a:pt x="1086" y="992"/>
                      <a:pt x="1074" y="961"/>
                      <a:pt x="1050" y="952"/>
                    </a:cubicBezTo>
                    <a:cubicBezTo>
                      <a:pt x="1025" y="943"/>
                      <a:pt x="1012" y="979"/>
                      <a:pt x="1008" y="1012"/>
                    </a:cubicBezTo>
                    <a:cubicBezTo>
                      <a:pt x="1004" y="1046"/>
                      <a:pt x="1003" y="1047"/>
                      <a:pt x="985" y="1072"/>
                    </a:cubicBezTo>
                    <a:cubicBezTo>
                      <a:pt x="968" y="1096"/>
                      <a:pt x="959" y="1109"/>
                      <a:pt x="950" y="1141"/>
                    </a:cubicBezTo>
                    <a:cubicBezTo>
                      <a:pt x="947" y="1156"/>
                      <a:pt x="949" y="1158"/>
                      <a:pt x="935" y="1169"/>
                    </a:cubicBezTo>
                    <a:cubicBezTo>
                      <a:pt x="935" y="1169"/>
                      <a:pt x="895" y="1160"/>
                      <a:pt x="897" y="1131"/>
                    </a:cubicBezTo>
                    <a:cubicBezTo>
                      <a:pt x="899" y="1103"/>
                      <a:pt x="891" y="1083"/>
                      <a:pt x="874" y="1070"/>
                    </a:cubicBezTo>
                    <a:cubicBezTo>
                      <a:pt x="858" y="1057"/>
                      <a:pt x="845" y="1036"/>
                      <a:pt x="832" y="1009"/>
                    </a:cubicBezTo>
                    <a:cubicBezTo>
                      <a:pt x="819" y="982"/>
                      <a:pt x="772" y="979"/>
                      <a:pt x="791" y="958"/>
                    </a:cubicBezTo>
                    <a:cubicBezTo>
                      <a:pt x="809" y="938"/>
                      <a:pt x="810" y="906"/>
                      <a:pt x="787" y="891"/>
                    </a:cubicBezTo>
                    <a:cubicBezTo>
                      <a:pt x="763" y="875"/>
                      <a:pt x="750" y="857"/>
                      <a:pt x="738" y="833"/>
                    </a:cubicBezTo>
                    <a:cubicBezTo>
                      <a:pt x="727" y="810"/>
                      <a:pt x="721" y="799"/>
                      <a:pt x="700" y="777"/>
                    </a:cubicBezTo>
                    <a:cubicBezTo>
                      <a:pt x="679" y="754"/>
                      <a:pt x="672" y="736"/>
                      <a:pt x="665" y="728"/>
                    </a:cubicBezTo>
                    <a:cubicBezTo>
                      <a:pt x="658" y="720"/>
                      <a:pt x="645" y="721"/>
                      <a:pt x="639" y="736"/>
                    </a:cubicBezTo>
                    <a:cubicBezTo>
                      <a:pt x="634" y="752"/>
                      <a:pt x="630" y="775"/>
                      <a:pt x="617" y="779"/>
                    </a:cubicBezTo>
                    <a:cubicBezTo>
                      <a:pt x="604" y="784"/>
                      <a:pt x="599" y="758"/>
                      <a:pt x="597" y="732"/>
                    </a:cubicBezTo>
                    <a:cubicBezTo>
                      <a:pt x="595" y="706"/>
                      <a:pt x="587" y="695"/>
                      <a:pt x="562" y="691"/>
                    </a:cubicBezTo>
                    <a:cubicBezTo>
                      <a:pt x="537" y="687"/>
                      <a:pt x="475" y="691"/>
                      <a:pt x="447" y="699"/>
                    </a:cubicBezTo>
                    <a:cubicBezTo>
                      <a:pt x="419" y="706"/>
                      <a:pt x="203" y="616"/>
                      <a:pt x="203" y="616"/>
                    </a:cubicBezTo>
                    <a:cubicBezTo>
                      <a:pt x="0" y="321"/>
                      <a:pt x="0" y="321"/>
                      <a:pt x="0" y="321"/>
                    </a:cubicBezTo>
                    <a:cubicBezTo>
                      <a:pt x="22" y="94"/>
                      <a:pt x="22" y="94"/>
                      <a:pt x="22" y="94"/>
                    </a:cubicBezTo>
                    <a:cubicBezTo>
                      <a:pt x="539" y="0"/>
                      <a:pt x="539" y="0"/>
                      <a:pt x="539" y="0"/>
                    </a:cubicBezTo>
                    <a:cubicBezTo>
                      <a:pt x="1165" y="157"/>
                      <a:pt x="1165" y="157"/>
                      <a:pt x="1165" y="157"/>
                    </a:cubicBezTo>
                    <a:cubicBezTo>
                      <a:pt x="1491" y="279"/>
                      <a:pt x="1491" y="279"/>
                      <a:pt x="1491" y="279"/>
                    </a:cubicBezTo>
                    <a:cubicBezTo>
                      <a:pt x="1606" y="383"/>
                      <a:pt x="1606" y="383"/>
                      <a:pt x="1606" y="383"/>
                    </a:cubicBezTo>
                    <a:cubicBezTo>
                      <a:pt x="1655" y="406"/>
                      <a:pt x="1655" y="406"/>
                      <a:pt x="1655" y="406"/>
                    </a:cubicBezTo>
                    <a:lnTo>
                      <a:pt x="1658" y="41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1" name="Freeform 24"/>
              <p:cNvSpPr/>
              <p:nvPr/>
            </p:nvSpPr>
            <p:spPr bwMode="auto">
              <a:xfrm>
                <a:off x="5943179" y="1990427"/>
                <a:ext cx="1258888" cy="1120775"/>
              </a:xfrm>
              <a:custGeom>
                <a:avLst/>
                <a:gdLst>
                  <a:gd name="T0" fmla="*/ 124 w 2249"/>
                  <a:gd name="T1" fmla="*/ 64 h 2002"/>
                  <a:gd name="T2" fmla="*/ 263 w 2249"/>
                  <a:gd name="T3" fmla="*/ 32 h 2002"/>
                  <a:gd name="T4" fmla="*/ 394 w 2249"/>
                  <a:gd name="T5" fmla="*/ 14 h 2002"/>
                  <a:gd name="T6" fmla="*/ 494 w 2249"/>
                  <a:gd name="T7" fmla="*/ 44 h 2002"/>
                  <a:gd name="T8" fmla="*/ 595 w 2249"/>
                  <a:gd name="T9" fmla="*/ 30 h 2002"/>
                  <a:gd name="T10" fmla="*/ 715 w 2249"/>
                  <a:gd name="T11" fmla="*/ 107 h 2002"/>
                  <a:gd name="T12" fmla="*/ 780 w 2249"/>
                  <a:gd name="T13" fmla="*/ 202 h 2002"/>
                  <a:gd name="T14" fmla="*/ 856 w 2249"/>
                  <a:gd name="T15" fmla="*/ 319 h 2002"/>
                  <a:gd name="T16" fmla="*/ 906 w 2249"/>
                  <a:gd name="T17" fmla="*/ 424 h 2002"/>
                  <a:gd name="T18" fmla="*/ 991 w 2249"/>
                  <a:gd name="T19" fmla="*/ 553 h 2002"/>
                  <a:gd name="T20" fmla="*/ 1045 w 2249"/>
                  <a:gd name="T21" fmla="*/ 676 h 2002"/>
                  <a:gd name="T22" fmla="*/ 1195 w 2249"/>
                  <a:gd name="T23" fmla="*/ 734 h 2002"/>
                  <a:gd name="T24" fmla="*/ 1336 w 2249"/>
                  <a:gd name="T25" fmla="*/ 725 h 2002"/>
                  <a:gd name="T26" fmla="*/ 1428 w 2249"/>
                  <a:gd name="T27" fmla="*/ 777 h 2002"/>
                  <a:gd name="T28" fmla="*/ 1560 w 2249"/>
                  <a:gd name="T29" fmla="*/ 831 h 2002"/>
                  <a:gd name="T30" fmla="*/ 1612 w 2249"/>
                  <a:gd name="T31" fmla="*/ 950 h 2002"/>
                  <a:gd name="T32" fmla="*/ 1728 w 2249"/>
                  <a:gd name="T33" fmla="*/ 1010 h 2002"/>
                  <a:gd name="T34" fmla="*/ 1849 w 2249"/>
                  <a:gd name="T35" fmla="*/ 978 h 2002"/>
                  <a:gd name="T36" fmla="*/ 1947 w 2249"/>
                  <a:gd name="T37" fmla="*/ 901 h 2002"/>
                  <a:gd name="T38" fmla="*/ 2054 w 2249"/>
                  <a:gd name="T39" fmla="*/ 825 h 2002"/>
                  <a:gd name="T40" fmla="*/ 2199 w 2249"/>
                  <a:gd name="T41" fmla="*/ 726 h 2002"/>
                  <a:gd name="T42" fmla="*/ 2209 w 2249"/>
                  <a:gd name="T43" fmla="*/ 757 h 2002"/>
                  <a:gd name="T44" fmla="*/ 2227 w 2249"/>
                  <a:gd name="T45" fmla="*/ 866 h 2002"/>
                  <a:gd name="T46" fmla="*/ 2190 w 2249"/>
                  <a:gd name="T47" fmla="*/ 973 h 2002"/>
                  <a:gd name="T48" fmla="*/ 2181 w 2249"/>
                  <a:gd name="T49" fmla="*/ 1057 h 2002"/>
                  <a:gd name="T50" fmla="*/ 2188 w 2249"/>
                  <a:gd name="T51" fmla="*/ 1140 h 2002"/>
                  <a:gd name="T52" fmla="*/ 2187 w 2249"/>
                  <a:gd name="T53" fmla="*/ 1239 h 2002"/>
                  <a:gd name="T54" fmla="*/ 2155 w 2249"/>
                  <a:gd name="T55" fmla="*/ 1340 h 2002"/>
                  <a:gd name="T56" fmla="*/ 2127 w 2249"/>
                  <a:gd name="T57" fmla="*/ 1446 h 2002"/>
                  <a:gd name="T58" fmla="*/ 2067 w 2249"/>
                  <a:gd name="T59" fmla="*/ 1521 h 2002"/>
                  <a:gd name="T60" fmla="*/ 1915 w 2249"/>
                  <a:gd name="T61" fmla="*/ 1575 h 2002"/>
                  <a:gd name="T62" fmla="*/ 1839 w 2249"/>
                  <a:gd name="T63" fmla="*/ 1650 h 2002"/>
                  <a:gd name="T64" fmla="*/ 1909 w 2249"/>
                  <a:gd name="T65" fmla="*/ 1769 h 2002"/>
                  <a:gd name="T66" fmla="*/ 1941 w 2249"/>
                  <a:gd name="T67" fmla="*/ 1913 h 2002"/>
                  <a:gd name="T68" fmla="*/ 1897 w 2249"/>
                  <a:gd name="T69" fmla="*/ 1946 h 2002"/>
                  <a:gd name="T70" fmla="*/ 1816 w 2249"/>
                  <a:gd name="T71" fmla="*/ 1913 h 2002"/>
                  <a:gd name="T72" fmla="*/ 1759 w 2249"/>
                  <a:gd name="T73" fmla="*/ 1851 h 2002"/>
                  <a:gd name="T74" fmla="*/ 1720 w 2249"/>
                  <a:gd name="T75" fmla="*/ 1879 h 2002"/>
                  <a:gd name="T76" fmla="*/ 1681 w 2249"/>
                  <a:gd name="T77" fmla="*/ 1902 h 2002"/>
                  <a:gd name="T78" fmla="*/ 1616 w 2249"/>
                  <a:gd name="T79" fmla="*/ 1946 h 2002"/>
                  <a:gd name="T80" fmla="*/ 1548 w 2249"/>
                  <a:gd name="T81" fmla="*/ 1982 h 2002"/>
                  <a:gd name="T82" fmla="*/ 1530 w 2249"/>
                  <a:gd name="T83" fmla="*/ 1935 h 2002"/>
                  <a:gd name="T84" fmla="*/ 1451 w 2249"/>
                  <a:gd name="T85" fmla="*/ 1838 h 2002"/>
                  <a:gd name="T86" fmla="*/ 1404 w 2249"/>
                  <a:gd name="T87" fmla="*/ 1820 h 2002"/>
                  <a:gd name="T88" fmla="*/ 1404 w 2249"/>
                  <a:gd name="T89" fmla="*/ 1917 h 2002"/>
                  <a:gd name="T90" fmla="*/ 1311 w 2249"/>
                  <a:gd name="T91" fmla="*/ 1859 h 2002"/>
                  <a:gd name="T92" fmla="*/ 1231 w 2249"/>
                  <a:gd name="T93" fmla="*/ 1836 h 2002"/>
                  <a:gd name="T94" fmla="*/ 1194 w 2249"/>
                  <a:gd name="T95" fmla="*/ 1734 h 2002"/>
                  <a:gd name="T96" fmla="*/ 1128 w 2249"/>
                  <a:gd name="T97" fmla="*/ 1713 h 2002"/>
                  <a:gd name="T98" fmla="*/ 1035 w 2249"/>
                  <a:gd name="T99" fmla="*/ 1746 h 2002"/>
                  <a:gd name="T100" fmla="*/ 958 w 2249"/>
                  <a:gd name="T101" fmla="*/ 1689 h 2002"/>
                  <a:gd name="T102" fmla="*/ 883 w 2249"/>
                  <a:gd name="T103" fmla="*/ 1720 h 2002"/>
                  <a:gd name="T104" fmla="*/ 771 w 2249"/>
                  <a:gd name="T105" fmla="*/ 1721 h 2002"/>
                  <a:gd name="T106" fmla="*/ 683 w 2249"/>
                  <a:gd name="T107" fmla="*/ 1588 h 2002"/>
                  <a:gd name="T108" fmla="*/ 605 w 2249"/>
                  <a:gd name="T109" fmla="*/ 1600 h 2002"/>
                  <a:gd name="T110" fmla="*/ 370 w 2249"/>
                  <a:gd name="T111" fmla="*/ 1403 h 2002"/>
                  <a:gd name="T112" fmla="*/ 172 w 2249"/>
                  <a:gd name="T113" fmla="*/ 465 h 2002"/>
                  <a:gd name="T114" fmla="*/ 58 w 2249"/>
                  <a:gd name="T115" fmla="*/ 158 h 2002"/>
                  <a:gd name="T116" fmla="*/ 75 w 2249"/>
                  <a:gd name="T117" fmla="*/ 92 h 20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249" h="2002">
                    <a:moveTo>
                      <a:pt x="75" y="92"/>
                    </a:moveTo>
                    <a:cubicBezTo>
                      <a:pt x="98" y="80"/>
                      <a:pt x="100" y="74"/>
                      <a:pt x="124" y="64"/>
                    </a:cubicBezTo>
                    <a:cubicBezTo>
                      <a:pt x="154" y="50"/>
                      <a:pt x="168" y="33"/>
                      <a:pt x="190" y="36"/>
                    </a:cubicBezTo>
                    <a:cubicBezTo>
                      <a:pt x="213" y="40"/>
                      <a:pt x="237" y="41"/>
                      <a:pt x="263" y="32"/>
                    </a:cubicBezTo>
                    <a:cubicBezTo>
                      <a:pt x="290" y="23"/>
                      <a:pt x="288" y="14"/>
                      <a:pt x="312" y="7"/>
                    </a:cubicBezTo>
                    <a:cubicBezTo>
                      <a:pt x="335" y="0"/>
                      <a:pt x="379" y="5"/>
                      <a:pt x="394" y="14"/>
                    </a:cubicBezTo>
                    <a:cubicBezTo>
                      <a:pt x="409" y="22"/>
                      <a:pt x="414" y="42"/>
                      <a:pt x="437" y="29"/>
                    </a:cubicBezTo>
                    <a:cubicBezTo>
                      <a:pt x="461" y="16"/>
                      <a:pt x="471" y="27"/>
                      <a:pt x="494" y="44"/>
                    </a:cubicBezTo>
                    <a:cubicBezTo>
                      <a:pt x="517" y="60"/>
                      <a:pt x="530" y="69"/>
                      <a:pt x="552" y="49"/>
                    </a:cubicBezTo>
                    <a:cubicBezTo>
                      <a:pt x="573" y="29"/>
                      <a:pt x="565" y="27"/>
                      <a:pt x="595" y="30"/>
                    </a:cubicBezTo>
                    <a:cubicBezTo>
                      <a:pt x="625" y="33"/>
                      <a:pt x="654" y="65"/>
                      <a:pt x="666" y="81"/>
                    </a:cubicBezTo>
                    <a:cubicBezTo>
                      <a:pt x="677" y="96"/>
                      <a:pt x="713" y="96"/>
                      <a:pt x="715" y="107"/>
                    </a:cubicBezTo>
                    <a:cubicBezTo>
                      <a:pt x="716" y="117"/>
                      <a:pt x="718" y="138"/>
                      <a:pt x="743" y="149"/>
                    </a:cubicBezTo>
                    <a:cubicBezTo>
                      <a:pt x="769" y="160"/>
                      <a:pt x="774" y="180"/>
                      <a:pt x="780" y="202"/>
                    </a:cubicBezTo>
                    <a:cubicBezTo>
                      <a:pt x="787" y="225"/>
                      <a:pt x="815" y="245"/>
                      <a:pt x="812" y="258"/>
                    </a:cubicBezTo>
                    <a:cubicBezTo>
                      <a:pt x="809" y="272"/>
                      <a:pt x="851" y="294"/>
                      <a:pt x="856" y="319"/>
                    </a:cubicBezTo>
                    <a:cubicBezTo>
                      <a:pt x="861" y="344"/>
                      <a:pt x="868" y="350"/>
                      <a:pt x="883" y="372"/>
                    </a:cubicBezTo>
                    <a:cubicBezTo>
                      <a:pt x="898" y="395"/>
                      <a:pt x="914" y="401"/>
                      <a:pt x="906" y="424"/>
                    </a:cubicBezTo>
                    <a:cubicBezTo>
                      <a:pt x="899" y="447"/>
                      <a:pt x="952" y="477"/>
                      <a:pt x="961" y="492"/>
                    </a:cubicBezTo>
                    <a:cubicBezTo>
                      <a:pt x="969" y="507"/>
                      <a:pt x="989" y="529"/>
                      <a:pt x="991" y="553"/>
                    </a:cubicBezTo>
                    <a:cubicBezTo>
                      <a:pt x="993" y="576"/>
                      <a:pt x="1022" y="590"/>
                      <a:pt x="1039" y="618"/>
                    </a:cubicBezTo>
                    <a:cubicBezTo>
                      <a:pt x="1055" y="646"/>
                      <a:pt x="1042" y="651"/>
                      <a:pt x="1045" y="676"/>
                    </a:cubicBezTo>
                    <a:cubicBezTo>
                      <a:pt x="1049" y="702"/>
                      <a:pt x="1076" y="720"/>
                      <a:pt x="1099" y="734"/>
                    </a:cubicBezTo>
                    <a:cubicBezTo>
                      <a:pt x="1121" y="747"/>
                      <a:pt x="1159" y="764"/>
                      <a:pt x="1195" y="734"/>
                    </a:cubicBezTo>
                    <a:cubicBezTo>
                      <a:pt x="1231" y="704"/>
                      <a:pt x="1249" y="723"/>
                      <a:pt x="1281" y="730"/>
                    </a:cubicBezTo>
                    <a:cubicBezTo>
                      <a:pt x="1313" y="738"/>
                      <a:pt x="1327" y="738"/>
                      <a:pt x="1336" y="725"/>
                    </a:cubicBezTo>
                    <a:cubicBezTo>
                      <a:pt x="1345" y="711"/>
                      <a:pt x="1366" y="716"/>
                      <a:pt x="1377" y="734"/>
                    </a:cubicBezTo>
                    <a:cubicBezTo>
                      <a:pt x="1388" y="751"/>
                      <a:pt x="1405" y="763"/>
                      <a:pt x="1428" y="777"/>
                    </a:cubicBezTo>
                    <a:cubicBezTo>
                      <a:pt x="1451" y="792"/>
                      <a:pt x="1496" y="811"/>
                      <a:pt x="1529" y="797"/>
                    </a:cubicBezTo>
                    <a:cubicBezTo>
                      <a:pt x="1563" y="782"/>
                      <a:pt x="1569" y="799"/>
                      <a:pt x="1560" y="831"/>
                    </a:cubicBezTo>
                    <a:cubicBezTo>
                      <a:pt x="1552" y="862"/>
                      <a:pt x="1584" y="865"/>
                      <a:pt x="1607" y="889"/>
                    </a:cubicBezTo>
                    <a:cubicBezTo>
                      <a:pt x="1630" y="913"/>
                      <a:pt x="1621" y="918"/>
                      <a:pt x="1612" y="950"/>
                    </a:cubicBezTo>
                    <a:cubicBezTo>
                      <a:pt x="1604" y="981"/>
                      <a:pt x="1639" y="992"/>
                      <a:pt x="1670" y="1017"/>
                    </a:cubicBezTo>
                    <a:cubicBezTo>
                      <a:pt x="1702" y="1042"/>
                      <a:pt x="1714" y="1024"/>
                      <a:pt x="1728" y="1010"/>
                    </a:cubicBezTo>
                    <a:cubicBezTo>
                      <a:pt x="1742" y="995"/>
                      <a:pt x="1761" y="1010"/>
                      <a:pt x="1788" y="1012"/>
                    </a:cubicBezTo>
                    <a:cubicBezTo>
                      <a:pt x="1815" y="1013"/>
                      <a:pt x="1838" y="987"/>
                      <a:pt x="1849" y="978"/>
                    </a:cubicBezTo>
                    <a:cubicBezTo>
                      <a:pt x="1861" y="969"/>
                      <a:pt x="1888" y="974"/>
                      <a:pt x="1902" y="962"/>
                    </a:cubicBezTo>
                    <a:cubicBezTo>
                      <a:pt x="1916" y="950"/>
                      <a:pt x="1937" y="916"/>
                      <a:pt x="1947" y="901"/>
                    </a:cubicBezTo>
                    <a:cubicBezTo>
                      <a:pt x="1957" y="886"/>
                      <a:pt x="1976" y="866"/>
                      <a:pt x="2007" y="862"/>
                    </a:cubicBezTo>
                    <a:cubicBezTo>
                      <a:pt x="2039" y="858"/>
                      <a:pt x="2046" y="847"/>
                      <a:pt x="2054" y="825"/>
                    </a:cubicBezTo>
                    <a:cubicBezTo>
                      <a:pt x="2061" y="803"/>
                      <a:pt x="2102" y="788"/>
                      <a:pt x="2121" y="769"/>
                    </a:cubicBezTo>
                    <a:cubicBezTo>
                      <a:pt x="2141" y="749"/>
                      <a:pt x="2174" y="736"/>
                      <a:pt x="2199" y="726"/>
                    </a:cubicBezTo>
                    <a:cubicBezTo>
                      <a:pt x="2224" y="716"/>
                      <a:pt x="2235" y="716"/>
                      <a:pt x="2238" y="722"/>
                    </a:cubicBezTo>
                    <a:cubicBezTo>
                      <a:pt x="2242" y="728"/>
                      <a:pt x="2217" y="745"/>
                      <a:pt x="2209" y="757"/>
                    </a:cubicBezTo>
                    <a:cubicBezTo>
                      <a:pt x="2201" y="769"/>
                      <a:pt x="2196" y="788"/>
                      <a:pt x="2191" y="805"/>
                    </a:cubicBezTo>
                    <a:cubicBezTo>
                      <a:pt x="2186" y="822"/>
                      <a:pt x="2205" y="847"/>
                      <a:pt x="2227" y="866"/>
                    </a:cubicBezTo>
                    <a:cubicBezTo>
                      <a:pt x="2249" y="885"/>
                      <a:pt x="2233" y="909"/>
                      <a:pt x="2227" y="929"/>
                    </a:cubicBezTo>
                    <a:cubicBezTo>
                      <a:pt x="2222" y="949"/>
                      <a:pt x="2197" y="964"/>
                      <a:pt x="2190" y="973"/>
                    </a:cubicBezTo>
                    <a:cubicBezTo>
                      <a:pt x="2183" y="982"/>
                      <a:pt x="2175" y="994"/>
                      <a:pt x="2180" y="1004"/>
                    </a:cubicBezTo>
                    <a:cubicBezTo>
                      <a:pt x="2186" y="1014"/>
                      <a:pt x="2188" y="1042"/>
                      <a:pt x="2181" y="1057"/>
                    </a:cubicBezTo>
                    <a:cubicBezTo>
                      <a:pt x="2175" y="1071"/>
                      <a:pt x="2174" y="1087"/>
                      <a:pt x="2179" y="1096"/>
                    </a:cubicBezTo>
                    <a:cubicBezTo>
                      <a:pt x="2185" y="1105"/>
                      <a:pt x="2196" y="1118"/>
                      <a:pt x="2188" y="1140"/>
                    </a:cubicBezTo>
                    <a:cubicBezTo>
                      <a:pt x="2179" y="1163"/>
                      <a:pt x="2176" y="1160"/>
                      <a:pt x="2187" y="1175"/>
                    </a:cubicBezTo>
                    <a:cubicBezTo>
                      <a:pt x="2198" y="1190"/>
                      <a:pt x="2193" y="1213"/>
                      <a:pt x="2187" y="1239"/>
                    </a:cubicBezTo>
                    <a:cubicBezTo>
                      <a:pt x="2181" y="1264"/>
                      <a:pt x="2182" y="1289"/>
                      <a:pt x="2177" y="1297"/>
                    </a:cubicBezTo>
                    <a:cubicBezTo>
                      <a:pt x="2171" y="1305"/>
                      <a:pt x="2155" y="1325"/>
                      <a:pt x="2155" y="1340"/>
                    </a:cubicBezTo>
                    <a:cubicBezTo>
                      <a:pt x="2154" y="1356"/>
                      <a:pt x="2160" y="1382"/>
                      <a:pt x="2142" y="1408"/>
                    </a:cubicBezTo>
                    <a:cubicBezTo>
                      <a:pt x="2124" y="1434"/>
                      <a:pt x="2123" y="1430"/>
                      <a:pt x="2127" y="1446"/>
                    </a:cubicBezTo>
                    <a:cubicBezTo>
                      <a:pt x="2132" y="1462"/>
                      <a:pt x="2139" y="1491"/>
                      <a:pt x="2134" y="1509"/>
                    </a:cubicBezTo>
                    <a:cubicBezTo>
                      <a:pt x="2130" y="1528"/>
                      <a:pt x="2089" y="1519"/>
                      <a:pt x="2067" y="1521"/>
                    </a:cubicBezTo>
                    <a:cubicBezTo>
                      <a:pt x="2046" y="1523"/>
                      <a:pt x="1969" y="1513"/>
                      <a:pt x="1951" y="1510"/>
                    </a:cubicBezTo>
                    <a:cubicBezTo>
                      <a:pt x="1932" y="1506"/>
                      <a:pt x="1923" y="1543"/>
                      <a:pt x="1915" y="1575"/>
                    </a:cubicBezTo>
                    <a:cubicBezTo>
                      <a:pt x="1908" y="1607"/>
                      <a:pt x="1875" y="1611"/>
                      <a:pt x="1856" y="1623"/>
                    </a:cubicBezTo>
                    <a:cubicBezTo>
                      <a:pt x="1836" y="1635"/>
                      <a:pt x="1821" y="1633"/>
                      <a:pt x="1839" y="1650"/>
                    </a:cubicBezTo>
                    <a:cubicBezTo>
                      <a:pt x="1856" y="1667"/>
                      <a:pt x="1872" y="1683"/>
                      <a:pt x="1875" y="1703"/>
                    </a:cubicBezTo>
                    <a:cubicBezTo>
                      <a:pt x="1879" y="1724"/>
                      <a:pt x="1899" y="1749"/>
                      <a:pt x="1909" y="1769"/>
                    </a:cubicBezTo>
                    <a:cubicBezTo>
                      <a:pt x="1918" y="1790"/>
                      <a:pt x="1926" y="1834"/>
                      <a:pt x="1922" y="1870"/>
                    </a:cubicBezTo>
                    <a:cubicBezTo>
                      <a:pt x="1919" y="1894"/>
                      <a:pt x="1930" y="1899"/>
                      <a:pt x="1941" y="1913"/>
                    </a:cubicBezTo>
                    <a:cubicBezTo>
                      <a:pt x="1941" y="1913"/>
                      <a:pt x="1929" y="1941"/>
                      <a:pt x="1920" y="1936"/>
                    </a:cubicBezTo>
                    <a:cubicBezTo>
                      <a:pt x="1912" y="1931"/>
                      <a:pt x="1904" y="1937"/>
                      <a:pt x="1897" y="1946"/>
                    </a:cubicBezTo>
                    <a:cubicBezTo>
                      <a:pt x="1890" y="1954"/>
                      <a:pt x="1871" y="1949"/>
                      <a:pt x="1861" y="1937"/>
                    </a:cubicBezTo>
                    <a:cubicBezTo>
                      <a:pt x="1851" y="1924"/>
                      <a:pt x="1828" y="1914"/>
                      <a:pt x="1816" y="1913"/>
                    </a:cubicBezTo>
                    <a:cubicBezTo>
                      <a:pt x="1804" y="1911"/>
                      <a:pt x="1785" y="1911"/>
                      <a:pt x="1781" y="1885"/>
                    </a:cubicBezTo>
                    <a:cubicBezTo>
                      <a:pt x="1777" y="1860"/>
                      <a:pt x="1767" y="1821"/>
                      <a:pt x="1759" y="1851"/>
                    </a:cubicBezTo>
                    <a:cubicBezTo>
                      <a:pt x="1750" y="1880"/>
                      <a:pt x="1754" y="1871"/>
                      <a:pt x="1746" y="1887"/>
                    </a:cubicBezTo>
                    <a:cubicBezTo>
                      <a:pt x="1739" y="1904"/>
                      <a:pt x="1724" y="1895"/>
                      <a:pt x="1720" y="1879"/>
                    </a:cubicBezTo>
                    <a:cubicBezTo>
                      <a:pt x="1716" y="1864"/>
                      <a:pt x="1709" y="1859"/>
                      <a:pt x="1699" y="1878"/>
                    </a:cubicBezTo>
                    <a:cubicBezTo>
                      <a:pt x="1690" y="1896"/>
                      <a:pt x="1702" y="1894"/>
                      <a:pt x="1681" y="1902"/>
                    </a:cubicBezTo>
                    <a:cubicBezTo>
                      <a:pt x="1660" y="1909"/>
                      <a:pt x="1629" y="1926"/>
                      <a:pt x="1620" y="1930"/>
                    </a:cubicBezTo>
                    <a:cubicBezTo>
                      <a:pt x="1610" y="1934"/>
                      <a:pt x="1607" y="1934"/>
                      <a:pt x="1616" y="1946"/>
                    </a:cubicBezTo>
                    <a:cubicBezTo>
                      <a:pt x="1625" y="1957"/>
                      <a:pt x="1632" y="1967"/>
                      <a:pt x="1612" y="1982"/>
                    </a:cubicBezTo>
                    <a:cubicBezTo>
                      <a:pt x="1593" y="1996"/>
                      <a:pt x="1559" y="2002"/>
                      <a:pt x="1548" y="1982"/>
                    </a:cubicBezTo>
                    <a:cubicBezTo>
                      <a:pt x="1537" y="1961"/>
                      <a:pt x="1537" y="1956"/>
                      <a:pt x="1543" y="1949"/>
                    </a:cubicBezTo>
                    <a:cubicBezTo>
                      <a:pt x="1550" y="1942"/>
                      <a:pt x="1545" y="1935"/>
                      <a:pt x="1530" y="1935"/>
                    </a:cubicBezTo>
                    <a:cubicBezTo>
                      <a:pt x="1516" y="1934"/>
                      <a:pt x="1477" y="1917"/>
                      <a:pt x="1466" y="1891"/>
                    </a:cubicBezTo>
                    <a:cubicBezTo>
                      <a:pt x="1454" y="1865"/>
                      <a:pt x="1447" y="1851"/>
                      <a:pt x="1451" y="1838"/>
                    </a:cubicBezTo>
                    <a:cubicBezTo>
                      <a:pt x="1454" y="1825"/>
                      <a:pt x="1458" y="1795"/>
                      <a:pt x="1433" y="1798"/>
                    </a:cubicBezTo>
                    <a:cubicBezTo>
                      <a:pt x="1409" y="1801"/>
                      <a:pt x="1401" y="1798"/>
                      <a:pt x="1404" y="1820"/>
                    </a:cubicBezTo>
                    <a:cubicBezTo>
                      <a:pt x="1407" y="1842"/>
                      <a:pt x="1415" y="1849"/>
                      <a:pt x="1416" y="1868"/>
                    </a:cubicBezTo>
                    <a:cubicBezTo>
                      <a:pt x="1416" y="1887"/>
                      <a:pt x="1422" y="1901"/>
                      <a:pt x="1404" y="1917"/>
                    </a:cubicBezTo>
                    <a:cubicBezTo>
                      <a:pt x="1386" y="1933"/>
                      <a:pt x="1370" y="1928"/>
                      <a:pt x="1344" y="1905"/>
                    </a:cubicBezTo>
                    <a:cubicBezTo>
                      <a:pt x="1318" y="1883"/>
                      <a:pt x="1316" y="1879"/>
                      <a:pt x="1311" y="1859"/>
                    </a:cubicBezTo>
                    <a:cubicBezTo>
                      <a:pt x="1306" y="1840"/>
                      <a:pt x="1303" y="1815"/>
                      <a:pt x="1276" y="1821"/>
                    </a:cubicBezTo>
                    <a:cubicBezTo>
                      <a:pt x="1248" y="1827"/>
                      <a:pt x="1246" y="1855"/>
                      <a:pt x="1231" y="1836"/>
                    </a:cubicBezTo>
                    <a:cubicBezTo>
                      <a:pt x="1217" y="1817"/>
                      <a:pt x="1207" y="1799"/>
                      <a:pt x="1213" y="1784"/>
                    </a:cubicBezTo>
                    <a:cubicBezTo>
                      <a:pt x="1220" y="1769"/>
                      <a:pt x="1212" y="1745"/>
                      <a:pt x="1194" y="1734"/>
                    </a:cubicBezTo>
                    <a:cubicBezTo>
                      <a:pt x="1175" y="1723"/>
                      <a:pt x="1175" y="1727"/>
                      <a:pt x="1162" y="1735"/>
                    </a:cubicBezTo>
                    <a:cubicBezTo>
                      <a:pt x="1150" y="1743"/>
                      <a:pt x="1155" y="1711"/>
                      <a:pt x="1128" y="1713"/>
                    </a:cubicBezTo>
                    <a:cubicBezTo>
                      <a:pt x="1101" y="1714"/>
                      <a:pt x="1102" y="1713"/>
                      <a:pt x="1087" y="1732"/>
                    </a:cubicBezTo>
                    <a:cubicBezTo>
                      <a:pt x="1072" y="1751"/>
                      <a:pt x="1065" y="1754"/>
                      <a:pt x="1035" y="1746"/>
                    </a:cubicBezTo>
                    <a:cubicBezTo>
                      <a:pt x="1005" y="1738"/>
                      <a:pt x="991" y="1723"/>
                      <a:pt x="990" y="1706"/>
                    </a:cubicBezTo>
                    <a:cubicBezTo>
                      <a:pt x="989" y="1690"/>
                      <a:pt x="978" y="1664"/>
                      <a:pt x="958" y="1689"/>
                    </a:cubicBezTo>
                    <a:cubicBezTo>
                      <a:pt x="938" y="1715"/>
                      <a:pt x="944" y="1715"/>
                      <a:pt x="922" y="1717"/>
                    </a:cubicBezTo>
                    <a:cubicBezTo>
                      <a:pt x="899" y="1719"/>
                      <a:pt x="903" y="1735"/>
                      <a:pt x="883" y="1720"/>
                    </a:cubicBezTo>
                    <a:cubicBezTo>
                      <a:pt x="864" y="1705"/>
                      <a:pt x="845" y="1704"/>
                      <a:pt x="830" y="1721"/>
                    </a:cubicBezTo>
                    <a:cubicBezTo>
                      <a:pt x="816" y="1738"/>
                      <a:pt x="794" y="1742"/>
                      <a:pt x="771" y="1721"/>
                    </a:cubicBezTo>
                    <a:cubicBezTo>
                      <a:pt x="749" y="1700"/>
                      <a:pt x="710" y="1675"/>
                      <a:pt x="707" y="1657"/>
                    </a:cubicBezTo>
                    <a:cubicBezTo>
                      <a:pt x="703" y="1638"/>
                      <a:pt x="687" y="1604"/>
                      <a:pt x="683" y="1588"/>
                    </a:cubicBezTo>
                    <a:cubicBezTo>
                      <a:pt x="680" y="1573"/>
                      <a:pt x="665" y="1558"/>
                      <a:pt x="650" y="1579"/>
                    </a:cubicBezTo>
                    <a:cubicBezTo>
                      <a:pt x="635" y="1599"/>
                      <a:pt x="622" y="1598"/>
                      <a:pt x="605" y="1600"/>
                    </a:cubicBezTo>
                    <a:cubicBezTo>
                      <a:pt x="588" y="1602"/>
                      <a:pt x="558" y="1597"/>
                      <a:pt x="538" y="1601"/>
                    </a:cubicBezTo>
                    <a:cubicBezTo>
                      <a:pt x="518" y="1605"/>
                      <a:pt x="370" y="1403"/>
                      <a:pt x="370" y="1403"/>
                    </a:cubicBezTo>
                    <a:cubicBezTo>
                      <a:pt x="422" y="935"/>
                      <a:pt x="422" y="935"/>
                      <a:pt x="422" y="935"/>
                    </a:cubicBezTo>
                    <a:cubicBezTo>
                      <a:pt x="422" y="935"/>
                      <a:pt x="176" y="469"/>
                      <a:pt x="172" y="465"/>
                    </a:cubicBezTo>
                    <a:cubicBezTo>
                      <a:pt x="168" y="460"/>
                      <a:pt x="0" y="231"/>
                      <a:pt x="0" y="231"/>
                    </a:cubicBezTo>
                    <a:cubicBezTo>
                      <a:pt x="58" y="158"/>
                      <a:pt x="58" y="158"/>
                      <a:pt x="58" y="158"/>
                    </a:cubicBezTo>
                    <a:cubicBezTo>
                      <a:pt x="72" y="93"/>
                      <a:pt x="72" y="93"/>
                      <a:pt x="72" y="93"/>
                    </a:cubicBezTo>
                    <a:lnTo>
                      <a:pt x="75" y="92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2" name="Freeform 25"/>
              <p:cNvSpPr/>
              <p:nvPr/>
            </p:nvSpPr>
            <p:spPr bwMode="auto">
              <a:xfrm>
                <a:off x="4758904" y="3803352"/>
                <a:ext cx="546100" cy="989012"/>
              </a:xfrm>
              <a:custGeom>
                <a:avLst/>
                <a:gdLst>
                  <a:gd name="T0" fmla="*/ 570 w 977"/>
                  <a:gd name="T1" fmla="*/ 1699 h 1767"/>
                  <a:gd name="T2" fmla="*/ 652 w 977"/>
                  <a:gd name="T3" fmla="*/ 1738 h 1767"/>
                  <a:gd name="T4" fmla="*/ 709 w 977"/>
                  <a:gd name="T5" fmla="*/ 1758 h 1767"/>
                  <a:gd name="T6" fmla="*/ 740 w 977"/>
                  <a:gd name="T7" fmla="*/ 1683 h 1767"/>
                  <a:gd name="T8" fmla="*/ 741 w 977"/>
                  <a:gd name="T9" fmla="*/ 1590 h 1767"/>
                  <a:gd name="T10" fmla="*/ 812 w 977"/>
                  <a:gd name="T11" fmla="*/ 1568 h 1767"/>
                  <a:gd name="T12" fmla="*/ 813 w 977"/>
                  <a:gd name="T13" fmla="*/ 1517 h 1767"/>
                  <a:gd name="T14" fmla="*/ 740 w 977"/>
                  <a:gd name="T15" fmla="*/ 1471 h 1767"/>
                  <a:gd name="T16" fmla="*/ 746 w 977"/>
                  <a:gd name="T17" fmla="*/ 1441 h 1767"/>
                  <a:gd name="T18" fmla="*/ 876 w 977"/>
                  <a:gd name="T19" fmla="*/ 1443 h 1767"/>
                  <a:gd name="T20" fmla="*/ 926 w 977"/>
                  <a:gd name="T21" fmla="*/ 1448 h 1767"/>
                  <a:gd name="T22" fmla="*/ 973 w 977"/>
                  <a:gd name="T23" fmla="*/ 1378 h 1767"/>
                  <a:gd name="T24" fmla="*/ 932 w 977"/>
                  <a:gd name="T25" fmla="*/ 1310 h 1767"/>
                  <a:gd name="T26" fmla="*/ 893 w 977"/>
                  <a:gd name="T27" fmla="*/ 1271 h 1767"/>
                  <a:gd name="T28" fmla="*/ 858 w 977"/>
                  <a:gd name="T29" fmla="*/ 1199 h 1767"/>
                  <a:gd name="T30" fmla="*/ 829 w 977"/>
                  <a:gd name="T31" fmla="*/ 1169 h 1767"/>
                  <a:gd name="T32" fmla="*/ 830 w 977"/>
                  <a:gd name="T33" fmla="*/ 1086 h 1767"/>
                  <a:gd name="T34" fmla="*/ 856 w 977"/>
                  <a:gd name="T35" fmla="*/ 967 h 1767"/>
                  <a:gd name="T36" fmla="*/ 859 w 977"/>
                  <a:gd name="T37" fmla="*/ 869 h 1767"/>
                  <a:gd name="T38" fmla="*/ 828 w 977"/>
                  <a:gd name="T39" fmla="*/ 784 h 1767"/>
                  <a:gd name="T40" fmla="*/ 831 w 977"/>
                  <a:gd name="T41" fmla="*/ 680 h 1767"/>
                  <a:gd name="T42" fmla="*/ 830 w 977"/>
                  <a:gd name="T43" fmla="*/ 586 h 1767"/>
                  <a:gd name="T44" fmla="*/ 864 w 977"/>
                  <a:gd name="T45" fmla="*/ 499 h 1767"/>
                  <a:gd name="T46" fmla="*/ 856 w 977"/>
                  <a:gd name="T47" fmla="*/ 404 h 1767"/>
                  <a:gd name="T48" fmla="*/ 866 w 977"/>
                  <a:gd name="T49" fmla="*/ 302 h 1767"/>
                  <a:gd name="T50" fmla="*/ 916 w 977"/>
                  <a:gd name="T51" fmla="*/ 198 h 1767"/>
                  <a:gd name="T52" fmla="*/ 945 w 977"/>
                  <a:gd name="T53" fmla="*/ 86 h 1767"/>
                  <a:gd name="T54" fmla="*/ 862 w 977"/>
                  <a:gd name="T55" fmla="*/ 12 h 1767"/>
                  <a:gd name="T56" fmla="*/ 311 w 977"/>
                  <a:gd name="T57" fmla="*/ 345 h 1767"/>
                  <a:gd name="T58" fmla="*/ 289 w 977"/>
                  <a:gd name="T59" fmla="*/ 758 h 1767"/>
                  <a:gd name="T60" fmla="*/ 0 w 977"/>
                  <a:gd name="T61" fmla="*/ 1677 h 1767"/>
                  <a:gd name="T62" fmla="*/ 463 w 977"/>
                  <a:gd name="T63" fmla="*/ 1717 h 17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77" h="1767">
                    <a:moveTo>
                      <a:pt x="534" y="1677"/>
                    </a:moveTo>
                    <a:cubicBezTo>
                      <a:pt x="534" y="1677"/>
                      <a:pt x="552" y="1690"/>
                      <a:pt x="570" y="1699"/>
                    </a:cubicBezTo>
                    <a:cubicBezTo>
                      <a:pt x="588" y="1708"/>
                      <a:pt x="594" y="1722"/>
                      <a:pt x="614" y="1718"/>
                    </a:cubicBezTo>
                    <a:cubicBezTo>
                      <a:pt x="634" y="1715"/>
                      <a:pt x="651" y="1719"/>
                      <a:pt x="652" y="1738"/>
                    </a:cubicBezTo>
                    <a:cubicBezTo>
                      <a:pt x="652" y="1757"/>
                      <a:pt x="658" y="1762"/>
                      <a:pt x="674" y="1765"/>
                    </a:cubicBezTo>
                    <a:cubicBezTo>
                      <a:pt x="689" y="1767"/>
                      <a:pt x="695" y="1758"/>
                      <a:pt x="709" y="1758"/>
                    </a:cubicBezTo>
                    <a:cubicBezTo>
                      <a:pt x="723" y="1758"/>
                      <a:pt x="737" y="1757"/>
                      <a:pt x="740" y="1736"/>
                    </a:cubicBezTo>
                    <a:cubicBezTo>
                      <a:pt x="743" y="1716"/>
                      <a:pt x="759" y="1702"/>
                      <a:pt x="740" y="1683"/>
                    </a:cubicBezTo>
                    <a:cubicBezTo>
                      <a:pt x="721" y="1663"/>
                      <a:pt x="712" y="1645"/>
                      <a:pt x="717" y="1634"/>
                    </a:cubicBezTo>
                    <a:cubicBezTo>
                      <a:pt x="722" y="1623"/>
                      <a:pt x="712" y="1598"/>
                      <a:pt x="741" y="1590"/>
                    </a:cubicBezTo>
                    <a:cubicBezTo>
                      <a:pt x="771" y="1581"/>
                      <a:pt x="777" y="1594"/>
                      <a:pt x="785" y="1579"/>
                    </a:cubicBezTo>
                    <a:cubicBezTo>
                      <a:pt x="793" y="1565"/>
                      <a:pt x="798" y="1566"/>
                      <a:pt x="812" y="1568"/>
                    </a:cubicBezTo>
                    <a:cubicBezTo>
                      <a:pt x="826" y="1570"/>
                      <a:pt x="836" y="1566"/>
                      <a:pt x="835" y="1547"/>
                    </a:cubicBezTo>
                    <a:cubicBezTo>
                      <a:pt x="835" y="1527"/>
                      <a:pt x="832" y="1524"/>
                      <a:pt x="813" y="1517"/>
                    </a:cubicBezTo>
                    <a:cubicBezTo>
                      <a:pt x="794" y="1509"/>
                      <a:pt x="761" y="1514"/>
                      <a:pt x="765" y="1494"/>
                    </a:cubicBezTo>
                    <a:cubicBezTo>
                      <a:pt x="769" y="1474"/>
                      <a:pt x="759" y="1475"/>
                      <a:pt x="740" y="1471"/>
                    </a:cubicBezTo>
                    <a:cubicBezTo>
                      <a:pt x="721" y="1466"/>
                      <a:pt x="693" y="1456"/>
                      <a:pt x="702" y="1449"/>
                    </a:cubicBezTo>
                    <a:cubicBezTo>
                      <a:pt x="712" y="1442"/>
                      <a:pt x="730" y="1439"/>
                      <a:pt x="746" y="1441"/>
                    </a:cubicBezTo>
                    <a:cubicBezTo>
                      <a:pt x="763" y="1443"/>
                      <a:pt x="806" y="1440"/>
                      <a:pt x="827" y="1446"/>
                    </a:cubicBezTo>
                    <a:cubicBezTo>
                      <a:pt x="847" y="1451"/>
                      <a:pt x="870" y="1456"/>
                      <a:pt x="876" y="1443"/>
                    </a:cubicBezTo>
                    <a:cubicBezTo>
                      <a:pt x="882" y="1429"/>
                      <a:pt x="895" y="1437"/>
                      <a:pt x="901" y="1446"/>
                    </a:cubicBezTo>
                    <a:cubicBezTo>
                      <a:pt x="906" y="1454"/>
                      <a:pt x="913" y="1466"/>
                      <a:pt x="926" y="1448"/>
                    </a:cubicBezTo>
                    <a:cubicBezTo>
                      <a:pt x="939" y="1430"/>
                      <a:pt x="949" y="1438"/>
                      <a:pt x="960" y="1431"/>
                    </a:cubicBezTo>
                    <a:cubicBezTo>
                      <a:pt x="970" y="1423"/>
                      <a:pt x="977" y="1393"/>
                      <a:pt x="973" y="1378"/>
                    </a:cubicBezTo>
                    <a:cubicBezTo>
                      <a:pt x="970" y="1363"/>
                      <a:pt x="976" y="1345"/>
                      <a:pt x="957" y="1339"/>
                    </a:cubicBezTo>
                    <a:cubicBezTo>
                      <a:pt x="938" y="1332"/>
                      <a:pt x="935" y="1324"/>
                      <a:pt x="932" y="1310"/>
                    </a:cubicBezTo>
                    <a:cubicBezTo>
                      <a:pt x="929" y="1296"/>
                      <a:pt x="925" y="1307"/>
                      <a:pt x="909" y="1301"/>
                    </a:cubicBezTo>
                    <a:cubicBezTo>
                      <a:pt x="894" y="1295"/>
                      <a:pt x="887" y="1287"/>
                      <a:pt x="893" y="1271"/>
                    </a:cubicBezTo>
                    <a:cubicBezTo>
                      <a:pt x="898" y="1255"/>
                      <a:pt x="887" y="1226"/>
                      <a:pt x="871" y="1220"/>
                    </a:cubicBezTo>
                    <a:cubicBezTo>
                      <a:pt x="856" y="1215"/>
                      <a:pt x="843" y="1207"/>
                      <a:pt x="858" y="1199"/>
                    </a:cubicBezTo>
                    <a:cubicBezTo>
                      <a:pt x="873" y="1190"/>
                      <a:pt x="874" y="1182"/>
                      <a:pt x="857" y="1185"/>
                    </a:cubicBezTo>
                    <a:cubicBezTo>
                      <a:pt x="841" y="1188"/>
                      <a:pt x="812" y="1183"/>
                      <a:pt x="829" y="1169"/>
                    </a:cubicBezTo>
                    <a:cubicBezTo>
                      <a:pt x="847" y="1156"/>
                      <a:pt x="862" y="1146"/>
                      <a:pt x="857" y="1129"/>
                    </a:cubicBezTo>
                    <a:cubicBezTo>
                      <a:pt x="852" y="1112"/>
                      <a:pt x="824" y="1104"/>
                      <a:pt x="830" y="1086"/>
                    </a:cubicBezTo>
                    <a:cubicBezTo>
                      <a:pt x="836" y="1068"/>
                      <a:pt x="846" y="1047"/>
                      <a:pt x="848" y="1026"/>
                    </a:cubicBezTo>
                    <a:cubicBezTo>
                      <a:pt x="850" y="1004"/>
                      <a:pt x="846" y="980"/>
                      <a:pt x="856" y="967"/>
                    </a:cubicBezTo>
                    <a:cubicBezTo>
                      <a:pt x="866" y="954"/>
                      <a:pt x="881" y="941"/>
                      <a:pt x="875" y="917"/>
                    </a:cubicBezTo>
                    <a:cubicBezTo>
                      <a:pt x="869" y="893"/>
                      <a:pt x="864" y="887"/>
                      <a:pt x="859" y="869"/>
                    </a:cubicBezTo>
                    <a:cubicBezTo>
                      <a:pt x="855" y="852"/>
                      <a:pt x="846" y="846"/>
                      <a:pt x="844" y="834"/>
                    </a:cubicBezTo>
                    <a:cubicBezTo>
                      <a:pt x="841" y="823"/>
                      <a:pt x="831" y="807"/>
                      <a:pt x="828" y="784"/>
                    </a:cubicBezTo>
                    <a:cubicBezTo>
                      <a:pt x="826" y="761"/>
                      <a:pt x="816" y="747"/>
                      <a:pt x="829" y="732"/>
                    </a:cubicBezTo>
                    <a:cubicBezTo>
                      <a:pt x="842" y="718"/>
                      <a:pt x="840" y="700"/>
                      <a:pt x="831" y="680"/>
                    </a:cubicBezTo>
                    <a:cubicBezTo>
                      <a:pt x="821" y="659"/>
                      <a:pt x="821" y="655"/>
                      <a:pt x="817" y="638"/>
                    </a:cubicBezTo>
                    <a:cubicBezTo>
                      <a:pt x="812" y="621"/>
                      <a:pt x="813" y="603"/>
                      <a:pt x="830" y="586"/>
                    </a:cubicBezTo>
                    <a:cubicBezTo>
                      <a:pt x="847" y="570"/>
                      <a:pt x="862" y="556"/>
                      <a:pt x="861" y="541"/>
                    </a:cubicBezTo>
                    <a:cubicBezTo>
                      <a:pt x="861" y="527"/>
                      <a:pt x="849" y="511"/>
                      <a:pt x="864" y="499"/>
                    </a:cubicBezTo>
                    <a:cubicBezTo>
                      <a:pt x="878" y="486"/>
                      <a:pt x="890" y="464"/>
                      <a:pt x="884" y="448"/>
                    </a:cubicBezTo>
                    <a:cubicBezTo>
                      <a:pt x="879" y="432"/>
                      <a:pt x="868" y="414"/>
                      <a:pt x="856" y="404"/>
                    </a:cubicBezTo>
                    <a:cubicBezTo>
                      <a:pt x="844" y="395"/>
                      <a:pt x="839" y="364"/>
                      <a:pt x="844" y="345"/>
                    </a:cubicBezTo>
                    <a:cubicBezTo>
                      <a:pt x="850" y="327"/>
                      <a:pt x="843" y="326"/>
                      <a:pt x="866" y="302"/>
                    </a:cubicBezTo>
                    <a:cubicBezTo>
                      <a:pt x="889" y="278"/>
                      <a:pt x="910" y="276"/>
                      <a:pt x="906" y="243"/>
                    </a:cubicBezTo>
                    <a:cubicBezTo>
                      <a:pt x="902" y="209"/>
                      <a:pt x="915" y="224"/>
                      <a:pt x="916" y="198"/>
                    </a:cubicBezTo>
                    <a:cubicBezTo>
                      <a:pt x="917" y="172"/>
                      <a:pt x="912" y="152"/>
                      <a:pt x="922" y="145"/>
                    </a:cubicBezTo>
                    <a:cubicBezTo>
                      <a:pt x="932" y="138"/>
                      <a:pt x="953" y="105"/>
                      <a:pt x="945" y="86"/>
                    </a:cubicBezTo>
                    <a:cubicBezTo>
                      <a:pt x="937" y="67"/>
                      <a:pt x="923" y="45"/>
                      <a:pt x="935" y="22"/>
                    </a:cubicBezTo>
                    <a:cubicBezTo>
                      <a:pt x="947" y="0"/>
                      <a:pt x="862" y="12"/>
                      <a:pt x="862" y="12"/>
                    </a:cubicBezTo>
                    <a:cubicBezTo>
                      <a:pt x="521" y="184"/>
                      <a:pt x="521" y="184"/>
                      <a:pt x="521" y="184"/>
                    </a:cubicBezTo>
                    <a:cubicBezTo>
                      <a:pt x="311" y="345"/>
                      <a:pt x="311" y="345"/>
                      <a:pt x="311" y="345"/>
                    </a:cubicBezTo>
                    <a:cubicBezTo>
                      <a:pt x="175" y="536"/>
                      <a:pt x="175" y="536"/>
                      <a:pt x="175" y="536"/>
                    </a:cubicBezTo>
                    <a:cubicBezTo>
                      <a:pt x="289" y="758"/>
                      <a:pt x="289" y="758"/>
                      <a:pt x="289" y="758"/>
                    </a:cubicBezTo>
                    <a:cubicBezTo>
                      <a:pt x="78" y="1087"/>
                      <a:pt x="78" y="1087"/>
                      <a:pt x="78" y="1087"/>
                    </a:cubicBezTo>
                    <a:cubicBezTo>
                      <a:pt x="0" y="1677"/>
                      <a:pt x="0" y="1677"/>
                      <a:pt x="0" y="1677"/>
                    </a:cubicBezTo>
                    <a:cubicBezTo>
                      <a:pt x="353" y="1744"/>
                      <a:pt x="353" y="1744"/>
                      <a:pt x="353" y="1744"/>
                    </a:cubicBezTo>
                    <a:cubicBezTo>
                      <a:pt x="463" y="1717"/>
                      <a:pt x="463" y="1717"/>
                      <a:pt x="463" y="1717"/>
                    </a:cubicBezTo>
                    <a:lnTo>
                      <a:pt x="534" y="1677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3" name="Freeform 26"/>
              <p:cNvSpPr/>
              <p:nvPr/>
            </p:nvSpPr>
            <p:spPr bwMode="auto">
              <a:xfrm>
                <a:off x="4600154" y="3855740"/>
                <a:ext cx="358775" cy="527050"/>
              </a:xfrm>
              <a:custGeom>
                <a:avLst/>
                <a:gdLst>
                  <a:gd name="T0" fmla="*/ 553 w 643"/>
                  <a:gd name="T1" fmla="*/ 531 h 942"/>
                  <a:gd name="T2" fmla="*/ 569 w 643"/>
                  <a:gd name="T3" fmla="*/ 496 h 942"/>
                  <a:gd name="T4" fmla="*/ 563 w 643"/>
                  <a:gd name="T5" fmla="*/ 446 h 942"/>
                  <a:gd name="T6" fmla="*/ 580 w 643"/>
                  <a:gd name="T7" fmla="*/ 406 h 942"/>
                  <a:gd name="T8" fmla="*/ 636 w 643"/>
                  <a:gd name="T9" fmla="*/ 350 h 942"/>
                  <a:gd name="T10" fmla="*/ 509 w 643"/>
                  <a:gd name="T11" fmla="*/ 241 h 942"/>
                  <a:gd name="T12" fmla="*/ 535 w 643"/>
                  <a:gd name="T13" fmla="*/ 48 h 942"/>
                  <a:gd name="T14" fmla="*/ 454 w 643"/>
                  <a:gd name="T15" fmla="*/ 0 h 942"/>
                  <a:gd name="T16" fmla="*/ 356 w 643"/>
                  <a:gd name="T17" fmla="*/ 46 h 942"/>
                  <a:gd name="T18" fmla="*/ 181 w 643"/>
                  <a:gd name="T19" fmla="*/ 215 h 942"/>
                  <a:gd name="T20" fmla="*/ 26 w 643"/>
                  <a:gd name="T21" fmla="*/ 411 h 942"/>
                  <a:gd name="T22" fmla="*/ 0 w 643"/>
                  <a:gd name="T23" fmla="*/ 494 h 942"/>
                  <a:gd name="T24" fmla="*/ 179 w 643"/>
                  <a:gd name="T25" fmla="*/ 792 h 942"/>
                  <a:gd name="T26" fmla="*/ 254 w 643"/>
                  <a:gd name="T27" fmla="*/ 881 h 942"/>
                  <a:gd name="T28" fmla="*/ 461 w 643"/>
                  <a:gd name="T29" fmla="*/ 942 h 942"/>
                  <a:gd name="T30" fmla="*/ 522 w 643"/>
                  <a:gd name="T31" fmla="*/ 849 h 942"/>
                  <a:gd name="T32" fmla="*/ 539 w 643"/>
                  <a:gd name="T33" fmla="*/ 603 h 942"/>
                  <a:gd name="T34" fmla="*/ 532 w 643"/>
                  <a:gd name="T35" fmla="*/ 540 h 942"/>
                  <a:gd name="T36" fmla="*/ 553 w 643"/>
                  <a:gd name="T37" fmla="*/ 531 h 9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43" h="942">
                    <a:moveTo>
                      <a:pt x="553" y="531"/>
                    </a:moveTo>
                    <a:cubicBezTo>
                      <a:pt x="553" y="531"/>
                      <a:pt x="584" y="518"/>
                      <a:pt x="569" y="496"/>
                    </a:cubicBezTo>
                    <a:cubicBezTo>
                      <a:pt x="555" y="473"/>
                      <a:pt x="554" y="463"/>
                      <a:pt x="563" y="446"/>
                    </a:cubicBezTo>
                    <a:cubicBezTo>
                      <a:pt x="573" y="428"/>
                      <a:pt x="560" y="429"/>
                      <a:pt x="580" y="406"/>
                    </a:cubicBezTo>
                    <a:cubicBezTo>
                      <a:pt x="599" y="384"/>
                      <a:pt x="629" y="382"/>
                      <a:pt x="636" y="350"/>
                    </a:cubicBezTo>
                    <a:cubicBezTo>
                      <a:pt x="643" y="318"/>
                      <a:pt x="509" y="241"/>
                      <a:pt x="509" y="241"/>
                    </a:cubicBezTo>
                    <a:cubicBezTo>
                      <a:pt x="535" y="48"/>
                      <a:pt x="535" y="48"/>
                      <a:pt x="535" y="48"/>
                    </a:cubicBezTo>
                    <a:cubicBezTo>
                      <a:pt x="454" y="0"/>
                      <a:pt x="454" y="0"/>
                      <a:pt x="454" y="0"/>
                    </a:cubicBezTo>
                    <a:cubicBezTo>
                      <a:pt x="356" y="46"/>
                      <a:pt x="356" y="46"/>
                      <a:pt x="356" y="46"/>
                    </a:cubicBezTo>
                    <a:cubicBezTo>
                      <a:pt x="181" y="215"/>
                      <a:pt x="181" y="215"/>
                      <a:pt x="181" y="215"/>
                    </a:cubicBezTo>
                    <a:cubicBezTo>
                      <a:pt x="26" y="411"/>
                      <a:pt x="26" y="411"/>
                      <a:pt x="26" y="411"/>
                    </a:cubicBezTo>
                    <a:cubicBezTo>
                      <a:pt x="0" y="494"/>
                      <a:pt x="0" y="494"/>
                      <a:pt x="0" y="494"/>
                    </a:cubicBezTo>
                    <a:cubicBezTo>
                      <a:pt x="179" y="792"/>
                      <a:pt x="179" y="792"/>
                      <a:pt x="179" y="792"/>
                    </a:cubicBezTo>
                    <a:cubicBezTo>
                      <a:pt x="179" y="792"/>
                      <a:pt x="252" y="881"/>
                      <a:pt x="254" y="881"/>
                    </a:cubicBezTo>
                    <a:cubicBezTo>
                      <a:pt x="257" y="881"/>
                      <a:pt x="461" y="942"/>
                      <a:pt x="461" y="942"/>
                    </a:cubicBezTo>
                    <a:cubicBezTo>
                      <a:pt x="522" y="849"/>
                      <a:pt x="522" y="849"/>
                      <a:pt x="522" y="849"/>
                    </a:cubicBezTo>
                    <a:cubicBezTo>
                      <a:pt x="539" y="603"/>
                      <a:pt x="539" y="603"/>
                      <a:pt x="539" y="603"/>
                    </a:cubicBezTo>
                    <a:cubicBezTo>
                      <a:pt x="532" y="540"/>
                      <a:pt x="532" y="540"/>
                      <a:pt x="532" y="540"/>
                    </a:cubicBezTo>
                    <a:lnTo>
                      <a:pt x="553" y="531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4" name="Freeform 27"/>
              <p:cNvSpPr/>
              <p:nvPr/>
            </p:nvSpPr>
            <p:spPr bwMode="auto">
              <a:xfrm>
                <a:off x="3892129" y="2042815"/>
                <a:ext cx="2503488" cy="2093912"/>
              </a:xfrm>
              <a:custGeom>
                <a:avLst/>
                <a:gdLst>
                  <a:gd name="T0" fmla="*/ 620 w 4476"/>
                  <a:gd name="T1" fmla="*/ 2540 h 3743"/>
                  <a:gd name="T2" fmla="*/ 1202 w 4476"/>
                  <a:gd name="T3" fmla="*/ 2737 h 3743"/>
                  <a:gd name="T4" fmla="*/ 1598 w 4476"/>
                  <a:gd name="T5" fmla="*/ 2683 h 3743"/>
                  <a:gd name="T6" fmla="*/ 2252 w 4476"/>
                  <a:gd name="T7" fmla="*/ 2527 h 3743"/>
                  <a:gd name="T8" fmla="*/ 2522 w 4476"/>
                  <a:gd name="T9" fmla="*/ 2277 h 3743"/>
                  <a:gd name="T10" fmla="*/ 2546 w 4476"/>
                  <a:gd name="T11" fmla="*/ 1972 h 3743"/>
                  <a:gd name="T12" fmla="*/ 2920 w 4476"/>
                  <a:gd name="T13" fmla="*/ 1866 h 3743"/>
                  <a:gd name="T14" fmla="*/ 3154 w 4476"/>
                  <a:gd name="T15" fmla="*/ 1738 h 3743"/>
                  <a:gd name="T16" fmla="*/ 3377 w 4476"/>
                  <a:gd name="T17" fmla="*/ 1570 h 3743"/>
                  <a:gd name="T18" fmla="*/ 3684 w 4476"/>
                  <a:gd name="T19" fmla="*/ 1429 h 3743"/>
                  <a:gd name="T20" fmla="*/ 3427 w 4476"/>
                  <a:gd name="T21" fmla="*/ 1232 h 3743"/>
                  <a:gd name="T22" fmla="*/ 3097 w 4476"/>
                  <a:gd name="T23" fmla="*/ 1334 h 3743"/>
                  <a:gd name="T24" fmla="*/ 3067 w 4476"/>
                  <a:gd name="T25" fmla="*/ 1079 h 3743"/>
                  <a:gd name="T26" fmla="*/ 3337 w 4476"/>
                  <a:gd name="T27" fmla="*/ 895 h 3743"/>
                  <a:gd name="T28" fmla="*/ 3512 w 4476"/>
                  <a:gd name="T29" fmla="*/ 594 h 3743"/>
                  <a:gd name="T30" fmla="*/ 3636 w 4476"/>
                  <a:gd name="T31" fmla="*/ 234 h 3743"/>
                  <a:gd name="T32" fmla="*/ 3657 w 4476"/>
                  <a:gd name="T33" fmla="*/ 27 h 3743"/>
                  <a:gd name="T34" fmla="*/ 3742 w 4476"/>
                  <a:gd name="T35" fmla="*/ 144 h 3743"/>
                  <a:gd name="T36" fmla="*/ 3916 w 4476"/>
                  <a:gd name="T37" fmla="*/ 209 h 3743"/>
                  <a:gd name="T38" fmla="*/ 4111 w 4476"/>
                  <a:gd name="T39" fmla="*/ 408 h 3743"/>
                  <a:gd name="T40" fmla="*/ 4303 w 4476"/>
                  <a:gd name="T41" fmla="*/ 314 h 3743"/>
                  <a:gd name="T42" fmla="*/ 4426 w 4476"/>
                  <a:gd name="T43" fmla="*/ 520 h 3743"/>
                  <a:gd name="T44" fmla="*/ 4416 w 4476"/>
                  <a:gd name="T45" fmla="*/ 814 h 3743"/>
                  <a:gd name="T46" fmla="*/ 4365 w 4476"/>
                  <a:gd name="T47" fmla="*/ 1040 h 3743"/>
                  <a:gd name="T48" fmla="*/ 4196 w 4476"/>
                  <a:gd name="T49" fmla="*/ 1125 h 3743"/>
                  <a:gd name="T50" fmla="*/ 4140 w 4476"/>
                  <a:gd name="T51" fmla="*/ 1332 h 3743"/>
                  <a:gd name="T52" fmla="*/ 4256 w 4476"/>
                  <a:gd name="T53" fmla="*/ 1424 h 3743"/>
                  <a:gd name="T54" fmla="*/ 4220 w 4476"/>
                  <a:gd name="T55" fmla="*/ 1584 h 3743"/>
                  <a:gd name="T56" fmla="*/ 4058 w 4476"/>
                  <a:gd name="T57" fmla="*/ 1668 h 3743"/>
                  <a:gd name="T58" fmla="*/ 4129 w 4476"/>
                  <a:gd name="T59" fmla="*/ 1863 h 3743"/>
                  <a:gd name="T60" fmla="*/ 4298 w 4476"/>
                  <a:gd name="T61" fmla="*/ 1917 h 3743"/>
                  <a:gd name="T62" fmla="*/ 4409 w 4476"/>
                  <a:gd name="T63" fmla="*/ 2172 h 3743"/>
                  <a:gd name="T64" fmla="*/ 4242 w 4476"/>
                  <a:gd name="T65" fmla="*/ 2293 h 3743"/>
                  <a:gd name="T66" fmla="*/ 4057 w 4476"/>
                  <a:gd name="T67" fmla="*/ 2402 h 3743"/>
                  <a:gd name="T68" fmla="*/ 3887 w 4476"/>
                  <a:gd name="T69" fmla="*/ 2524 h 3743"/>
                  <a:gd name="T70" fmla="*/ 3755 w 4476"/>
                  <a:gd name="T71" fmla="*/ 2517 h 3743"/>
                  <a:gd name="T72" fmla="*/ 3617 w 4476"/>
                  <a:gd name="T73" fmla="*/ 2674 h 3743"/>
                  <a:gd name="T74" fmla="*/ 3428 w 4476"/>
                  <a:gd name="T75" fmla="*/ 2456 h 3743"/>
                  <a:gd name="T76" fmla="*/ 3294 w 4476"/>
                  <a:gd name="T77" fmla="*/ 2591 h 3743"/>
                  <a:gd name="T78" fmla="*/ 3040 w 4476"/>
                  <a:gd name="T79" fmla="*/ 2672 h 3743"/>
                  <a:gd name="T80" fmla="*/ 2923 w 4476"/>
                  <a:gd name="T81" fmla="*/ 2730 h 3743"/>
                  <a:gd name="T82" fmla="*/ 2930 w 4476"/>
                  <a:gd name="T83" fmla="*/ 2921 h 3743"/>
                  <a:gd name="T84" fmla="*/ 2744 w 4476"/>
                  <a:gd name="T85" fmla="*/ 3022 h 3743"/>
                  <a:gd name="T86" fmla="*/ 2526 w 4476"/>
                  <a:gd name="T87" fmla="*/ 3185 h 3743"/>
                  <a:gd name="T88" fmla="*/ 2343 w 4476"/>
                  <a:gd name="T89" fmla="*/ 3233 h 3743"/>
                  <a:gd name="T90" fmla="*/ 2240 w 4476"/>
                  <a:gd name="T91" fmla="*/ 3389 h 3743"/>
                  <a:gd name="T92" fmla="*/ 2054 w 4476"/>
                  <a:gd name="T93" fmla="*/ 3584 h 3743"/>
                  <a:gd name="T94" fmla="*/ 1869 w 4476"/>
                  <a:gd name="T95" fmla="*/ 3603 h 3743"/>
                  <a:gd name="T96" fmla="*/ 1720 w 4476"/>
                  <a:gd name="T97" fmla="*/ 3442 h 3743"/>
                  <a:gd name="T98" fmla="*/ 1651 w 4476"/>
                  <a:gd name="T99" fmla="*/ 3294 h 3743"/>
                  <a:gd name="T100" fmla="*/ 1562 w 4476"/>
                  <a:gd name="T101" fmla="*/ 3445 h 3743"/>
                  <a:gd name="T102" fmla="*/ 1450 w 4476"/>
                  <a:gd name="T103" fmla="*/ 3653 h 3743"/>
                  <a:gd name="T104" fmla="*/ 934 w 4476"/>
                  <a:gd name="T105" fmla="*/ 3556 h 3743"/>
                  <a:gd name="T106" fmla="*/ 215 w 4476"/>
                  <a:gd name="T107" fmla="*/ 2531 h 37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476" h="3743">
                    <a:moveTo>
                      <a:pt x="215" y="2531"/>
                    </a:moveTo>
                    <a:cubicBezTo>
                      <a:pt x="217" y="2531"/>
                      <a:pt x="218" y="2530"/>
                      <a:pt x="220" y="2530"/>
                    </a:cubicBezTo>
                    <a:cubicBezTo>
                      <a:pt x="258" y="2519"/>
                      <a:pt x="303" y="2531"/>
                      <a:pt x="331" y="2540"/>
                    </a:cubicBezTo>
                    <a:cubicBezTo>
                      <a:pt x="358" y="2550"/>
                      <a:pt x="431" y="2551"/>
                      <a:pt x="464" y="2560"/>
                    </a:cubicBezTo>
                    <a:cubicBezTo>
                      <a:pt x="497" y="2569"/>
                      <a:pt x="541" y="2558"/>
                      <a:pt x="570" y="2547"/>
                    </a:cubicBezTo>
                    <a:cubicBezTo>
                      <a:pt x="599" y="2535"/>
                      <a:pt x="605" y="2533"/>
                      <a:pt x="620" y="2540"/>
                    </a:cubicBezTo>
                    <a:cubicBezTo>
                      <a:pt x="635" y="2548"/>
                      <a:pt x="673" y="2551"/>
                      <a:pt x="689" y="2551"/>
                    </a:cubicBezTo>
                    <a:cubicBezTo>
                      <a:pt x="706" y="2551"/>
                      <a:pt x="812" y="2568"/>
                      <a:pt x="842" y="2570"/>
                    </a:cubicBezTo>
                    <a:cubicBezTo>
                      <a:pt x="873" y="2571"/>
                      <a:pt x="896" y="2579"/>
                      <a:pt x="910" y="2604"/>
                    </a:cubicBezTo>
                    <a:cubicBezTo>
                      <a:pt x="924" y="2629"/>
                      <a:pt x="937" y="2637"/>
                      <a:pt x="972" y="2650"/>
                    </a:cubicBezTo>
                    <a:cubicBezTo>
                      <a:pt x="1007" y="2664"/>
                      <a:pt x="1041" y="2678"/>
                      <a:pt x="1071" y="2687"/>
                    </a:cubicBezTo>
                    <a:cubicBezTo>
                      <a:pt x="1102" y="2696"/>
                      <a:pt x="1166" y="2726"/>
                      <a:pt x="1202" y="2737"/>
                    </a:cubicBezTo>
                    <a:cubicBezTo>
                      <a:pt x="1239" y="2748"/>
                      <a:pt x="1274" y="2750"/>
                      <a:pt x="1297" y="2739"/>
                    </a:cubicBezTo>
                    <a:cubicBezTo>
                      <a:pt x="1321" y="2727"/>
                      <a:pt x="1340" y="2731"/>
                      <a:pt x="1340" y="2736"/>
                    </a:cubicBezTo>
                    <a:cubicBezTo>
                      <a:pt x="1340" y="2741"/>
                      <a:pt x="1327" y="2753"/>
                      <a:pt x="1360" y="2778"/>
                    </a:cubicBezTo>
                    <a:cubicBezTo>
                      <a:pt x="1392" y="2803"/>
                      <a:pt x="1421" y="2790"/>
                      <a:pt x="1442" y="2782"/>
                    </a:cubicBezTo>
                    <a:cubicBezTo>
                      <a:pt x="1462" y="2775"/>
                      <a:pt x="1467" y="2761"/>
                      <a:pt x="1507" y="2737"/>
                    </a:cubicBezTo>
                    <a:cubicBezTo>
                      <a:pt x="1547" y="2713"/>
                      <a:pt x="1558" y="2709"/>
                      <a:pt x="1598" y="2683"/>
                    </a:cubicBezTo>
                    <a:cubicBezTo>
                      <a:pt x="1638" y="2657"/>
                      <a:pt x="1688" y="2649"/>
                      <a:pt x="1716" y="2640"/>
                    </a:cubicBezTo>
                    <a:cubicBezTo>
                      <a:pt x="1745" y="2631"/>
                      <a:pt x="1819" y="2609"/>
                      <a:pt x="1856" y="2601"/>
                    </a:cubicBezTo>
                    <a:cubicBezTo>
                      <a:pt x="1892" y="2593"/>
                      <a:pt x="1969" y="2594"/>
                      <a:pt x="2007" y="2596"/>
                    </a:cubicBezTo>
                    <a:cubicBezTo>
                      <a:pt x="2044" y="2599"/>
                      <a:pt x="2070" y="2595"/>
                      <a:pt x="2110" y="2591"/>
                    </a:cubicBezTo>
                    <a:cubicBezTo>
                      <a:pt x="2149" y="2587"/>
                      <a:pt x="2168" y="2566"/>
                      <a:pt x="2181" y="2548"/>
                    </a:cubicBezTo>
                    <a:cubicBezTo>
                      <a:pt x="2193" y="2530"/>
                      <a:pt x="2213" y="2532"/>
                      <a:pt x="2252" y="2527"/>
                    </a:cubicBezTo>
                    <a:cubicBezTo>
                      <a:pt x="2291" y="2523"/>
                      <a:pt x="2283" y="2515"/>
                      <a:pt x="2296" y="2497"/>
                    </a:cubicBezTo>
                    <a:cubicBezTo>
                      <a:pt x="2310" y="2479"/>
                      <a:pt x="2313" y="2467"/>
                      <a:pt x="2333" y="2454"/>
                    </a:cubicBezTo>
                    <a:cubicBezTo>
                      <a:pt x="2353" y="2441"/>
                      <a:pt x="2372" y="2400"/>
                      <a:pt x="2382" y="2377"/>
                    </a:cubicBezTo>
                    <a:cubicBezTo>
                      <a:pt x="2391" y="2354"/>
                      <a:pt x="2427" y="2340"/>
                      <a:pt x="2449" y="2337"/>
                    </a:cubicBezTo>
                    <a:cubicBezTo>
                      <a:pt x="2472" y="2333"/>
                      <a:pt x="2478" y="2338"/>
                      <a:pt x="2490" y="2318"/>
                    </a:cubicBezTo>
                    <a:cubicBezTo>
                      <a:pt x="2502" y="2297"/>
                      <a:pt x="2506" y="2288"/>
                      <a:pt x="2522" y="2277"/>
                    </a:cubicBezTo>
                    <a:cubicBezTo>
                      <a:pt x="2539" y="2267"/>
                      <a:pt x="2534" y="2247"/>
                      <a:pt x="2518" y="2221"/>
                    </a:cubicBezTo>
                    <a:cubicBezTo>
                      <a:pt x="2502" y="2195"/>
                      <a:pt x="2468" y="2177"/>
                      <a:pt x="2457" y="2162"/>
                    </a:cubicBezTo>
                    <a:cubicBezTo>
                      <a:pt x="2446" y="2147"/>
                      <a:pt x="2439" y="2137"/>
                      <a:pt x="2450" y="2124"/>
                    </a:cubicBezTo>
                    <a:cubicBezTo>
                      <a:pt x="2461" y="2110"/>
                      <a:pt x="2466" y="2097"/>
                      <a:pt x="2466" y="2073"/>
                    </a:cubicBezTo>
                    <a:cubicBezTo>
                      <a:pt x="2466" y="2049"/>
                      <a:pt x="2487" y="2020"/>
                      <a:pt x="2499" y="1996"/>
                    </a:cubicBezTo>
                    <a:cubicBezTo>
                      <a:pt x="2511" y="1972"/>
                      <a:pt x="2518" y="1976"/>
                      <a:pt x="2546" y="1972"/>
                    </a:cubicBezTo>
                    <a:cubicBezTo>
                      <a:pt x="2575" y="1968"/>
                      <a:pt x="2597" y="1973"/>
                      <a:pt x="2619" y="1995"/>
                    </a:cubicBezTo>
                    <a:cubicBezTo>
                      <a:pt x="2640" y="2016"/>
                      <a:pt x="2680" y="2019"/>
                      <a:pt x="2703" y="2022"/>
                    </a:cubicBezTo>
                    <a:cubicBezTo>
                      <a:pt x="2727" y="2025"/>
                      <a:pt x="2752" y="2029"/>
                      <a:pt x="2784" y="2022"/>
                    </a:cubicBezTo>
                    <a:cubicBezTo>
                      <a:pt x="2816" y="2014"/>
                      <a:pt x="2809" y="2014"/>
                      <a:pt x="2819" y="1997"/>
                    </a:cubicBezTo>
                    <a:cubicBezTo>
                      <a:pt x="2829" y="1979"/>
                      <a:pt x="2852" y="1964"/>
                      <a:pt x="2870" y="1943"/>
                    </a:cubicBezTo>
                    <a:cubicBezTo>
                      <a:pt x="2888" y="1923"/>
                      <a:pt x="2909" y="1882"/>
                      <a:pt x="2920" y="1866"/>
                    </a:cubicBezTo>
                    <a:cubicBezTo>
                      <a:pt x="2931" y="1851"/>
                      <a:pt x="2936" y="1838"/>
                      <a:pt x="2952" y="1850"/>
                    </a:cubicBezTo>
                    <a:cubicBezTo>
                      <a:pt x="2968" y="1861"/>
                      <a:pt x="2979" y="1866"/>
                      <a:pt x="2992" y="1857"/>
                    </a:cubicBezTo>
                    <a:cubicBezTo>
                      <a:pt x="3004" y="1847"/>
                      <a:pt x="3019" y="1846"/>
                      <a:pt x="3041" y="1846"/>
                    </a:cubicBezTo>
                    <a:cubicBezTo>
                      <a:pt x="3064" y="1846"/>
                      <a:pt x="3093" y="1826"/>
                      <a:pt x="3102" y="1808"/>
                    </a:cubicBezTo>
                    <a:cubicBezTo>
                      <a:pt x="3110" y="1790"/>
                      <a:pt x="3120" y="1773"/>
                      <a:pt x="3143" y="1769"/>
                    </a:cubicBezTo>
                    <a:cubicBezTo>
                      <a:pt x="3165" y="1764"/>
                      <a:pt x="3165" y="1753"/>
                      <a:pt x="3154" y="1738"/>
                    </a:cubicBezTo>
                    <a:cubicBezTo>
                      <a:pt x="3143" y="1722"/>
                      <a:pt x="3154" y="1714"/>
                      <a:pt x="3162" y="1691"/>
                    </a:cubicBezTo>
                    <a:cubicBezTo>
                      <a:pt x="3169" y="1669"/>
                      <a:pt x="3192" y="1661"/>
                      <a:pt x="3212" y="1637"/>
                    </a:cubicBezTo>
                    <a:cubicBezTo>
                      <a:pt x="3231" y="1614"/>
                      <a:pt x="3238" y="1605"/>
                      <a:pt x="3268" y="1618"/>
                    </a:cubicBezTo>
                    <a:cubicBezTo>
                      <a:pt x="3298" y="1631"/>
                      <a:pt x="3289" y="1634"/>
                      <a:pt x="3309" y="1631"/>
                    </a:cubicBezTo>
                    <a:cubicBezTo>
                      <a:pt x="3330" y="1628"/>
                      <a:pt x="3326" y="1607"/>
                      <a:pt x="3328" y="1577"/>
                    </a:cubicBezTo>
                    <a:cubicBezTo>
                      <a:pt x="3331" y="1547"/>
                      <a:pt x="3351" y="1553"/>
                      <a:pt x="3377" y="1570"/>
                    </a:cubicBezTo>
                    <a:cubicBezTo>
                      <a:pt x="3403" y="1586"/>
                      <a:pt x="3409" y="1553"/>
                      <a:pt x="3427" y="1531"/>
                    </a:cubicBezTo>
                    <a:cubicBezTo>
                      <a:pt x="3446" y="1508"/>
                      <a:pt x="3463" y="1503"/>
                      <a:pt x="3496" y="1501"/>
                    </a:cubicBezTo>
                    <a:cubicBezTo>
                      <a:pt x="3529" y="1499"/>
                      <a:pt x="3522" y="1491"/>
                      <a:pt x="3556" y="1484"/>
                    </a:cubicBezTo>
                    <a:cubicBezTo>
                      <a:pt x="3590" y="1476"/>
                      <a:pt x="3589" y="1499"/>
                      <a:pt x="3608" y="1509"/>
                    </a:cubicBezTo>
                    <a:cubicBezTo>
                      <a:pt x="3627" y="1519"/>
                      <a:pt x="3656" y="1506"/>
                      <a:pt x="3674" y="1498"/>
                    </a:cubicBezTo>
                    <a:cubicBezTo>
                      <a:pt x="3692" y="1490"/>
                      <a:pt x="3690" y="1454"/>
                      <a:pt x="3684" y="1429"/>
                    </a:cubicBezTo>
                    <a:cubicBezTo>
                      <a:pt x="3678" y="1404"/>
                      <a:pt x="3663" y="1389"/>
                      <a:pt x="3639" y="1378"/>
                    </a:cubicBezTo>
                    <a:cubicBezTo>
                      <a:pt x="3615" y="1368"/>
                      <a:pt x="3608" y="1359"/>
                      <a:pt x="3600" y="1337"/>
                    </a:cubicBezTo>
                    <a:cubicBezTo>
                      <a:pt x="3592" y="1315"/>
                      <a:pt x="3589" y="1330"/>
                      <a:pt x="3569" y="1313"/>
                    </a:cubicBezTo>
                    <a:cubicBezTo>
                      <a:pt x="3548" y="1296"/>
                      <a:pt x="3552" y="1289"/>
                      <a:pt x="3534" y="1289"/>
                    </a:cubicBezTo>
                    <a:cubicBezTo>
                      <a:pt x="3516" y="1289"/>
                      <a:pt x="3502" y="1276"/>
                      <a:pt x="3477" y="1257"/>
                    </a:cubicBezTo>
                    <a:cubicBezTo>
                      <a:pt x="3451" y="1238"/>
                      <a:pt x="3445" y="1233"/>
                      <a:pt x="3427" y="1232"/>
                    </a:cubicBezTo>
                    <a:cubicBezTo>
                      <a:pt x="3409" y="1232"/>
                      <a:pt x="3368" y="1234"/>
                      <a:pt x="3346" y="1249"/>
                    </a:cubicBezTo>
                    <a:cubicBezTo>
                      <a:pt x="3324" y="1264"/>
                      <a:pt x="3312" y="1281"/>
                      <a:pt x="3304" y="1309"/>
                    </a:cubicBezTo>
                    <a:cubicBezTo>
                      <a:pt x="3296" y="1336"/>
                      <a:pt x="3276" y="1329"/>
                      <a:pt x="3260" y="1312"/>
                    </a:cubicBezTo>
                    <a:cubicBezTo>
                      <a:pt x="3244" y="1296"/>
                      <a:pt x="3220" y="1278"/>
                      <a:pt x="3194" y="1294"/>
                    </a:cubicBezTo>
                    <a:cubicBezTo>
                      <a:pt x="3168" y="1309"/>
                      <a:pt x="3162" y="1309"/>
                      <a:pt x="3142" y="1309"/>
                    </a:cubicBezTo>
                    <a:cubicBezTo>
                      <a:pt x="3122" y="1309"/>
                      <a:pt x="3106" y="1315"/>
                      <a:pt x="3097" y="1334"/>
                    </a:cubicBezTo>
                    <a:cubicBezTo>
                      <a:pt x="3089" y="1353"/>
                      <a:pt x="3068" y="1343"/>
                      <a:pt x="3052" y="1336"/>
                    </a:cubicBezTo>
                    <a:cubicBezTo>
                      <a:pt x="3037" y="1329"/>
                      <a:pt x="3026" y="1318"/>
                      <a:pt x="3008" y="1288"/>
                    </a:cubicBezTo>
                    <a:cubicBezTo>
                      <a:pt x="2990" y="1258"/>
                      <a:pt x="3007" y="1245"/>
                      <a:pt x="3031" y="1226"/>
                    </a:cubicBezTo>
                    <a:cubicBezTo>
                      <a:pt x="3055" y="1207"/>
                      <a:pt x="3037" y="1193"/>
                      <a:pt x="3031" y="1171"/>
                    </a:cubicBezTo>
                    <a:cubicBezTo>
                      <a:pt x="3025" y="1149"/>
                      <a:pt x="3037" y="1137"/>
                      <a:pt x="3055" y="1123"/>
                    </a:cubicBezTo>
                    <a:cubicBezTo>
                      <a:pt x="3074" y="1109"/>
                      <a:pt x="3069" y="1100"/>
                      <a:pt x="3067" y="1079"/>
                    </a:cubicBezTo>
                    <a:cubicBezTo>
                      <a:pt x="3066" y="1058"/>
                      <a:pt x="3088" y="1017"/>
                      <a:pt x="3096" y="997"/>
                    </a:cubicBezTo>
                    <a:cubicBezTo>
                      <a:pt x="3104" y="976"/>
                      <a:pt x="3123" y="929"/>
                      <a:pt x="3136" y="899"/>
                    </a:cubicBezTo>
                    <a:cubicBezTo>
                      <a:pt x="3149" y="869"/>
                      <a:pt x="3155" y="874"/>
                      <a:pt x="3172" y="880"/>
                    </a:cubicBezTo>
                    <a:cubicBezTo>
                      <a:pt x="3189" y="887"/>
                      <a:pt x="3190" y="889"/>
                      <a:pt x="3228" y="893"/>
                    </a:cubicBezTo>
                    <a:cubicBezTo>
                      <a:pt x="3266" y="897"/>
                      <a:pt x="3272" y="902"/>
                      <a:pt x="3291" y="915"/>
                    </a:cubicBezTo>
                    <a:cubicBezTo>
                      <a:pt x="3310" y="927"/>
                      <a:pt x="3317" y="912"/>
                      <a:pt x="3337" y="895"/>
                    </a:cubicBezTo>
                    <a:cubicBezTo>
                      <a:pt x="3358" y="878"/>
                      <a:pt x="3386" y="845"/>
                      <a:pt x="3395" y="833"/>
                    </a:cubicBezTo>
                    <a:cubicBezTo>
                      <a:pt x="3404" y="820"/>
                      <a:pt x="3418" y="793"/>
                      <a:pt x="3464" y="784"/>
                    </a:cubicBezTo>
                    <a:cubicBezTo>
                      <a:pt x="3509" y="775"/>
                      <a:pt x="3486" y="773"/>
                      <a:pt x="3505" y="735"/>
                    </a:cubicBezTo>
                    <a:cubicBezTo>
                      <a:pt x="3523" y="697"/>
                      <a:pt x="3496" y="712"/>
                      <a:pt x="3480" y="698"/>
                    </a:cubicBezTo>
                    <a:cubicBezTo>
                      <a:pt x="3464" y="684"/>
                      <a:pt x="3486" y="660"/>
                      <a:pt x="3496" y="642"/>
                    </a:cubicBezTo>
                    <a:cubicBezTo>
                      <a:pt x="3507" y="624"/>
                      <a:pt x="3508" y="620"/>
                      <a:pt x="3512" y="594"/>
                    </a:cubicBezTo>
                    <a:cubicBezTo>
                      <a:pt x="3516" y="567"/>
                      <a:pt x="3518" y="568"/>
                      <a:pt x="3540" y="544"/>
                    </a:cubicBezTo>
                    <a:cubicBezTo>
                      <a:pt x="3563" y="520"/>
                      <a:pt x="3554" y="497"/>
                      <a:pt x="3559" y="482"/>
                    </a:cubicBezTo>
                    <a:cubicBezTo>
                      <a:pt x="3564" y="467"/>
                      <a:pt x="3572" y="430"/>
                      <a:pt x="3581" y="408"/>
                    </a:cubicBezTo>
                    <a:cubicBezTo>
                      <a:pt x="3591" y="386"/>
                      <a:pt x="3628" y="362"/>
                      <a:pt x="3636" y="342"/>
                    </a:cubicBezTo>
                    <a:cubicBezTo>
                      <a:pt x="3645" y="322"/>
                      <a:pt x="3652" y="324"/>
                      <a:pt x="3656" y="296"/>
                    </a:cubicBezTo>
                    <a:cubicBezTo>
                      <a:pt x="3661" y="268"/>
                      <a:pt x="3647" y="259"/>
                      <a:pt x="3636" y="234"/>
                    </a:cubicBezTo>
                    <a:cubicBezTo>
                      <a:pt x="3626" y="210"/>
                      <a:pt x="3640" y="207"/>
                      <a:pt x="3632" y="193"/>
                    </a:cubicBezTo>
                    <a:cubicBezTo>
                      <a:pt x="3625" y="180"/>
                      <a:pt x="3598" y="175"/>
                      <a:pt x="3580" y="183"/>
                    </a:cubicBezTo>
                    <a:cubicBezTo>
                      <a:pt x="3561" y="190"/>
                      <a:pt x="3552" y="192"/>
                      <a:pt x="3546" y="171"/>
                    </a:cubicBezTo>
                    <a:cubicBezTo>
                      <a:pt x="3539" y="150"/>
                      <a:pt x="3559" y="139"/>
                      <a:pt x="3570" y="124"/>
                    </a:cubicBezTo>
                    <a:cubicBezTo>
                      <a:pt x="3582" y="108"/>
                      <a:pt x="3593" y="77"/>
                      <a:pt x="3614" y="57"/>
                    </a:cubicBezTo>
                    <a:cubicBezTo>
                      <a:pt x="3634" y="37"/>
                      <a:pt x="3636" y="27"/>
                      <a:pt x="3657" y="27"/>
                    </a:cubicBezTo>
                    <a:cubicBezTo>
                      <a:pt x="3678" y="26"/>
                      <a:pt x="3672" y="31"/>
                      <a:pt x="3718" y="10"/>
                    </a:cubicBezTo>
                    <a:cubicBezTo>
                      <a:pt x="3728" y="6"/>
                      <a:pt x="3732" y="4"/>
                      <a:pt x="3739" y="0"/>
                    </a:cubicBezTo>
                    <a:cubicBezTo>
                      <a:pt x="3739" y="0"/>
                      <a:pt x="3746" y="13"/>
                      <a:pt x="3753" y="21"/>
                    </a:cubicBezTo>
                    <a:cubicBezTo>
                      <a:pt x="3759" y="30"/>
                      <a:pt x="3782" y="47"/>
                      <a:pt x="3774" y="67"/>
                    </a:cubicBezTo>
                    <a:cubicBezTo>
                      <a:pt x="3766" y="88"/>
                      <a:pt x="3762" y="92"/>
                      <a:pt x="3759" y="105"/>
                    </a:cubicBezTo>
                    <a:cubicBezTo>
                      <a:pt x="3756" y="118"/>
                      <a:pt x="3755" y="131"/>
                      <a:pt x="3742" y="144"/>
                    </a:cubicBezTo>
                    <a:cubicBezTo>
                      <a:pt x="3730" y="158"/>
                      <a:pt x="3703" y="179"/>
                      <a:pt x="3732" y="184"/>
                    </a:cubicBezTo>
                    <a:cubicBezTo>
                      <a:pt x="3761" y="189"/>
                      <a:pt x="3779" y="201"/>
                      <a:pt x="3789" y="208"/>
                    </a:cubicBezTo>
                    <a:cubicBezTo>
                      <a:pt x="3799" y="215"/>
                      <a:pt x="3815" y="231"/>
                      <a:pt x="3830" y="216"/>
                    </a:cubicBezTo>
                    <a:cubicBezTo>
                      <a:pt x="3846" y="201"/>
                      <a:pt x="3846" y="195"/>
                      <a:pt x="3846" y="183"/>
                    </a:cubicBezTo>
                    <a:cubicBezTo>
                      <a:pt x="3845" y="172"/>
                      <a:pt x="3862" y="152"/>
                      <a:pt x="3871" y="172"/>
                    </a:cubicBezTo>
                    <a:cubicBezTo>
                      <a:pt x="3881" y="191"/>
                      <a:pt x="3898" y="204"/>
                      <a:pt x="3916" y="209"/>
                    </a:cubicBezTo>
                    <a:cubicBezTo>
                      <a:pt x="3934" y="215"/>
                      <a:pt x="3969" y="221"/>
                      <a:pt x="3957" y="236"/>
                    </a:cubicBezTo>
                    <a:cubicBezTo>
                      <a:pt x="3945" y="251"/>
                      <a:pt x="3949" y="257"/>
                      <a:pt x="3956" y="271"/>
                    </a:cubicBezTo>
                    <a:cubicBezTo>
                      <a:pt x="3963" y="285"/>
                      <a:pt x="3973" y="313"/>
                      <a:pt x="3982" y="329"/>
                    </a:cubicBezTo>
                    <a:cubicBezTo>
                      <a:pt x="3991" y="346"/>
                      <a:pt x="4007" y="366"/>
                      <a:pt x="4014" y="385"/>
                    </a:cubicBezTo>
                    <a:cubicBezTo>
                      <a:pt x="4021" y="404"/>
                      <a:pt x="4015" y="416"/>
                      <a:pt x="4040" y="411"/>
                    </a:cubicBezTo>
                    <a:cubicBezTo>
                      <a:pt x="4064" y="406"/>
                      <a:pt x="4103" y="420"/>
                      <a:pt x="4111" y="408"/>
                    </a:cubicBezTo>
                    <a:cubicBezTo>
                      <a:pt x="4118" y="396"/>
                      <a:pt x="4142" y="385"/>
                      <a:pt x="4154" y="386"/>
                    </a:cubicBezTo>
                    <a:cubicBezTo>
                      <a:pt x="4166" y="386"/>
                      <a:pt x="4167" y="382"/>
                      <a:pt x="4176" y="376"/>
                    </a:cubicBezTo>
                    <a:cubicBezTo>
                      <a:pt x="4186" y="370"/>
                      <a:pt x="4198" y="363"/>
                      <a:pt x="4217" y="375"/>
                    </a:cubicBezTo>
                    <a:cubicBezTo>
                      <a:pt x="4237" y="388"/>
                      <a:pt x="4232" y="378"/>
                      <a:pt x="4238" y="364"/>
                    </a:cubicBezTo>
                    <a:cubicBezTo>
                      <a:pt x="4244" y="350"/>
                      <a:pt x="4255" y="356"/>
                      <a:pt x="4268" y="352"/>
                    </a:cubicBezTo>
                    <a:cubicBezTo>
                      <a:pt x="4280" y="347"/>
                      <a:pt x="4301" y="327"/>
                      <a:pt x="4303" y="314"/>
                    </a:cubicBezTo>
                    <a:cubicBezTo>
                      <a:pt x="4306" y="301"/>
                      <a:pt x="4318" y="272"/>
                      <a:pt x="4337" y="282"/>
                    </a:cubicBezTo>
                    <a:cubicBezTo>
                      <a:pt x="4356" y="291"/>
                      <a:pt x="4380" y="307"/>
                      <a:pt x="4387" y="315"/>
                    </a:cubicBezTo>
                    <a:cubicBezTo>
                      <a:pt x="4395" y="323"/>
                      <a:pt x="4407" y="336"/>
                      <a:pt x="4431" y="356"/>
                    </a:cubicBezTo>
                    <a:cubicBezTo>
                      <a:pt x="4456" y="376"/>
                      <a:pt x="4476" y="386"/>
                      <a:pt x="4462" y="411"/>
                    </a:cubicBezTo>
                    <a:cubicBezTo>
                      <a:pt x="4449" y="436"/>
                      <a:pt x="4438" y="449"/>
                      <a:pt x="4440" y="473"/>
                    </a:cubicBezTo>
                    <a:cubicBezTo>
                      <a:pt x="4441" y="497"/>
                      <a:pt x="4442" y="510"/>
                      <a:pt x="4426" y="520"/>
                    </a:cubicBezTo>
                    <a:cubicBezTo>
                      <a:pt x="4411" y="530"/>
                      <a:pt x="4419" y="543"/>
                      <a:pt x="4419" y="559"/>
                    </a:cubicBezTo>
                    <a:cubicBezTo>
                      <a:pt x="4419" y="575"/>
                      <a:pt x="4413" y="595"/>
                      <a:pt x="4404" y="610"/>
                    </a:cubicBezTo>
                    <a:cubicBezTo>
                      <a:pt x="4396" y="624"/>
                      <a:pt x="4398" y="641"/>
                      <a:pt x="4400" y="656"/>
                    </a:cubicBezTo>
                    <a:cubicBezTo>
                      <a:pt x="4401" y="671"/>
                      <a:pt x="4402" y="685"/>
                      <a:pt x="4407" y="705"/>
                    </a:cubicBezTo>
                    <a:cubicBezTo>
                      <a:pt x="4412" y="725"/>
                      <a:pt x="4421" y="739"/>
                      <a:pt x="4426" y="759"/>
                    </a:cubicBezTo>
                    <a:cubicBezTo>
                      <a:pt x="4430" y="778"/>
                      <a:pt x="4436" y="809"/>
                      <a:pt x="4416" y="814"/>
                    </a:cubicBezTo>
                    <a:cubicBezTo>
                      <a:pt x="4395" y="819"/>
                      <a:pt x="4405" y="803"/>
                      <a:pt x="4385" y="824"/>
                    </a:cubicBezTo>
                    <a:cubicBezTo>
                      <a:pt x="4365" y="845"/>
                      <a:pt x="4372" y="840"/>
                      <a:pt x="4371" y="858"/>
                    </a:cubicBezTo>
                    <a:cubicBezTo>
                      <a:pt x="4370" y="877"/>
                      <a:pt x="4364" y="888"/>
                      <a:pt x="4358" y="908"/>
                    </a:cubicBezTo>
                    <a:cubicBezTo>
                      <a:pt x="4353" y="928"/>
                      <a:pt x="4350" y="948"/>
                      <a:pt x="4349" y="960"/>
                    </a:cubicBezTo>
                    <a:cubicBezTo>
                      <a:pt x="4348" y="972"/>
                      <a:pt x="4343" y="982"/>
                      <a:pt x="4353" y="1001"/>
                    </a:cubicBezTo>
                    <a:cubicBezTo>
                      <a:pt x="4363" y="1020"/>
                      <a:pt x="4368" y="1029"/>
                      <a:pt x="4365" y="1040"/>
                    </a:cubicBezTo>
                    <a:cubicBezTo>
                      <a:pt x="4362" y="1051"/>
                      <a:pt x="4360" y="1064"/>
                      <a:pt x="4349" y="1054"/>
                    </a:cubicBezTo>
                    <a:cubicBezTo>
                      <a:pt x="4338" y="1044"/>
                      <a:pt x="4318" y="1026"/>
                      <a:pt x="4318" y="1004"/>
                    </a:cubicBezTo>
                    <a:cubicBezTo>
                      <a:pt x="4317" y="982"/>
                      <a:pt x="4303" y="978"/>
                      <a:pt x="4292" y="999"/>
                    </a:cubicBezTo>
                    <a:cubicBezTo>
                      <a:pt x="4280" y="1020"/>
                      <a:pt x="4271" y="1027"/>
                      <a:pt x="4262" y="1049"/>
                    </a:cubicBezTo>
                    <a:cubicBezTo>
                      <a:pt x="4254" y="1070"/>
                      <a:pt x="4245" y="1094"/>
                      <a:pt x="4232" y="1100"/>
                    </a:cubicBezTo>
                    <a:cubicBezTo>
                      <a:pt x="4218" y="1107"/>
                      <a:pt x="4203" y="1113"/>
                      <a:pt x="4196" y="1125"/>
                    </a:cubicBezTo>
                    <a:cubicBezTo>
                      <a:pt x="4190" y="1137"/>
                      <a:pt x="4177" y="1159"/>
                      <a:pt x="4167" y="1171"/>
                    </a:cubicBezTo>
                    <a:cubicBezTo>
                      <a:pt x="4156" y="1182"/>
                      <a:pt x="4146" y="1191"/>
                      <a:pt x="4127" y="1206"/>
                    </a:cubicBezTo>
                    <a:cubicBezTo>
                      <a:pt x="4109" y="1222"/>
                      <a:pt x="4099" y="1223"/>
                      <a:pt x="4102" y="1240"/>
                    </a:cubicBezTo>
                    <a:cubicBezTo>
                      <a:pt x="4104" y="1257"/>
                      <a:pt x="4117" y="1269"/>
                      <a:pt x="4106" y="1281"/>
                    </a:cubicBezTo>
                    <a:cubicBezTo>
                      <a:pt x="4094" y="1294"/>
                      <a:pt x="4098" y="1301"/>
                      <a:pt x="4108" y="1313"/>
                    </a:cubicBezTo>
                    <a:cubicBezTo>
                      <a:pt x="4118" y="1324"/>
                      <a:pt x="4115" y="1332"/>
                      <a:pt x="4140" y="1332"/>
                    </a:cubicBezTo>
                    <a:cubicBezTo>
                      <a:pt x="4165" y="1332"/>
                      <a:pt x="4158" y="1336"/>
                      <a:pt x="4169" y="1352"/>
                    </a:cubicBezTo>
                    <a:cubicBezTo>
                      <a:pt x="4179" y="1368"/>
                      <a:pt x="4181" y="1369"/>
                      <a:pt x="4192" y="1377"/>
                    </a:cubicBezTo>
                    <a:cubicBezTo>
                      <a:pt x="4202" y="1385"/>
                      <a:pt x="4195" y="1380"/>
                      <a:pt x="4212" y="1379"/>
                    </a:cubicBezTo>
                    <a:cubicBezTo>
                      <a:pt x="4229" y="1378"/>
                      <a:pt x="4236" y="1381"/>
                      <a:pt x="4249" y="1371"/>
                    </a:cubicBezTo>
                    <a:cubicBezTo>
                      <a:pt x="4262" y="1362"/>
                      <a:pt x="4284" y="1358"/>
                      <a:pt x="4280" y="1380"/>
                    </a:cubicBezTo>
                    <a:cubicBezTo>
                      <a:pt x="4276" y="1402"/>
                      <a:pt x="4272" y="1415"/>
                      <a:pt x="4256" y="1424"/>
                    </a:cubicBezTo>
                    <a:cubicBezTo>
                      <a:pt x="4240" y="1433"/>
                      <a:pt x="4232" y="1431"/>
                      <a:pt x="4224" y="1426"/>
                    </a:cubicBezTo>
                    <a:cubicBezTo>
                      <a:pt x="4216" y="1422"/>
                      <a:pt x="4199" y="1417"/>
                      <a:pt x="4197" y="1434"/>
                    </a:cubicBezTo>
                    <a:cubicBezTo>
                      <a:pt x="4195" y="1452"/>
                      <a:pt x="4195" y="1475"/>
                      <a:pt x="4206" y="1481"/>
                    </a:cubicBezTo>
                    <a:cubicBezTo>
                      <a:pt x="4217" y="1487"/>
                      <a:pt x="4231" y="1488"/>
                      <a:pt x="4236" y="1502"/>
                    </a:cubicBezTo>
                    <a:cubicBezTo>
                      <a:pt x="4241" y="1516"/>
                      <a:pt x="4240" y="1526"/>
                      <a:pt x="4236" y="1538"/>
                    </a:cubicBezTo>
                    <a:cubicBezTo>
                      <a:pt x="4231" y="1550"/>
                      <a:pt x="4226" y="1569"/>
                      <a:pt x="4220" y="1584"/>
                    </a:cubicBezTo>
                    <a:cubicBezTo>
                      <a:pt x="4213" y="1599"/>
                      <a:pt x="4200" y="1611"/>
                      <a:pt x="4183" y="1606"/>
                    </a:cubicBezTo>
                    <a:cubicBezTo>
                      <a:pt x="4166" y="1600"/>
                      <a:pt x="4150" y="1579"/>
                      <a:pt x="4138" y="1585"/>
                    </a:cubicBezTo>
                    <a:cubicBezTo>
                      <a:pt x="4125" y="1590"/>
                      <a:pt x="4111" y="1598"/>
                      <a:pt x="4099" y="1608"/>
                    </a:cubicBezTo>
                    <a:cubicBezTo>
                      <a:pt x="4088" y="1618"/>
                      <a:pt x="4068" y="1622"/>
                      <a:pt x="4053" y="1622"/>
                    </a:cubicBezTo>
                    <a:cubicBezTo>
                      <a:pt x="4038" y="1622"/>
                      <a:pt x="4017" y="1617"/>
                      <a:pt x="4024" y="1636"/>
                    </a:cubicBezTo>
                    <a:cubicBezTo>
                      <a:pt x="4031" y="1655"/>
                      <a:pt x="4042" y="1657"/>
                      <a:pt x="4058" y="1668"/>
                    </a:cubicBezTo>
                    <a:cubicBezTo>
                      <a:pt x="4074" y="1680"/>
                      <a:pt x="4076" y="1694"/>
                      <a:pt x="4084" y="1702"/>
                    </a:cubicBezTo>
                    <a:cubicBezTo>
                      <a:pt x="4093" y="1709"/>
                      <a:pt x="4095" y="1706"/>
                      <a:pt x="4110" y="1705"/>
                    </a:cubicBezTo>
                    <a:cubicBezTo>
                      <a:pt x="4126" y="1705"/>
                      <a:pt x="4133" y="1721"/>
                      <a:pt x="4134" y="1732"/>
                    </a:cubicBezTo>
                    <a:cubicBezTo>
                      <a:pt x="4135" y="1742"/>
                      <a:pt x="4123" y="1748"/>
                      <a:pt x="4116" y="1760"/>
                    </a:cubicBezTo>
                    <a:cubicBezTo>
                      <a:pt x="4110" y="1772"/>
                      <a:pt x="4116" y="1797"/>
                      <a:pt x="4119" y="1805"/>
                    </a:cubicBezTo>
                    <a:cubicBezTo>
                      <a:pt x="4122" y="1814"/>
                      <a:pt x="4114" y="1851"/>
                      <a:pt x="4129" y="1863"/>
                    </a:cubicBezTo>
                    <a:cubicBezTo>
                      <a:pt x="4143" y="1875"/>
                      <a:pt x="4159" y="1885"/>
                      <a:pt x="4162" y="1896"/>
                    </a:cubicBezTo>
                    <a:cubicBezTo>
                      <a:pt x="4166" y="1907"/>
                      <a:pt x="4146" y="1921"/>
                      <a:pt x="4162" y="1928"/>
                    </a:cubicBezTo>
                    <a:cubicBezTo>
                      <a:pt x="4178" y="1935"/>
                      <a:pt x="4188" y="1937"/>
                      <a:pt x="4200" y="1931"/>
                    </a:cubicBezTo>
                    <a:cubicBezTo>
                      <a:pt x="4212" y="1926"/>
                      <a:pt x="4243" y="1906"/>
                      <a:pt x="4258" y="1886"/>
                    </a:cubicBezTo>
                    <a:cubicBezTo>
                      <a:pt x="4273" y="1867"/>
                      <a:pt x="4285" y="1860"/>
                      <a:pt x="4286" y="1883"/>
                    </a:cubicBezTo>
                    <a:cubicBezTo>
                      <a:pt x="4287" y="1905"/>
                      <a:pt x="4286" y="1908"/>
                      <a:pt x="4298" y="1917"/>
                    </a:cubicBezTo>
                    <a:cubicBezTo>
                      <a:pt x="4310" y="1927"/>
                      <a:pt x="4336" y="1922"/>
                      <a:pt x="4339" y="1949"/>
                    </a:cubicBezTo>
                    <a:cubicBezTo>
                      <a:pt x="4342" y="1976"/>
                      <a:pt x="4351" y="1987"/>
                      <a:pt x="4360" y="2002"/>
                    </a:cubicBezTo>
                    <a:cubicBezTo>
                      <a:pt x="4368" y="2018"/>
                      <a:pt x="4373" y="2022"/>
                      <a:pt x="4376" y="2035"/>
                    </a:cubicBezTo>
                    <a:cubicBezTo>
                      <a:pt x="4378" y="2047"/>
                      <a:pt x="4371" y="2073"/>
                      <a:pt x="4388" y="2082"/>
                    </a:cubicBezTo>
                    <a:cubicBezTo>
                      <a:pt x="4406" y="2092"/>
                      <a:pt x="4430" y="2098"/>
                      <a:pt x="4428" y="2122"/>
                    </a:cubicBezTo>
                    <a:cubicBezTo>
                      <a:pt x="4427" y="2147"/>
                      <a:pt x="4433" y="2165"/>
                      <a:pt x="4409" y="2172"/>
                    </a:cubicBezTo>
                    <a:cubicBezTo>
                      <a:pt x="4385" y="2179"/>
                      <a:pt x="4376" y="2182"/>
                      <a:pt x="4365" y="2206"/>
                    </a:cubicBezTo>
                    <a:cubicBezTo>
                      <a:pt x="4354" y="2231"/>
                      <a:pt x="4338" y="2249"/>
                      <a:pt x="4329" y="2252"/>
                    </a:cubicBezTo>
                    <a:cubicBezTo>
                      <a:pt x="4320" y="2256"/>
                      <a:pt x="4297" y="2263"/>
                      <a:pt x="4283" y="2251"/>
                    </a:cubicBezTo>
                    <a:cubicBezTo>
                      <a:pt x="4268" y="2240"/>
                      <a:pt x="4242" y="2234"/>
                      <a:pt x="4236" y="2242"/>
                    </a:cubicBezTo>
                    <a:cubicBezTo>
                      <a:pt x="4231" y="2249"/>
                      <a:pt x="4229" y="2250"/>
                      <a:pt x="4237" y="2262"/>
                    </a:cubicBezTo>
                    <a:cubicBezTo>
                      <a:pt x="4244" y="2275"/>
                      <a:pt x="4252" y="2281"/>
                      <a:pt x="4242" y="2293"/>
                    </a:cubicBezTo>
                    <a:cubicBezTo>
                      <a:pt x="4233" y="2305"/>
                      <a:pt x="4222" y="2302"/>
                      <a:pt x="4215" y="2288"/>
                    </a:cubicBezTo>
                    <a:cubicBezTo>
                      <a:pt x="4208" y="2273"/>
                      <a:pt x="4195" y="2277"/>
                      <a:pt x="4184" y="2293"/>
                    </a:cubicBezTo>
                    <a:cubicBezTo>
                      <a:pt x="4173" y="2310"/>
                      <a:pt x="4183" y="2321"/>
                      <a:pt x="4163" y="2333"/>
                    </a:cubicBezTo>
                    <a:cubicBezTo>
                      <a:pt x="4143" y="2346"/>
                      <a:pt x="4139" y="2357"/>
                      <a:pt x="4125" y="2350"/>
                    </a:cubicBezTo>
                    <a:cubicBezTo>
                      <a:pt x="4111" y="2343"/>
                      <a:pt x="4109" y="2346"/>
                      <a:pt x="4096" y="2358"/>
                    </a:cubicBezTo>
                    <a:cubicBezTo>
                      <a:pt x="4083" y="2370"/>
                      <a:pt x="4063" y="2394"/>
                      <a:pt x="4057" y="2402"/>
                    </a:cubicBezTo>
                    <a:cubicBezTo>
                      <a:pt x="4050" y="2411"/>
                      <a:pt x="4038" y="2431"/>
                      <a:pt x="4028" y="2417"/>
                    </a:cubicBezTo>
                    <a:cubicBezTo>
                      <a:pt x="4018" y="2404"/>
                      <a:pt x="3996" y="2398"/>
                      <a:pt x="3988" y="2413"/>
                    </a:cubicBezTo>
                    <a:cubicBezTo>
                      <a:pt x="3979" y="2427"/>
                      <a:pt x="3973" y="2438"/>
                      <a:pt x="3961" y="2450"/>
                    </a:cubicBezTo>
                    <a:cubicBezTo>
                      <a:pt x="3949" y="2461"/>
                      <a:pt x="3929" y="2467"/>
                      <a:pt x="3933" y="2476"/>
                    </a:cubicBezTo>
                    <a:cubicBezTo>
                      <a:pt x="3937" y="2486"/>
                      <a:pt x="3928" y="2494"/>
                      <a:pt x="3919" y="2501"/>
                    </a:cubicBezTo>
                    <a:cubicBezTo>
                      <a:pt x="3909" y="2508"/>
                      <a:pt x="3908" y="2526"/>
                      <a:pt x="3887" y="2524"/>
                    </a:cubicBezTo>
                    <a:cubicBezTo>
                      <a:pt x="3866" y="2522"/>
                      <a:pt x="3866" y="2516"/>
                      <a:pt x="3852" y="2495"/>
                    </a:cubicBezTo>
                    <a:cubicBezTo>
                      <a:pt x="3839" y="2474"/>
                      <a:pt x="3840" y="2456"/>
                      <a:pt x="3828" y="2461"/>
                    </a:cubicBezTo>
                    <a:cubicBezTo>
                      <a:pt x="3815" y="2466"/>
                      <a:pt x="3800" y="2467"/>
                      <a:pt x="3793" y="2448"/>
                    </a:cubicBezTo>
                    <a:cubicBezTo>
                      <a:pt x="3785" y="2428"/>
                      <a:pt x="3773" y="2424"/>
                      <a:pt x="3762" y="2435"/>
                    </a:cubicBezTo>
                    <a:cubicBezTo>
                      <a:pt x="3751" y="2447"/>
                      <a:pt x="3732" y="2448"/>
                      <a:pt x="3744" y="2471"/>
                    </a:cubicBezTo>
                    <a:cubicBezTo>
                      <a:pt x="3755" y="2495"/>
                      <a:pt x="3764" y="2499"/>
                      <a:pt x="3755" y="2517"/>
                    </a:cubicBezTo>
                    <a:cubicBezTo>
                      <a:pt x="3746" y="2534"/>
                      <a:pt x="3749" y="2535"/>
                      <a:pt x="3757" y="2553"/>
                    </a:cubicBezTo>
                    <a:cubicBezTo>
                      <a:pt x="3766" y="2572"/>
                      <a:pt x="3777" y="2585"/>
                      <a:pt x="3784" y="2605"/>
                    </a:cubicBezTo>
                    <a:cubicBezTo>
                      <a:pt x="3792" y="2626"/>
                      <a:pt x="3794" y="2638"/>
                      <a:pt x="3787" y="2655"/>
                    </a:cubicBezTo>
                    <a:cubicBezTo>
                      <a:pt x="3780" y="2672"/>
                      <a:pt x="3778" y="2681"/>
                      <a:pt x="3756" y="2685"/>
                    </a:cubicBezTo>
                    <a:cubicBezTo>
                      <a:pt x="3734" y="2688"/>
                      <a:pt x="3690" y="2692"/>
                      <a:pt x="3673" y="2693"/>
                    </a:cubicBezTo>
                    <a:cubicBezTo>
                      <a:pt x="3656" y="2695"/>
                      <a:pt x="3631" y="2711"/>
                      <a:pt x="3617" y="2674"/>
                    </a:cubicBezTo>
                    <a:cubicBezTo>
                      <a:pt x="3602" y="2637"/>
                      <a:pt x="3609" y="2649"/>
                      <a:pt x="3592" y="2634"/>
                    </a:cubicBezTo>
                    <a:cubicBezTo>
                      <a:pt x="3575" y="2619"/>
                      <a:pt x="3565" y="2622"/>
                      <a:pt x="3573" y="2602"/>
                    </a:cubicBezTo>
                    <a:cubicBezTo>
                      <a:pt x="3580" y="2582"/>
                      <a:pt x="3585" y="2556"/>
                      <a:pt x="3572" y="2543"/>
                    </a:cubicBezTo>
                    <a:cubicBezTo>
                      <a:pt x="3559" y="2530"/>
                      <a:pt x="3515" y="2505"/>
                      <a:pt x="3510" y="2484"/>
                    </a:cubicBezTo>
                    <a:cubicBezTo>
                      <a:pt x="3505" y="2464"/>
                      <a:pt x="3491" y="2441"/>
                      <a:pt x="3471" y="2435"/>
                    </a:cubicBezTo>
                    <a:cubicBezTo>
                      <a:pt x="3451" y="2429"/>
                      <a:pt x="3436" y="2439"/>
                      <a:pt x="3428" y="2456"/>
                    </a:cubicBezTo>
                    <a:cubicBezTo>
                      <a:pt x="3420" y="2472"/>
                      <a:pt x="3407" y="2473"/>
                      <a:pt x="3391" y="2476"/>
                    </a:cubicBezTo>
                    <a:cubicBezTo>
                      <a:pt x="3374" y="2478"/>
                      <a:pt x="3351" y="2478"/>
                      <a:pt x="3348" y="2497"/>
                    </a:cubicBezTo>
                    <a:cubicBezTo>
                      <a:pt x="3345" y="2517"/>
                      <a:pt x="3357" y="2522"/>
                      <a:pt x="3354" y="2541"/>
                    </a:cubicBezTo>
                    <a:cubicBezTo>
                      <a:pt x="3352" y="2560"/>
                      <a:pt x="3356" y="2575"/>
                      <a:pt x="3356" y="2585"/>
                    </a:cubicBezTo>
                    <a:cubicBezTo>
                      <a:pt x="3356" y="2594"/>
                      <a:pt x="3356" y="2604"/>
                      <a:pt x="3336" y="2603"/>
                    </a:cubicBezTo>
                    <a:cubicBezTo>
                      <a:pt x="3315" y="2601"/>
                      <a:pt x="3309" y="2597"/>
                      <a:pt x="3294" y="2591"/>
                    </a:cubicBezTo>
                    <a:cubicBezTo>
                      <a:pt x="3279" y="2585"/>
                      <a:pt x="3270" y="2589"/>
                      <a:pt x="3260" y="2605"/>
                    </a:cubicBezTo>
                    <a:cubicBezTo>
                      <a:pt x="3251" y="2620"/>
                      <a:pt x="3229" y="2627"/>
                      <a:pt x="3217" y="2622"/>
                    </a:cubicBezTo>
                    <a:cubicBezTo>
                      <a:pt x="3205" y="2616"/>
                      <a:pt x="3182" y="2612"/>
                      <a:pt x="3168" y="2629"/>
                    </a:cubicBezTo>
                    <a:cubicBezTo>
                      <a:pt x="3154" y="2646"/>
                      <a:pt x="3127" y="2685"/>
                      <a:pt x="3109" y="2696"/>
                    </a:cubicBezTo>
                    <a:cubicBezTo>
                      <a:pt x="3091" y="2707"/>
                      <a:pt x="3068" y="2717"/>
                      <a:pt x="3059" y="2713"/>
                    </a:cubicBezTo>
                    <a:cubicBezTo>
                      <a:pt x="3049" y="2709"/>
                      <a:pt x="3037" y="2698"/>
                      <a:pt x="3040" y="2672"/>
                    </a:cubicBezTo>
                    <a:cubicBezTo>
                      <a:pt x="3043" y="2646"/>
                      <a:pt x="3052" y="2635"/>
                      <a:pt x="3044" y="2624"/>
                    </a:cubicBezTo>
                    <a:cubicBezTo>
                      <a:pt x="3037" y="2612"/>
                      <a:pt x="3029" y="2583"/>
                      <a:pt x="3000" y="2589"/>
                    </a:cubicBezTo>
                    <a:cubicBezTo>
                      <a:pt x="2972" y="2595"/>
                      <a:pt x="2978" y="2601"/>
                      <a:pt x="2977" y="2612"/>
                    </a:cubicBezTo>
                    <a:cubicBezTo>
                      <a:pt x="2975" y="2622"/>
                      <a:pt x="2972" y="2622"/>
                      <a:pt x="2958" y="2633"/>
                    </a:cubicBezTo>
                    <a:cubicBezTo>
                      <a:pt x="2944" y="2643"/>
                      <a:pt x="2940" y="2652"/>
                      <a:pt x="2940" y="2667"/>
                    </a:cubicBezTo>
                    <a:cubicBezTo>
                      <a:pt x="2941" y="2681"/>
                      <a:pt x="2936" y="2718"/>
                      <a:pt x="2923" y="2730"/>
                    </a:cubicBezTo>
                    <a:cubicBezTo>
                      <a:pt x="2910" y="2743"/>
                      <a:pt x="2894" y="2770"/>
                      <a:pt x="2900" y="2780"/>
                    </a:cubicBezTo>
                    <a:cubicBezTo>
                      <a:pt x="2906" y="2789"/>
                      <a:pt x="2910" y="2797"/>
                      <a:pt x="2902" y="2807"/>
                    </a:cubicBezTo>
                    <a:cubicBezTo>
                      <a:pt x="2894" y="2816"/>
                      <a:pt x="2895" y="2836"/>
                      <a:pt x="2905" y="2838"/>
                    </a:cubicBezTo>
                    <a:cubicBezTo>
                      <a:pt x="2914" y="2840"/>
                      <a:pt x="2929" y="2822"/>
                      <a:pt x="2934" y="2849"/>
                    </a:cubicBezTo>
                    <a:cubicBezTo>
                      <a:pt x="2938" y="2877"/>
                      <a:pt x="2942" y="2891"/>
                      <a:pt x="2939" y="2900"/>
                    </a:cubicBezTo>
                    <a:cubicBezTo>
                      <a:pt x="2936" y="2909"/>
                      <a:pt x="2924" y="2909"/>
                      <a:pt x="2930" y="2921"/>
                    </a:cubicBezTo>
                    <a:cubicBezTo>
                      <a:pt x="2936" y="2933"/>
                      <a:pt x="2939" y="2937"/>
                      <a:pt x="2929" y="2946"/>
                    </a:cubicBezTo>
                    <a:cubicBezTo>
                      <a:pt x="2920" y="2955"/>
                      <a:pt x="2894" y="2960"/>
                      <a:pt x="2882" y="2973"/>
                    </a:cubicBezTo>
                    <a:cubicBezTo>
                      <a:pt x="2870" y="2986"/>
                      <a:pt x="2861" y="2998"/>
                      <a:pt x="2841" y="3000"/>
                    </a:cubicBezTo>
                    <a:cubicBezTo>
                      <a:pt x="2820" y="3002"/>
                      <a:pt x="2814" y="3001"/>
                      <a:pt x="2803" y="2992"/>
                    </a:cubicBezTo>
                    <a:cubicBezTo>
                      <a:pt x="2793" y="2983"/>
                      <a:pt x="2781" y="2987"/>
                      <a:pt x="2771" y="2994"/>
                    </a:cubicBezTo>
                    <a:cubicBezTo>
                      <a:pt x="2761" y="3002"/>
                      <a:pt x="2756" y="3009"/>
                      <a:pt x="2744" y="3022"/>
                    </a:cubicBezTo>
                    <a:cubicBezTo>
                      <a:pt x="2731" y="3036"/>
                      <a:pt x="2738" y="3044"/>
                      <a:pt x="2712" y="3042"/>
                    </a:cubicBezTo>
                    <a:cubicBezTo>
                      <a:pt x="2685" y="3040"/>
                      <a:pt x="2675" y="3021"/>
                      <a:pt x="2661" y="3033"/>
                    </a:cubicBezTo>
                    <a:cubicBezTo>
                      <a:pt x="2646" y="3046"/>
                      <a:pt x="2626" y="3063"/>
                      <a:pt x="2624" y="3075"/>
                    </a:cubicBezTo>
                    <a:cubicBezTo>
                      <a:pt x="2621" y="3088"/>
                      <a:pt x="2596" y="3132"/>
                      <a:pt x="2584" y="3147"/>
                    </a:cubicBezTo>
                    <a:cubicBezTo>
                      <a:pt x="2573" y="3162"/>
                      <a:pt x="2570" y="3181"/>
                      <a:pt x="2554" y="3178"/>
                    </a:cubicBezTo>
                    <a:cubicBezTo>
                      <a:pt x="2538" y="3175"/>
                      <a:pt x="2533" y="3173"/>
                      <a:pt x="2526" y="3185"/>
                    </a:cubicBezTo>
                    <a:cubicBezTo>
                      <a:pt x="2520" y="3197"/>
                      <a:pt x="2486" y="3210"/>
                      <a:pt x="2480" y="3196"/>
                    </a:cubicBezTo>
                    <a:cubicBezTo>
                      <a:pt x="2474" y="3182"/>
                      <a:pt x="2467" y="3173"/>
                      <a:pt x="2455" y="3184"/>
                    </a:cubicBezTo>
                    <a:cubicBezTo>
                      <a:pt x="2443" y="3196"/>
                      <a:pt x="2425" y="3211"/>
                      <a:pt x="2414" y="3224"/>
                    </a:cubicBezTo>
                    <a:cubicBezTo>
                      <a:pt x="2403" y="3237"/>
                      <a:pt x="2401" y="3246"/>
                      <a:pt x="2389" y="3251"/>
                    </a:cubicBezTo>
                    <a:cubicBezTo>
                      <a:pt x="2377" y="3255"/>
                      <a:pt x="2370" y="3252"/>
                      <a:pt x="2365" y="3242"/>
                    </a:cubicBezTo>
                    <a:cubicBezTo>
                      <a:pt x="2360" y="3231"/>
                      <a:pt x="2353" y="3225"/>
                      <a:pt x="2343" y="3233"/>
                    </a:cubicBezTo>
                    <a:cubicBezTo>
                      <a:pt x="2334" y="3240"/>
                      <a:pt x="2318" y="3241"/>
                      <a:pt x="2311" y="3244"/>
                    </a:cubicBezTo>
                    <a:cubicBezTo>
                      <a:pt x="2303" y="3246"/>
                      <a:pt x="2288" y="3264"/>
                      <a:pt x="2283" y="3270"/>
                    </a:cubicBezTo>
                    <a:cubicBezTo>
                      <a:pt x="2277" y="3276"/>
                      <a:pt x="2276" y="3285"/>
                      <a:pt x="2258" y="3289"/>
                    </a:cubicBezTo>
                    <a:cubicBezTo>
                      <a:pt x="2239" y="3293"/>
                      <a:pt x="2238" y="3291"/>
                      <a:pt x="2233" y="3306"/>
                    </a:cubicBezTo>
                    <a:cubicBezTo>
                      <a:pt x="2227" y="3321"/>
                      <a:pt x="2219" y="3342"/>
                      <a:pt x="2225" y="3353"/>
                    </a:cubicBezTo>
                    <a:cubicBezTo>
                      <a:pt x="2231" y="3365"/>
                      <a:pt x="2243" y="3377"/>
                      <a:pt x="2240" y="3389"/>
                    </a:cubicBezTo>
                    <a:cubicBezTo>
                      <a:pt x="2237" y="3400"/>
                      <a:pt x="2245" y="3408"/>
                      <a:pt x="2223" y="3408"/>
                    </a:cubicBezTo>
                    <a:cubicBezTo>
                      <a:pt x="2202" y="3407"/>
                      <a:pt x="2192" y="3405"/>
                      <a:pt x="2185" y="3421"/>
                    </a:cubicBezTo>
                    <a:cubicBezTo>
                      <a:pt x="2178" y="3436"/>
                      <a:pt x="2160" y="3460"/>
                      <a:pt x="2147" y="3475"/>
                    </a:cubicBezTo>
                    <a:cubicBezTo>
                      <a:pt x="2133" y="3489"/>
                      <a:pt x="2117" y="3509"/>
                      <a:pt x="2109" y="3515"/>
                    </a:cubicBezTo>
                    <a:cubicBezTo>
                      <a:pt x="2101" y="3520"/>
                      <a:pt x="2078" y="3526"/>
                      <a:pt x="2070" y="3543"/>
                    </a:cubicBezTo>
                    <a:cubicBezTo>
                      <a:pt x="2062" y="3561"/>
                      <a:pt x="2054" y="3569"/>
                      <a:pt x="2054" y="3584"/>
                    </a:cubicBezTo>
                    <a:cubicBezTo>
                      <a:pt x="2054" y="3598"/>
                      <a:pt x="2058" y="3602"/>
                      <a:pt x="2040" y="3618"/>
                    </a:cubicBezTo>
                    <a:cubicBezTo>
                      <a:pt x="2022" y="3634"/>
                      <a:pt x="2025" y="3637"/>
                      <a:pt x="2005" y="3636"/>
                    </a:cubicBezTo>
                    <a:cubicBezTo>
                      <a:pt x="1985" y="3634"/>
                      <a:pt x="1989" y="3636"/>
                      <a:pt x="1984" y="3618"/>
                    </a:cubicBezTo>
                    <a:cubicBezTo>
                      <a:pt x="1980" y="3600"/>
                      <a:pt x="1970" y="3592"/>
                      <a:pt x="1959" y="3602"/>
                    </a:cubicBezTo>
                    <a:cubicBezTo>
                      <a:pt x="1948" y="3611"/>
                      <a:pt x="1941" y="3623"/>
                      <a:pt x="1926" y="3622"/>
                    </a:cubicBezTo>
                    <a:cubicBezTo>
                      <a:pt x="1911" y="3622"/>
                      <a:pt x="1884" y="3627"/>
                      <a:pt x="1869" y="3603"/>
                    </a:cubicBezTo>
                    <a:cubicBezTo>
                      <a:pt x="1854" y="3578"/>
                      <a:pt x="1856" y="3576"/>
                      <a:pt x="1842" y="3573"/>
                    </a:cubicBezTo>
                    <a:cubicBezTo>
                      <a:pt x="1827" y="3570"/>
                      <a:pt x="1822" y="3559"/>
                      <a:pt x="1817" y="3547"/>
                    </a:cubicBezTo>
                    <a:cubicBezTo>
                      <a:pt x="1813" y="3535"/>
                      <a:pt x="1801" y="3531"/>
                      <a:pt x="1786" y="3531"/>
                    </a:cubicBezTo>
                    <a:cubicBezTo>
                      <a:pt x="1771" y="3531"/>
                      <a:pt x="1716" y="3525"/>
                      <a:pt x="1704" y="3515"/>
                    </a:cubicBezTo>
                    <a:cubicBezTo>
                      <a:pt x="1691" y="3505"/>
                      <a:pt x="1682" y="3506"/>
                      <a:pt x="1696" y="3486"/>
                    </a:cubicBezTo>
                    <a:cubicBezTo>
                      <a:pt x="1710" y="3467"/>
                      <a:pt x="1708" y="3465"/>
                      <a:pt x="1720" y="3442"/>
                    </a:cubicBezTo>
                    <a:cubicBezTo>
                      <a:pt x="1731" y="3420"/>
                      <a:pt x="1735" y="3400"/>
                      <a:pt x="1747" y="3387"/>
                    </a:cubicBezTo>
                    <a:cubicBezTo>
                      <a:pt x="1760" y="3373"/>
                      <a:pt x="1781" y="3346"/>
                      <a:pt x="1763" y="3330"/>
                    </a:cubicBezTo>
                    <a:cubicBezTo>
                      <a:pt x="1745" y="3313"/>
                      <a:pt x="1743" y="3315"/>
                      <a:pt x="1743" y="3300"/>
                    </a:cubicBezTo>
                    <a:cubicBezTo>
                      <a:pt x="1743" y="3285"/>
                      <a:pt x="1735" y="3276"/>
                      <a:pt x="1715" y="3269"/>
                    </a:cubicBezTo>
                    <a:cubicBezTo>
                      <a:pt x="1694" y="3263"/>
                      <a:pt x="1701" y="3273"/>
                      <a:pt x="1680" y="3283"/>
                    </a:cubicBezTo>
                    <a:cubicBezTo>
                      <a:pt x="1659" y="3293"/>
                      <a:pt x="1663" y="3291"/>
                      <a:pt x="1651" y="3294"/>
                    </a:cubicBezTo>
                    <a:cubicBezTo>
                      <a:pt x="1639" y="3297"/>
                      <a:pt x="1637" y="3300"/>
                      <a:pt x="1633" y="3313"/>
                    </a:cubicBezTo>
                    <a:cubicBezTo>
                      <a:pt x="1628" y="3327"/>
                      <a:pt x="1638" y="3328"/>
                      <a:pt x="1622" y="3325"/>
                    </a:cubicBezTo>
                    <a:cubicBezTo>
                      <a:pt x="1606" y="3321"/>
                      <a:pt x="1594" y="3330"/>
                      <a:pt x="1598" y="3342"/>
                    </a:cubicBezTo>
                    <a:cubicBezTo>
                      <a:pt x="1603" y="3355"/>
                      <a:pt x="1612" y="3348"/>
                      <a:pt x="1601" y="3368"/>
                    </a:cubicBezTo>
                    <a:cubicBezTo>
                      <a:pt x="1590" y="3389"/>
                      <a:pt x="1575" y="3398"/>
                      <a:pt x="1573" y="3409"/>
                    </a:cubicBezTo>
                    <a:cubicBezTo>
                      <a:pt x="1571" y="3420"/>
                      <a:pt x="1565" y="3430"/>
                      <a:pt x="1562" y="3445"/>
                    </a:cubicBezTo>
                    <a:cubicBezTo>
                      <a:pt x="1558" y="3461"/>
                      <a:pt x="1562" y="3485"/>
                      <a:pt x="1564" y="3501"/>
                    </a:cubicBezTo>
                    <a:cubicBezTo>
                      <a:pt x="1566" y="3517"/>
                      <a:pt x="1560" y="3528"/>
                      <a:pt x="1567" y="3558"/>
                    </a:cubicBezTo>
                    <a:cubicBezTo>
                      <a:pt x="1574" y="3587"/>
                      <a:pt x="1579" y="3602"/>
                      <a:pt x="1568" y="3614"/>
                    </a:cubicBezTo>
                    <a:cubicBezTo>
                      <a:pt x="1558" y="3626"/>
                      <a:pt x="1560" y="3638"/>
                      <a:pt x="1542" y="3636"/>
                    </a:cubicBezTo>
                    <a:cubicBezTo>
                      <a:pt x="1525" y="3633"/>
                      <a:pt x="1507" y="3612"/>
                      <a:pt x="1494" y="3623"/>
                    </a:cubicBezTo>
                    <a:cubicBezTo>
                      <a:pt x="1481" y="3633"/>
                      <a:pt x="1467" y="3635"/>
                      <a:pt x="1450" y="3653"/>
                    </a:cubicBezTo>
                    <a:cubicBezTo>
                      <a:pt x="1432" y="3671"/>
                      <a:pt x="1424" y="3678"/>
                      <a:pt x="1409" y="3675"/>
                    </a:cubicBezTo>
                    <a:cubicBezTo>
                      <a:pt x="1394" y="3672"/>
                      <a:pt x="1398" y="3680"/>
                      <a:pt x="1385" y="3682"/>
                    </a:cubicBezTo>
                    <a:cubicBezTo>
                      <a:pt x="1372" y="3685"/>
                      <a:pt x="1368" y="3682"/>
                      <a:pt x="1362" y="3674"/>
                    </a:cubicBezTo>
                    <a:cubicBezTo>
                      <a:pt x="1356" y="3666"/>
                      <a:pt x="1335" y="3676"/>
                      <a:pt x="1326" y="3683"/>
                    </a:cubicBezTo>
                    <a:cubicBezTo>
                      <a:pt x="1316" y="3690"/>
                      <a:pt x="1305" y="3704"/>
                      <a:pt x="1294" y="3723"/>
                    </a:cubicBezTo>
                    <a:cubicBezTo>
                      <a:pt x="1284" y="3743"/>
                      <a:pt x="934" y="3556"/>
                      <a:pt x="934" y="3556"/>
                    </a:cubicBezTo>
                    <a:cubicBezTo>
                      <a:pt x="480" y="3211"/>
                      <a:pt x="480" y="3211"/>
                      <a:pt x="480" y="3211"/>
                    </a:cubicBezTo>
                    <a:cubicBezTo>
                      <a:pt x="0" y="2851"/>
                      <a:pt x="0" y="2851"/>
                      <a:pt x="0" y="2851"/>
                    </a:cubicBezTo>
                    <a:cubicBezTo>
                      <a:pt x="92" y="2633"/>
                      <a:pt x="92" y="2633"/>
                      <a:pt x="92" y="2633"/>
                    </a:cubicBezTo>
                    <a:cubicBezTo>
                      <a:pt x="200" y="2550"/>
                      <a:pt x="200" y="2550"/>
                      <a:pt x="200" y="2550"/>
                    </a:cubicBezTo>
                    <a:cubicBezTo>
                      <a:pt x="211" y="2532"/>
                      <a:pt x="211" y="2532"/>
                      <a:pt x="211" y="2532"/>
                    </a:cubicBezTo>
                    <a:lnTo>
                      <a:pt x="215" y="2531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5" name="Freeform 28"/>
              <p:cNvSpPr/>
              <p:nvPr/>
            </p:nvSpPr>
            <p:spPr bwMode="auto">
              <a:xfrm>
                <a:off x="3873079" y="5081290"/>
                <a:ext cx="965200" cy="1001712"/>
              </a:xfrm>
              <a:custGeom>
                <a:avLst/>
                <a:gdLst>
                  <a:gd name="T0" fmla="*/ 170 w 1725"/>
                  <a:gd name="T1" fmla="*/ 335 h 1790"/>
                  <a:gd name="T2" fmla="*/ 257 w 1725"/>
                  <a:gd name="T3" fmla="*/ 398 h 1790"/>
                  <a:gd name="T4" fmla="*/ 254 w 1725"/>
                  <a:gd name="T5" fmla="*/ 645 h 1790"/>
                  <a:gd name="T6" fmla="*/ 207 w 1725"/>
                  <a:gd name="T7" fmla="*/ 773 h 1790"/>
                  <a:gd name="T8" fmla="*/ 132 w 1725"/>
                  <a:gd name="T9" fmla="*/ 828 h 1790"/>
                  <a:gd name="T10" fmla="*/ 34 w 1725"/>
                  <a:gd name="T11" fmla="*/ 929 h 1790"/>
                  <a:gd name="T12" fmla="*/ 22 w 1725"/>
                  <a:gd name="T13" fmla="*/ 1042 h 1790"/>
                  <a:gd name="T14" fmla="*/ 44 w 1725"/>
                  <a:gd name="T15" fmla="*/ 1139 h 1790"/>
                  <a:gd name="T16" fmla="*/ 182 w 1725"/>
                  <a:gd name="T17" fmla="*/ 1108 h 1790"/>
                  <a:gd name="T18" fmla="*/ 267 w 1725"/>
                  <a:gd name="T19" fmla="*/ 1117 h 1790"/>
                  <a:gd name="T20" fmla="*/ 255 w 1725"/>
                  <a:gd name="T21" fmla="*/ 1241 h 1790"/>
                  <a:gd name="T22" fmla="*/ 333 w 1725"/>
                  <a:gd name="T23" fmla="*/ 1327 h 1790"/>
                  <a:gd name="T24" fmla="*/ 356 w 1725"/>
                  <a:gd name="T25" fmla="*/ 1405 h 1790"/>
                  <a:gd name="T26" fmla="*/ 332 w 1725"/>
                  <a:gd name="T27" fmla="*/ 1535 h 1790"/>
                  <a:gd name="T28" fmla="*/ 436 w 1725"/>
                  <a:gd name="T29" fmla="*/ 1559 h 1790"/>
                  <a:gd name="T30" fmla="*/ 496 w 1725"/>
                  <a:gd name="T31" fmla="*/ 1670 h 1790"/>
                  <a:gd name="T32" fmla="*/ 603 w 1725"/>
                  <a:gd name="T33" fmla="*/ 1682 h 1790"/>
                  <a:gd name="T34" fmla="*/ 717 w 1725"/>
                  <a:gd name="T35" fmla="*/ 1725 h 1790"/>
                  <a:gd name="T36" fmla="*/ 800 w 1725"/>
                  <a:gd name="T37" fmla="*/ 1773 h 1790"/>
                  <a:gd name="T38" fmla="*/ 819 w 1725"/>
                  <a:gd name="T39" fmla="*/ 1651 h 1790"/>
                  <a:gd name="T40" fmla="*/ 812 w 1725"/>
                  <a:gd name="T41" fmla="*/ 1513 h 1790"/>
                  <a:gd name="T42" fmla="*/ 915 w 1725"/>
                  <a:gd name="T43" fmla="*/ 1517 h 1790"/>
                  <a:gd name="T44" fmla="*/ 984 w 1725"/>
                  <a:gd name="T45" fmla="*/ 1462 h 1790"/>
                  <a:gd name="T46" fmla="*/ 1080 w 1725"/>
                  <a:gd name="T47" fmla="*/ 1533 h 1790"/>
                  <a:gd name="T48" fmla="*/ 1166 w 1725"/>
                  <a:gd name="T49" fmla="*/ 1484 h 1790"/>
                  <a:gd name="T50" fmla="*/ 1237 w 1725"/>
                  <a:gd name="T51" fmla="*/ 1501 h 1790"/>
                  <a:gd name="T52" fmla="*/ 1334 w 1725"/>
                  <a:gd name="T53" fmla="*/ 1453 h 1790"/>
                  <a:gd name="T54" fmla="*/ 1419 w 1725"/>
                  <a:gd name="T55" fmla="*/ 1444 h 1790"/>
                  <a:gd name="T56" fmla="*/ 1494 w 1725"/>
                  <a:gd name="T57" fmla="*/ 1356 h 1790"/>
                  <a:gd name="T58" fmla="*/ 1588 w 1725"/>
                  <a:gd name="T59" fmla="*/ 1366 h 1790"/>
                  <a:gd name="T60" fmla="*/ 1662 w 1725"/>
                  <a:gd name="T61" fmla="*/ 1309 h 1790"/>
                  <a:gd name="T62" fmla="*/ 1716 w 1725"/>
                  <a:gd name="T63" fmla="*/ 1233 h 1790"/>
                  <a:gd name="T64" fmla="*/ 1693 w 1725"/>
                  <a:gd name="T65" fmla="*/ 1166 h 1790"/>
                  <a:gd name="T66" fmla="*/ 1628 w 1725"/>
                  <a:gd name="T67" fmla="*/ 1181 h 1790"/>
                  <a:gd name="T68" fmla="*/ 1558 w 1725"/>
                  <a:gd name="T69" fmla="*/ 1179 h 1790"/>
                  <a:gd name="T70" fmla="*/ 1524 w 1725"/>
                  <a:gd name="T71" fmla="*/ 1148 h 1790"/>
                  <a:gd name="T72" fmla="*/ 1477 w 1725"/>
                  <a:gd name="T73" fmla="*/ 1102 h 1790"/>
                  <a:gd name="T74" fmla="*/ 1430 w 1725"/>
                  <a:gd name="T75" fmla="*/ 1104 h 1790"/>
                  <a:gd name="T76" fmla="*/ 1386 w 1725"/>
                  <a:gd name="T77" fmla="*/ 1057 h 1790"/>
                  <a:gd name="T78" fmla="*/ 1414 w 1725"/>
                  <a:gd name="T79" fmla="*/ 998 h 1790"/>
                  <a:gd name="T80" fmla="*/ 1421 w 1725"/>
                  <a:gd name="T81" fmla="*/ 945 h 1790"/>
                  <a:gd name="T82" fmla="*/ 1344 w 1725"/>
                  <a:gd name="T83" fmla="*/ 858 h 1790"/>
                  <a:gd name="T84" fmla="*/ 1368 w 1725"/>
                  <a:gd name="T85" fmla="*/ 757 h 1790"/>
                  <a:gd name="T86" fmla="*/ 1370 w 1725"/>
                  <a:gd name="T87" fmla="*/ 683 h 1790"/>
                  <a:gd name="T88" fmla="*/ 1335 w 1725"/>
                  <a:gd name="T89" fmla="*/ 621 h 1790"/>
                  <a:gd name="T90" fmla="*/ 1286 w 1725"/>
                  <a:gd name="T91" fmla="*/ 627 h 1790"/>
                  <a:gd name="T92" fmla="*/ 1223 w 1725"/>
                  <a:gd name="T93" fmla="*/ 576 h 1790"/>
                  <a:gd name="T94" fmla="*/ 1228 w 1725"/>
                  <a:gd name="T95" fmla="*/ 507 h 1790"/>
                  <a:gd name="T96" fmla="*/ 1283 w 1725"/>
                  <a:gd name="T97" fmla="*/ 456 h 1790"/>
                  <a:gd name="T98" fmla="*/ 1344 w 1725"/>
                  <a:gd name="T99" fmla="*/ 465 h 1790"/>
                  <a:gd name="T100" fmla="*/ 1409 w 1725"/>
                  <a:gd name="T101" fmla="*/ 472 h 1790"/>
                  <a:gd name="T102" fmla="*/ 1471 w 1725"/>
                  <a:gd name="T103" fmla="*/ 468 h 1790"/>
                  <a:gd name="T104" fmla="*/ 1536 w 1725"/>
                  <a:gd name="T105" fmla="*/ 435 h 1790"/>
                  <a:gd name="T106" fmla="*/ 1518 w 1725"/>
                  <a:gd name="T107" fmla="*/ 240 h 1790"/>
                  <a:gd name="T108" fmla="*/ 1132 w 1725"/>
                  <a:gd name="T109" fmla="*/ 190 h 1790"/>
                  <a:gd name="T110" fmla="*/ 191 w 1725"/>
                  <a:gd name="T111" fmla="*/ 0 h 1790"/>
                  <a:gd name="T112" fmla="*/ 153 w 1725"/>
                  <a:gd name="T113" fmla="*/ 274 h 1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725" h="1790">
                    <a:moveTo>
                      <a:pt x="154" y="279"/>
                    </a:moveTo>
                    <a:cubicBezTo>
                      <a:pt x="155" y="296"/>
                      <a:pt x="157" y="312"/>
                      <a:pt x="170" y="335"/>
                    </a:cubicBezTo>
                    <a:cubicBezTo>
                      <a:pt x="183" y="358"/>
                      <a:pt x="174" y="385"/>
                      <a:pt x="203" y="370"/>
                    </a:cubicBezTo>
                    <a:cubicBezTo>
                      <a:pt x="233" y="355"/>
                      <a:pt x="251" y="377"/>
                      <a:pt x="257" y="398"/>
                    </a:cubicBezTo>
                    <a:cubicBezTo>
                      <a:pt x="262" y="419"/>
                      <a:pt x="266" y="464"/>
                      <a:pt x="267" y="481"/>
                    </a:cubicBezTo>
                    <a:cubicBezTo>
                      <a:pt x="267" y="497"/>
                      <a:pt x="254" y="628"/>
                      <a:pt x="254" y="645"/>
                    </a:cubicBezTo>
                    <a:cubicBezTo>
                      <a:pt x="254" y="662"/>
                      <a:pt x="247" y="702"/>
                      <a:pt x="244" y="719"/>
                    </a:cubicBezTo>
                    <a:cubicBezTo>
                      <a:pt x="240" y="736"/>
                      <a:pt x="230" y="764"/>
                      <a:pt x="207" y="773"/>
                    </a:cubicBezTo>
                    <a:cubicBezTo>
                      <a:pt x="183" y="783"/>
                      <a:pt x="190" y="795"/>
                      <a:pt x="173" y="809"/>
                    </a:cubicBezTo>
                    <a:cubicBezTo>
                      <a:pt x="155" y="824"/>
                      <a:pt x="140" y="804"/>
                      <a:pt x="132" y="828"/>
                    </a:cubicBezTo>
                    <a:cubicBezTo>
                      <a:pt x="123" y="852"/>
                      <a:pt x="111" y="870"/>
                      <a:pt x="89" y="878"/>
                    </a:cubicBezTo>
                    <a:cubicBezTo>
                      <a:pt x="67" y="885"/>
                      <a:pt x="28" y="901"/>
                      <a:pt x="34" y="929"/>
                    </a:cubicBezTo>
                    <a:cubicBezTo>
                      <a:pt x="40" y="957"/>
                      <a:pt x="46" y="973"/>
                      <a:pt x="23" y="984"/>
                    </a:cubicBezTo>
                    <a:cubicBezTo>
                      <a:pt x="0" y="995"/>
                      <a:pt x="8" y="1016"/>
                      <a:pt x="22" y="1042"/>
                    </a:cubicBezTo>
                    <a:cubicBezTo>
                      <a:pt x="35" y="1068"/>
                      <a:pt x="38" y="1083"/>
                      <a:pt x="28" y="1101"/>
                    </a:cubicBezTo>
                    <a:cubicBezTo>
                      <a:pt x="19" y="1119"/>
                      <a:pt x="19" y="1149"/>
                      <a:pt x="44" y="1139"/>
                    </a:cubicBezTo>
                    <a:cubicBezTo>
                      <a:pt x="69" y="1130"/>
                      <a:pt x="69" y="1119"/>
                      <a:pt x="98" y="1107"/>
                    </a:cubicBezTo>
                    <a:cubicBezTo>
                      <a:pt x="127" y="1096"/>
                      <a:pt x="135" y="1100"/>
                      <a:pt x="182" y="1108"/>
                    </a:cubicBezTo>
                    <a:cubicBezTo>
                      <a:pt x="229" y="1115"/>
                      <a:pt x="196" y="1110"/>
                      <a:pt x="227" y="1098"/>
                    </a:cubicBezTo>
                    <a:cubicBezTo>
                      <a:pt x="259" y="1087"/>
                      <a:pt x="281" y="1093"/>
                      <a:pt x="267" y="1117"/>
                    </a:cubicBezTo>
                    <a:cubicBezTo>
                      <a:pt x="253" y="1141"/>
                      <a:pt x="234" y="1159"/>
                      <a:pt x="242" y="1177"/>
                    </a:cubicBezTo>
                    <a:cubicBezTo>
                      <a:pt x="250" y="1195"/>
                      <a:pt x="255" y="1226"/>
                      <a:pt x="255" y="1241"/>
                    </a:cubicBezTo>
                    <a:cubicBezTo>
                      <a:pt x="255" y="1256"/>
                      <a:pt x="231" y="1294"/>
                      <a:pt x="261" y="1308"/>
                    </a:cubicBezTo>
                    <a:cubicBezTo>
                      <a:pt x="291" y="1322"/>
                      <a:pt x="309" y="1326"/>
                      <a:pt x="333" y="1327"/>
                    </a:cubicBezTo>
                    <a:cubicBezTo>
                      <a:pt x="357" y="1328"/>
                      <a:pt x="366" y="1332"/>
                      <a:pt x="373" y="1354"/>
                    </a:cubicBezTo>
                    <a:cubicBezTo>
                      <a:pt x="380" y="1376"/>
                      <a:pt x="368" y="1380"/>
                      <a:pt x="356" y="1405"/>
                    </a:cubicBezTo>
                    <a:cubicBezTo>
                      <a:pt x="343" y="1430"/>
                      <a:pt x="336" y="1444"/>
                      <a:pt x="341" y="1467"/>
                    </a:cubicBezTo>
                    <a:cubicBezTo>
                      <a:pt x="346" y="1490"/>
                      <a:pt x="347" y="1521"/>
                      <a:pt x="332" y="1535"/>
                    </a:cubicBezTo>
                    <a:cubicBezTo>
                      <a:pt x="316" y="1548"/>
                      <a:pt x="319" y="1553"/>
                      <a:pt x="348" y="1557"/>
                    </a:cubicBezTo>
                    <a:cubicBezTo>
                      <a:pt x="377" y="1561"/>
                      <a:pt x="401" y="1549"/>
                      <a:pt x="436" y="1559"/>
                    </a:cubicBezTo>
                    <a:cubicBezTo>
                      <a:pt x="470" y="1570"/>
                      <a:pt x="454" y="1574"/>
                      <a:pt x="459" y="1596"/>
                    </a:cubicBezTo>
                    <a:cubicBezTo>
                      <a:pt x="464" y="1619"/>
                      <a:pt x="474" y="1659"/>
                      <a:pt x="496" y="1670"/>
                    </a:cubicBezTo>
                    <a:cubicBezTo>
                      <a:pt x="519" y="1681"/>
                      <a:pt x="534" y="1673"/>
                      <a:pt x="556" y="1682"/>
                    </a:cubicBezTo>
                    <a:cubicBezTo>
                      <a:pt x="578" y="1692"/>
                      <a:pt x="579" y="1706"/>
                      <a:pt x="603" y="1682"/>
                    </a:cubicBezTo>
                    <a:cubicBezTo>
                      <a:pt x="627" y="1659"/>
                      <a:pt x="647" y="1630"/>
                      <a:pt x="673" y="1650"/>
                    </a:cubicBezTo>
                    <a:cubicBezTo>
                      <a:pt x="700" y="1670"/>
                      <a:pt x="709" y="1703"/>
                      <a:pt x="717" y="1725"/>
                    </a:cubicBezTo>
                    <a:cubicBezTo>
                      <a:pt x="725" y="1747"/>
                      <a:pt x="745" y="1768"/>
                      <a:pt x="761" y="1760"/>
                    </a:cubicBezTo>
                    <a:cubicBezTo>
                      <a:pt x="778" y="1751"/>
                      <a:pt x="781" y="1755"/>
                      <a:pt x="800" y="1773"/>
                    </a:cubicBezTo>
                    <a:cubicBezTo>
                      <a:pt x="820" y="1790"/>
                      <a:pt x="834" y="1781"/>
                      <a:pt x="828" y="1747"/>
                    </a:cubicBezTo>
                    <a:cubicBezTo>
                      <a:pt x="822" y="1712"/>
                      <a:pt x="815" y="1678"/>
                      <a:pt x="819" y="1651"/>
                    </a:cubicBezTo>
                    <a:cubicBezTo>
                      <a:pt x="822" y="1624"/>
                      <a:pt x="821" y="1626"/>
                      <a:pt x="800" y="1588"/>
                    </a:cubicBezTo>
                    <a:cubicBezTo>
                      <a:pt x="780" y="1551"/>
                      <a:pt x="797" y="1525"/>
                      <a:pt x="812" y="1513"/>
                    </a:cubicBezTo>
                    <a:cubicBezTo>
                      <a:pt x="827" y="1501"/>
                      <a:pt x="857" y="1492"/>
                      <a:pt x="873" y="1490"/>
                    </a:cubicBezTo>
                    <a:cubicBezTo>
                      <a:pt x="888" y="1488"/>
                      <a:pt x="904" y="1510"/>
                      <a:pt x="915" y="1517"/>
                    </a:cubicBezTo>
                    <a:cubicBezTo>
                      <a:pt x="926" y="1524"/>
                      <a:pt x="936" y="1540"/>
                      <a:pt x="945" y="1514"/>
                    </a:cubicBezTo>
                    <a:cubicBezTo>
                      <a:pt x="954" y="1488"/>
                      <a:pt x="962" y="1455"/>
                      <a:pt x="984" y="1462"/>
                    </a:cubicBezTo>
                    <a:cubicBezTo>
                      <a:pt x="1007" y="1470"/>
                      <a:pt x="1034" y="1462"/>
                      <a:pt x="1046" y="1480"/>
                    </a:cubicBezTo>
                    <a:cubicBezTo>
                      <a:pt x="1059" y="1498"/>
                      <a:pt x="1058" y="1528"/>
                      <a:pt x="1080" y="1533"/>
                    </a:cubicBezTo>
                    <a:cubicBezTo>
                      <a:pt x="1103" y="1538"/>
                      <a:pt x="1111" y="1531"/>
                      <a:pt x="1115" y="1508"/>
                    </a:cubicBezTo>
                    <a:cubicBezTo>
                      <a:pt x="1119" y="1485"/>
                      <a:pt x="1160" y="1456"/>
                      <a:pt x="1166" y="1484"/>
                    </a:cubicBezTo>
                    <a:cubicBezTo>
                      <a:pt x="1173" y="1511"/>
                      <a:pt x="1190" y="1530"/>
                      <a:pt x="1196" y="1503"/>
                    </a:cubicBezTo>
                    <a:cubicBezTo>
                      <a:pt x="1201" y="1475"/>
                      <a:pt x="1225" y="1479"/>
                      <a:pt x="1237" y="1501"/>
                    </a:cubicBezTo>
                    <a:cubicBezTo>
                      <a:pt x="1249" y="1524"/>
                      <a:pt x="1274" y="1524"/>
                      <a:pt x="1280" y="1497"/>
                    </a:cubicBezTo>
                    <a:cubicBezTo>
                      <a:pt x="1286" y="1471"/>
                      <a:pt x="1315" y="1445"/>
                      <a:pt x="1334" y="1453"/>
                    </a:cubicBezTo>
                    <a:cubicBezTo>
                      <a:pt x="1352" y="1462"/>
                      <a:pt x="1356" y="1490"/>
                      <a:pt x="1378" y="1461"/>
                    </a:cubicBezTo>
                    <a:cubicBezTo>
                      <a:pt x="1401" y="1432"/>
                      <a:pt x="1406" y="1445"/>
                      <a:pt x="1419" y="1444"/>
                    </a:cubicBezTo>
                    <a:cubicBezTo>
                      <a:pt x="1432" y="1443"/>
                      <a:pt x="1446" y="1433"/>
                      <a:pt x="1447" y="1408"/>
                    </a:cubicBezTo>
                    <a:cubicBezTo>
                      <a:pt x="1447" y="1384"/>
                      <a:pt x="1458" y="1374"/>
                      <a:pt x="1494" y="1356"/>
                    </a:cubicBezTo>
                    <a:cubicBezTo>
                      <a:pt x="1531" y="1339"/>
                      <a:pt x="1565" y="1332"/>
                      <a:pt x="1576" y="1351"/>
                    </a:cubicBezTo>
                    <a:cubicBezTo>
                      <a:pt x="1579" y="1356"/>
                      <a:pt x="1583" y="1361"/>
                      <a:pt x="1588" y="1366"/>
                    </a:cubicBezTo>
                    <a:cubicBezTo>
                      <a:pt x="1588" y="1366"/>
                      <a:pt x="1605" y="1358"/>
                      <a:pt x="1615" y="1346"/>
                    </a:cubicBezTo>
                    <a:cubicBezTo>
                      <a:pt x="1626" y="1333"/>
                      <a:pt x="1637" y="1307"/>
                      <a:pt x="1662" y="1309"/>
                    </a:cubicBezTo>
                    <a:cubicBezTo>
                      <a:pt x="1687" y="1311"/>
                      <a:pt x="1705" y="1309"/>
                      <a:pt x="1710" y="1291"/>
                    </a:cubicBezTo>
                    <a:cubicBezTo>
                      <a:pt x="1714" y="1274"/>
                      <a:pt x="1706" y="1239"/>
                      <a:pt x="1716" y="1233"/>
                    </a:cubicBezTo>
                    <a:cubicBezTo>
                      <a:pt x="1725" y="1226"/>
                      <a:pt x="1717" y="1222"/>
                      <a:pt x="1711" y="1203"/>
                    </a:cubicBezTo>
                    <a:cubicBezTo>
                      <a:pt x="1705" y="1183"/>
                      <a:pt x="1698" y="1165"/>
                      <a:pt x="1693" y="1166"/>
                    </a:cubicBezTo>
                    <a:cubicBezTo>
                      <a:pt x="1687" y="1166"/>
                      <a:pt x="1667" y="1168"/>
                      <a:pt x="1659" y="1180"/>
                    </a:cubicBezTo>
                    <a:cubicBezTo>
                      <a:pt x="1652" y="1192"/>
                      <a:pt x="1644" y="1195"/>
                      <a:pt x="1628" y="1181"/>
                    </a:cubicBezTo>
                    <a:cubicBezTo>
                      <a:pt x="1612" y="1168"/>
                      <a:pt x="1603" y="1143"/>
                      <a:pt x="1590" y="1166"/>
                    </a:cubicBezTo>
                    <a:cubicBezTo>
                      <a:pt x="1577" y="1188"/>
                      <a:pt x="1568" y="1187"/>
                      <a:pt x="1558" y="1179"/>
                    </a:cubicBezTo>
                    <a:cubicBezTo>
                      <a:pt x="1549" y="1170"/>
                      <a:pt x="1539" y="1167"/>
                      <a:pt x="1533" y="1171"/>
                    </a:cubicBezTo>
                    <a:cubicBezTo>
                      <a:pt x="1527" y="1174"/>
                      <a:pt x="1520" y="1165"/>
                      <a:pt x="1524" y="1148"/>
                    </a:cubicBezTo>
                    <a:cubicBezTo>
                      <a:pt x="1527" y="1131"/>
                      <a:pt x="1520" y="1115"/>
                      <a:pt x="1507" y="1102"/>
                    </a:cubicBezTo>
                    <a:cubicBezTo>
                      <a:pt x="1494" y="1089"/>
                      <a:pt x="1486" y="1096"/>
                      <a:pt x="1477" y="1102"/>
                    </a:cubicBezTo>
                    <a:cubicBezTo>
                      <a:pt x="1468" y="1108"/>
                      <a:pt x="1463" y="1094"/>
                      <a:pt x="1450" y="1095"/>
                    </a:cubicBezTo>
                    <a:cubicBezTo>
                      <a:pt x="1438" y="1096"/>
                      <a:pt x="1430" y="1091"/>
                      <a:pt x="1430" y="1104"/>
                    </a:cubicBezTo>
                    <a:cubicBezTo>
                      <a:pt x="1430" y="1117"/>
                      <a:pt x="1421" y="1123"/>
                      <a:pt x="1411" y="1107"/>
                    </a:cubicBezTo>
                    <a:cubicBezTo>
                      <a:pt x="1402" y="1091"/>
                      <a:pt x="1391" y="1068"/>
                      <a:pt x="1386" y="1057"/>
                    </a:cubicBezTo>
                    <a:cubicBezTo>
                      <a:pt x="1382" y="1046"/>
                      <a:pt x="1368" y="1025"/>
                      <a:pt x="1383" y="1023"/>
                    </a:cubicBezTo>
                    <a:cubicBezTo>
                      <a:pt x="1399" y="1021"/>
                      <a:pt x="1403" y="1006"/>
                      <a:pt x="1414" y="998"/>
                    </a:cubicBezTo>
                    <a:cubicBezTo>
                      <a:pt x="1426" y="990"/>
                      <a:pt x="1417" y="978"/>
                      <a:pt x="1414" y="967"/>
                    </a:cubicBezTo>
                    <a:cubicBezTo>
                      <a:pt x="1412" y="956"/>
                      <a:pt x="1407" y="956"/>
                      <a:pt x="1421" y="945"/>
                    </a:cubicBezTo>
                    <a:cubicBezTo>
                      <a:pt x="1434" y="934"/>
                      <a:pt x="1444" y="929"/>
                      <a:pt x="1414" y="910"/>
                    </a:cubicBezTo>
                    <a:cubicBezTo>
                      <a:pt x="1384" y="891"/>
                      <a:pt x="1347" y="872"/>
                      <a:pt x="1344" y="858"/>
                    </a:cubicBezTo>
                    <a:cubicBezTo>
                      <a:pt x="1341" y="844"/>
                      <a:pt x="1347" y="822"/>
                      <a:pt x="1350" y="810"/>
                    </a:cubicBezTo>
                    <a:cubicBezTo>
                      <a:pt x="1354" y="799"/>
                      <a:pt x="1366" y="773"/>
                      <a:pt x="1368" y="757"/>
                    </a:cubicBezTo>
                    <a:cubicBezTo>
                      <a:pt x="1370" y="741"/>
                      <a:pt x="1363" y="720"/>
                      <a:pt x="1375" y="710"/>
                    </a:cubicBezTo>
                    <a:cubicBezTo>
                      <a:pt x="1387" y="701"/>
                      <a:pt x="1374" y="695"/>
                      <a:pt x="1370" y="683"/>
                    </a:cubicBezTo>
                    <a:cubicBezTo>
                      <a:pt x="1366" y="670"/>
                      <a:pt x="1363" y="660"/>
                      <a:pt x="1360" y="640"/>
                    </a:cubicBezTo>
                    <a:cubicBezTo>
                      <a:pt x="1356" y="620"/>
                      <a:pt x="1341" y="611"/>
                      <a:pt x="1335" y="621"/>
                    </a:cubicBezTo>
                    <a:cubicBezTo>
                      <a:pt x="1328" y="632"/>
                      <a:pt x="1315" y="627"/>
                      <a:pt x="1308" y="620"/>
                    </a:cubicBezTo>
                    <a:cubicBezTo>
                      <a:pt x="1302" y="613"/>
                      <a:pt x="1294" y="617"/>
                      <a:pt x="1286" y="627"/>
                    </a:cubicBezTo>
                    <a:cubicBezTo>
                      <a:pt x="1278" y="637"/>
                      <a:pt x="1268" y="652"/>
                      <a:pt x="1253" y="636"/>
                    </a:cubicBezTo>
                    <a:cubicBezTo>
                      <a:pt x="1237" y="620"/>
                      <a:pt x="1212" y="594"/>
                      <a:pt x="1223" y="576"/>
                    </a:cubicBezTo>
                    <a:cubicBezTo>
                      <a:pt x="1234" y="558"/>
                      <a:pt x="1230" y="551"/>
                      <a:pt x="1223" y="537"/>
                    </a:cubicBezTo>
                    <a:cubicBezTo>
                      <a:pt x="1217" y="523"/>
                      <a:pt x="1212" y="517"/>
                      <a:pt x="1228" y="507"/>
                    </a:cubicBezTo>
                    <a:cubicBezTo>
                      <a:pt x="1244" y="497"/>
                      <a:pt x="1239" y="489"/>
                      <a:pt x="1248" y="480"/>
                    </a:cubicBezTo>
                    <a:cubicBezTo>
                      <a:pt x="1257" y="471"/>
                      <a:pt x="1264" y="453"/>
                      <a:pt x="1283" y="456"/>
                    </a:cubicBezTo>
                    <a:cubicBezTo>
                      <a:pt x="1303" y="459"/>
                      <a:pt x="1296" y="461"/>
                      <a:pt x="1314" y="469"/>
                    </a:cubicBezTo>
                    <a:cubicBezTo>
                      <a:pt x="1331" y="477"/>
                      <a:pt x="1343" y="482"/>
                      <a:pt x="1344" y="465"/>
                    </a:cubicBezTo>
                    <a:cubicBezTo>
                      <a:pt x="1345" y="448"/>
                      <a:pt x="1365" y="443"/>
                      <a:pt x="1379" y="458"/>
                    </a:cubicBezTo>
                    <a:cubicBezTo>
                      <a:pt x="1392" y="472"/>
                      <a:pt x="1397" y="472"/>
                      <a:pt x="1409" y="472"/>
                    </a:cubicBezTo>
                    <a:cubicBezTo>
                      <a:pt x="1421" y="471"/>
                      <a:pt x="1427" y="487"/>
                      <a:pt x="1448" y="489"/>
                    </a:cubicBezTo>
                    <a:cubicBezTo>
                      <a:pt x="1468" y="490"/>
                      <a:pt x="1466" y="485"/>
                      <a:pt x="1471" y="468"/>
                    </a:cubicBezTo>
                    <a:cubicBezTo>
                      <a:pt x="1477" y="450"/>
                      <a:pt x="1492" y="448"/>
                      <a:pt x="1508" y="452"/>
                    </a:cubicBezTo>
                    <a:cubicBezTo>
                      <a:pt x="1524" y="455"/>
                      <a:pt x="1532" y="449"/>
                      <a:pt x="1536" y="435"/>
                    </a:cubicBezTo>
                    <a:cubicBezTo>
                      <a:pt x="1540" y="420"/>
                      <a:pt x="1530" y="370"/>
                      <a:pt x="1555" y="349"/>
                    </a:cubicBezTo>
                    <a:cubicBezTo>
                      <a:pt x="1581" y="327"/>
                      <a:pt x="1518" y="240"/>
                      <a:pt x="1518" y="240"/>
                    </a:cubicBezTo>
                    <a:cubicBezTo>
                      <a:pt x="1333" y="119"/>
                      <a:pt x="1333" y="119"/>
                      <a:pt x="1333" y="119"/>
                    </a:cubicBezTo>
                    <a:cubicBezTo>
                      <a:pt x="1132" y="190"/>
                      <a:pt x="1132" y="190"/>
                      <a:pt x="1132" y="190"/>
                    </a:cubicBezTo>
                    <a:cubicBezTo>
                      <a:pt x="1132" y="190"/>
                      <a:pt x="565" y="31"/>
                      <a:pt x="554" y="31"/>
                    </a:cubicBezTo>
                    <a:cubicBezTo>
                      <a:pt x="543" y="31"/>
                      <a:pt x="191" y="0"/>
                      <a:pt x="191" y="0"/>
                    </a:cubicBezTo>
                    <a:cubicBezTo>
                      <a:pt x="153" y="216"/>
                      <a:pt x="153" y="216"/>
                      <a:pt x="153" y="216"/>
                    </a:cubicBezTo>
                    <a:cubicBezTo>
                      <a:pt x="153" y="274"/>
                      <a:pt x="153" y="274"/>
                      <a:pt x="153" y="274"/>
                    </a:cubicBezTo>
                    <a:lnTo>
                      <a:pt x="154" y="279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6" name="Freeform 29"/>
              <p:cNvSpPr/>
              <p:nvPr/>
            </p:nvSpPr>
            <p:spPr bwMode="auto">
              <a:xfrm>
                <a:off x="3846091" y="4457402"/>
                <a:ext cx="1212850" cy="1041400"/>
              </a:xfrm>
              <a:custGeom>
                <a:avLst/>
                <a:gdLst>
                  <a:gd name="T0" fmla="*/ 398 w 2169"/>
                  <a:gd name="T1" fmla="*/ 1258 h 1862"/>
                  <a:gd name="T2" fmla="*/ 468 w 2169"/>
                  <a:gd name="T3" fmla="*/ 1396 h 1862"/>
                  <a:gd name="T4" fmla="*/ 534 w 2169"/>
                  <a:gd name="T5" fmla="*/ 1345 h 1862"/>
                  <a:gd name="T6" fmla="*/ 600 w 2169"/>
                  <a:gd name="T7" fmla="*/ 1317 h 1862"/>
                  <a:gd name="T8" fmla="*/ 578 w 2169"/>
                  <a:gd name="T9" fmla="*/ 1366 h 1862"/>
                  <a:gd name="T10" fmla="*/ 634 w 2169"/>
                  <a:gd name="T11" fmla="*/ 1469 h 1862"/>
                  <a:gd name="T12" fmla="*/ 732 w 2169"/>
                  <a:gd name="T13" fmla="*/ 1515 h 1862"/>
                  <a:gd name="T14" fmla="*/ 790 w 2169"/>
                  <a:gd name="T15" fmla="*/ 1604 h 1862"/>
                  <a:gd name="T16" fmla="*/ 826 w 2169"/>
                  <a:gd name="T17" fmla="*/ 1693 h 1862"/>
                  <a:gd name="T18" fmla="*/ 841 w 2169"/>
                  <a:gd name="T19" fmla="*/ 1761 h 1862"/>
                  <a:gd name="T20" fmla="*/ 915 w 2169"/>
                  <a:gd name="T21" fmla="*/ 1830 h 1862"/>
                  <a:gd name="T22" fmla="*/ 1006 w 2169"/>
                  <a:gd name="T23" fmla="*/ 1827 h 1862"/>
                  <a:gd name="T24" fmla="*/ 1063 w 2169"/>
                  <a:gd name="T25" fmla="*/ 1810 h 1862"/>
                  <a:gd name="T26" fmla="*/ 1131 w 2169"/>
                  <a:gd name="T27" fmla="*/ 1757 h 1862"/>
                  <a:gd name="T28" fmla="*/ 1112 w 2169"/>
                  <a:gd name="T29" fmla="*/ 1652 h 1862"/>
                  <a:gd name="T30" fmla="*/ 1132 w 2169"/>
                  <a:gd name="T31" fmla="*/ 1572 h 1862"/>
                  <a:gd name="T32" fmla="*/ 1209 w 2169"/>
                  <a:gd name="T33" fmla="*/ 1511 h 1862"/>
                  <a:gd name="T34" fmla="*/ 1236 w 2169"/>
                  <a:gd name="T35" fmla="*/ 1435 h 1862"/>
                  <a:gd name="T36" fmla="*/ 1260 w 2169"/>
                  <a:gd name="T37" fmla="*/ 1384 h 1862"/>
                  <a:gd name="T38" fmla="*/ 1331 w 2169"/>
                  <a:gd name="T39" fmla="*/ 1337 h 1862"/>
                  <a:gd name="T40" fmla="*/ 1388 w 2169"/>
                  <a:gd name="T41" fmla="*/ 1321 h 1862"/>
                  <a:gd name="T42" fmla="*/ 1400 w 2169"/>
                  <a:gd name="T43" fmla="*/ 1388 h 1862"/>
                  <a:gd name="T44" fmla="*/ 1453 w 2169"/>
                  <a:gd name="T45" fmla="*/ 1477 h 1862"/>
                  <a:gd name="T46" fmla="*/ 1544 w 2169"/>
                  <a:gd name="T47" fmla="*/ 1424 h 1862"/>
                  <a:gd name="T48" fmla="*/ 1597 w 2169"/>
                  <a:gd name="T49" fmla="*/ 1489 h 1862"/>
                  <a:gd name="T50" fmla="*/ 1697 w 2169"/>
                  <a:gd name="T51" fmla="*/ 1507 h 1862"/>
                  <a:gd name="T52" fmla="*/ 1761 w 2169"/>
                  <a:gd name="T53" fmla="*/ 1455 h 1862"/>
                  <a:gd name="T54" fmla="*/ 1710 w 2169"/>
                  <a:gd name="T55" fmla="*/ 1402 h 1862"/>
                  <a:gd name="T56" fmla="*/ 1644 w 2169"/>
                  <a:gd name="T57" fmla="*/ 1332 h 1862"/>
                  <a:gd name="T58" fmla="*/ 1719 w 2169"/>
                  <a:gd name="T59" fmla="*/ 1275 h 1862"/>
                  <a:gd name="T60" fmla="*/ 1786 w 2169"/>
                  <a:gd name="T61" fmla="*/ 1303 h 1862"/>
                  <a:gd name="T62" fmla="*/ 1675 w 2169"/>
                  <a:gd name="T63" fmla="*/ 1221 h 1862"/>
                  <a:gd name="T64" fmla="*/ 1609 w 2169"/>
                  <a:gd name="T65" fmla="*/ 1098 h 1862"/>
                  <a:gd name="T66" fmla="*/ 1673 w 2169"/>
                  <a:gd name="T67" fmla="*/ 1011 h 1862"/>
                  <a:gd name="T68" fmla="*/ 1675 w 2169"/>
                  <a:gd name="T69" fmla="*/ 890 h 1862"/>
                  <a:gd name="T70" fmla="*/ 1762 w 2169"/>
                  <a:gd name="T71" fmla="*/ 947 h 1862"/>
                  <a:gd name="T72" fmla="*/ 1852 w 2169"/>
                  <a:gd name="T73" fmla="*/ 977 h 1862"/>
                  <a:gd name="T74" fmla="*/ 1969 w 2169"/>
                  <a:gd name="T75" fmla="*/ 913 h 1862"/>
                  <a:gd name="T76" fmla="*/ 1999 w 2169"/>
                  <a:gd name="T77" fmla="*/ 816 h 1862"/>
                  <a:gd name="T78" fmla="*/ 2126 w 2169"/>
                  <a:gd name="T79" fmla="*/ 714 h 1862"/>
                  <a:gd name="T80" fmla="*/ 2160 w 2169"/>
                  <a:gd name="T81" fmla="*/ 586 h 1862"/>
                  <a:gd name="T82" fmla="*/ 2119 w 2169"/>
                  <a:gd name="T83" fmla="*/ 499 h 1862"/>
                  <a:gd name="T84" fmla="*/ 1974 w 2169"/>
                  <a:gd name="T85" fmla="*/ 473 h 1862"/>
                  <a:gd name="T86" fmla="*/ 1893 w 2169"/>
                  <a:gd name="T87" fmla="*/ 449 h 1862"/>
                  <a:gd name="T88" fmla="*/ 1759 w 2169"/>
                  <a:gd name="T89" fmla="*/ 434 h 1862"/>
                  <a:gd name="T90" fmla="*/ 1632 w 2169"/>
                  <a:gd name="T91" fmla="*/ 345 h 1862"/>
                  <a:gd name="T92" fmla="*/ 676 w 2169"/>
                  <a:gd name="T93" fmla="*/ 141 h 1862"/>
                  <a:gd name="T94" fmla="*/ 119 w 2169"/>
                  <a:gd name="T95" fmla="*/ 623 h 18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169" h="1862">
                    <a:moveTo>
                      <a:pt x="397" y="1154"/>
                    </a:moveTo>
                    <a:cubicBezTo>
                      <a:pt x="397" y="1154"/>
                      <a:pt x="400" y="1183"/>
                      <a:pt x="397" y="1194"/>
                    </a:cubicBezTo>
                    <a:cubicBezTo>
                      <a:pt x="394" y="1205"/>
                      <a:pt x="399" y="1249"/>
                      <a:pt x="398" y="1258"/>
                    </a:cubicBezTo>
                    <a:cubicBezTo>
                      <a:pt x="398" y="1267"/>
                      <a:pt x="388" y="1303"/>
                      <a:pt x="402" y="1329"/>
                    </a:cubicBezTo>
                    <a:cubicBezTo>
                      <a:pt x="415" y="1354"/>
                      <a:pt x="436" y="1365"/>
                      <a:pt x="442" y="1374"/>
                    </a:cubicBezTo>
                    <a:cubicBezTo>
                      <a:pt x="448" y="1382"/>
                      <a:pt x="463" y="1409"/>
                      <a:pt x="468" y="1396"/>
                    </a:cubicBezTo>
                    <a:cubicBezTo>
                      <a:pt x="474" y="1382"/>
                      <a:pt x="482" y="1382"/>
                      <a:pt x="491" y="1380"/>
                    </a:cubicBezTo>
                    <a:cubicBezTo>
                      <a:pt x="501" y="1379"/>
                      <a:pt x="522" y="1372"/>
                      <a:pt x="528" y="1365"/>
                    </a:cubicBezTo>
                    <a:cubicBezTo>
                      <a:pt x="534" y="1359"/>
                      <a:pt x="538" y="1363"/>
                      <a:pt x="534" y="1345"/>
                    </a:cubicBezTo>
                    <a:cubicBezTo>
                      <a:pt x="531" y="1327"/>
                      <a:pt x="536" y="1320"/>
                      <a:pt x="547" y="1310"/>
                    </a:cubicBezTo>
                    <a:cubicBezTo>
                      <a:pt x="558" y="1300"/>
                      <a:pt x="566" y="1296"/>
                      <a:pt x="578" y="1299"/>
                    </a:cubicBezTo>
                    <a:cubicBezTo>
                      <a:pt x="590" y="1303"/>
                      <a:pt x="596" y="1305"/>
                      <a:pt x="600" y="1317"/>
                    </a:cubicBezTo>
                    <a:cubicBezTo>
                      <a:pt x="604" y="1328"/>
                      <a:pt x="609" y="1334"/>
                      <a:pt x="613" y="1341"/>
                    </a:cubicBezTo>
                    <a:cubicBezTo>
                      <a:pt x="618" y="1348"/>
                      <a:pt x="617" y="1356"/>
                      <a:pt x="611" y="1357"/>
                    </a:cubicBezTo>
                    <a:cubicBezTo>
                      <a:pt x="604" y="1358"/>
                      <a:pt x="579" y="1354"/>
                      <a:pt x="578" y="1366"/>
                    </a:cubicBezTo>
                    <a:cubicBezTo>
                      <a:pt x="577" y="1379"/>
                      <a:pt x="588" y="1385"/>
                      <a:pt x="592" y="1394"/>
                    </a:cubicBezTo>
                    <a:cubicBezTo>
                      <a:pt x="597" y="1404"/>
                      <a:pt x="602" y="1419"/>
                      <a:pt x="609" y="1435"/>
                    </a:cubicBezTo>
                    <a:cubicBezTo>
                      <a:pt x="617" y="1450"/>
                      <a:pt x="619" y="1465"/>
                      <a:pt x="634" y="1469"/>
                    </a:cubicBezTo>
                    <a:cubicBezTo>
                      <a:pt x="650" y="1472"/>
                      <a:pt x="653" y="1471"/>
                      <a:pt x="668" y="1469"/>
                    </a:cubicBezTo>
                    <a:cubicBezTo>
                      <a:pt x="683" y="1466"/>
                      <a:pt x="708" y="1467"/>
                      <a:pt x="714" y="1481"/>
                    </a:cubicBezTo>
                    <a:cubicBezTo>
                      <a:pt x="721" y="1494"/>
                      <a:pt x="729" y="1502"/>
                      <a:pt x="732" y="1515"/>
                    </a:cubicBezTo>
                    <a:cubicBezTo>
                      <a:pt x="736" y="1529"/>
                      <a:pt x="742" y="1536"/>
                      <a:pt x="745" y="1548"/>
                    </a:cubicBezTo>
                    <a:cubicBezTo>
                      <a:pt x="749" y="1560"/>
                      <a:pt x="756" y="1576"/>
                      <a:pt x="768" y="1580"/>
                    </a:cubicBezTo>
                    <a:cubicBezTo>
                      <a:pt x="780" y="1585"/>
                      <a:pt x="784" y="1597"/>
                      <a:pt x="790" y="1604"/>
                    </a:cubicBezTo>
                    <a:cubicBezTo>
                      <a:pt x="796" y="1611"/>
                      <a:pt x="800" y="1616"/>
                      <a:pt x="799" y="1630"/>
                    </a:cubicBezTo>
                    <a:cubicBezTo>
                      <a:pt x="797" y="1644"/>
                      <a:pt x="794" y="1652"/>
                      <a:pt x="806" y="1666"/>
                    </a:cubicBezTo>
                    <a:cubicBezTo>
                      <a:pt x="818" y="1679"/>
                      <a:pt x="825" y="1682"/>
                      <a:pt x="826" y="1693"/>
                    </a:cubicBezTo>
                    <a:cubicBezTo>
                      <a:pt x="827" y="1704"/>
                      <a:pt x="834" y="1711"/>
                      <a:pt x="839" y="1709"/>
                    </a:cubicBezTo>
                    <a:cubicBezTo>
                      <a:pt x="844" y="1707"/>
                      <a:pt x="839" y="1715"/>
                      <a:pt x="839" y="1725"/>
                    </a:cubicBezTo>
                    <a:cubicBezTo>
                      <a:pt x="838" y="1736"/>
                      <a:pt x="833" y="1747"/>
                      <a:pt x="841" y="1761"/>
                    </a:cubicBezTo>
                    <a:cubicBezTo>
                      <a:pt x="849" y="1775"/>
                      <a:pt x="856" y="1786"/>
                      <a:pt x="859" y="1800"/>
                    </a:cubicBezTo>
                    <a:cubicBezTo>
                      <a:pt x="861" y="1814"/>
                      <a:pt x="863" y="1822"/>
                      <a:pt x="873" y="1821"/>
                    </a:cubicBezTo>
                    <a:cubicBezTo>
                      <a:pt x="882" y="1821"/>
                      <a:pt x="901" y="1813"/>
                      <a:pt x="915" y="1830"/>
                    </a:cubicBezTo>
                    <a:cubicBezTo>
                      <a:pt x="928" y="1846"/>
                      <a:pt x="910" y="1855"/>
                      <a:pt x="936" y="1859"/>
                    </a:cubicBezTo>
                    <a:cubicBezTo>
                      <a:pt x="962" y="1862"/>
                      <a:pt x="966" y="1858"/>
                      <a:pt x="971" y="1850"/>
                    </a:cubicBezTo>
                    <a:cubicBezTo>
                      <a:pt x="976" y="1843"/>
                      <a:pt x="994" y="1828"/>
                      <a:pt x="1006" y="1827"/>
                    </a:cubicBezTo>
                    <a:cubicBezTo>
                      <a:pt x="1018" y="1826"/>
                      <a:pt x="1022" y="1820"/>
                      <a:pt x="1025" y="1815"/>
                    </a:cubicBezTo>
                    <a:cubicBezTo>
                      <a:pt x="1028" y="1810"/>
                      <a:pt x="1044" y="1803"/>
                      <a:pt x="1049" y="1800"/>
                    </a:cubicBezTo>
                    <a:cubicBezTo>
                      <a:pt x="1054" y="1798"/>
                      <a:pt x="1064" y="1797"/>
                      <a:pt x="1063" y="1810"/>
                    </a:cubicBezTo>
                    <a:cubicBezTo>
                      <a:pt x="1062" y="1823"/>
                      <a:pt x="1065" y="1831"/>
                      <a:pt x="1074" y="1829"/>
                    </a:cubicBezTo>
                    <a:cubicBezTo>
                      <a:pt x="1082" y="1827"/>
                      <a:pt x="1093" y="1816"/>
                      <a:pt x="1099" y="1806"/>
                    </a:cubicBezTo>
                    <a:cubicBezTo>
                      <a:pt x="1104" y="1797"/>
                      <a:pt x="1131" y="1771"/>
                      <a:pt x="1131" y="1757"/>
                    </a:cubicBezTo>
                    <a:cubicBezTo>
                      <a:pt x="1131" y="1743"/>
                      <a:pt x="1139" y="1734"/>
                      <a:pt x="1139" y="1724"/>
                    </a:cubicBezTo>
                    <a:cubicBezTo>
                      <a:pt x="1139" y="1714"/>
                      <a:pt x="1145" y="1690"/>
                      <a:pt x="1128" y="1681"/>
                    </a:cubicBezTo>
                    <a:cubicBezTo>
                      <a:pt x="1112" y="1673"/>
                      <a:pt x="1110" y="1665"/>
                      <a:pt x="1112" y="1652"/>
                    </a:cubicBezTo>
                    <a:cubicBezTo>
                      <a:pt x="1114" y="1640"/>
                      <a:pt x="1118" y="1632"/>
                      <a:pt x="1117" y="1621"/>
                    </a:cubicBezTo>
                    <a:cubicBezTo>
                      <a:pt x="1117" y="1611"/>
                      <a:pt x="1109" y="1604"/>
                      <a:pt x="1119" y="1594"/>
                    </a:cubicBezTo>
                    <a:cubicBezTo>
                      <a:pt x="1130" y="1583"/>
                      <a:pt x="1127" y="1581"/>
                      <a:pt x="1132" y="1572"/>
                    </a:cubicBezTo>
                    <a:cubicBezTo>
                      <a:pt x="1138" y="1564"/>
                      <a:pt x="1157" y="1556"/>
                      <a:pt x="1169" y="1552"/>
                    </a:cubicBezTo>
                    <a:cubicBezTo>
                      <a:pt x="1182" y="1548"/>
                      <a:pt x="1187" y="1541"/>
                      <a:pt x="1195" y="1535"/>
                    </a:cubicBezTo>
                    <a:cubicBezTo>
                      <a:pt x="1202" y="1529"/>
                      <a:pt x="1208" y="1523"/>
                      <a:pt x="1209" y="1511"/>
                    </a:cubicBezTo>
                    <a:cubicBezTo>
                      <a:pt x="1211" y="1499"/>
                      <a:pt x="1213" y="1500"/>
                      <a:pt x="1223" y="1489"/>
                    </a:cubicBezTo>
                    <a:cubicBezTo>
                      <a:pt x="1234" y="1479"/>
                      <a:pt x="1236" y="1472"/>
                      <a:pt x="1238" y="1462"/>
                    </a:cubicBezTo>
                    <a:cubicBezTo>
                      <a:pt x="1239" y="1452"/>
                      <a:pt x="1249" y="1438"/>
                      <a:pt x="1236" y="1435"/>
                    </a:cubicBezTo>
                    <a:cubicBezTo>
                      <a:pt x="1223" y="1433"/>
                      <a:pt x="1209" y="1426"/>
                      <a:pt x="1219" y="1414"/>
                    </a:cubicBezTo>
                    <a:cubicBezTo>
                      <a:pt x="1229" y="1402"/>
                      <a:pt x="1231" y="1396"/>
                      <a:pt x="1243" y="1395"/>
                    </a:cubicBezTo>
                    <a:cubicBezTo>
                      <a:pt x="1254" y="1394"/>
                      <a:pt x="1254" y="1395"/>
                      <a:pt x="1260" y="1384"/>
                    </a:cubicBezTo>
                    <a:cubicBezTo>
                      <a:pt x="1265" y="1372"/>
                      <a:pt x="1264" y="1376"/>
                      <a:pt x="1280" y="1380"/>
                    </a:cubicBezTo>
                    <a:cubicBezTo>
                      <a:pt x="1296" y="1384"/>
                      <a:pt x="1303" y="1382"/>
                      <a:pt x="1311" y="1372"/>
                    </a:cubicBezTo>
                    <a:cubicBezTo>
                      <a:pt x="1320" y="1362"/>
                      <a:pt x="1326" y="1350"/>
                      <a:pt x="1331" y="1337"/>
                    </a:cubicBezTo>
                    <a:cubicBezTo>
                      <a:pt x="1335" y="1323"/>
                      <a:pt x="1337" y="1316"/>
                      <a:pt x="1348" y="1310"/>
                    </a:cubicBezTo>
                    <a:cubicBezTo>
                      <a:pt x="1359" y="1305"/>
                      <a:pt x="1366" y="1301"/>
                      <a:pt x="1374" y="1305"/>
                    </a:cubicBezTo>
                    <a:cubicBezTo>
                      <a:pt x="1383" y="1309"/>
                      <a:pt x="1406" y="1314"/>
                      <a:pt x="1388" y="1321"/>
                    </a:cubicBezTo>
                    <a:cubicBezTo>
                      <a:pt x="1370" y="1327"/>
                      <a:pt x="1374" y="1333"/>
                      <a:pt x="1372" y="1344"/>
                    </a:cubicBezTo>
                    <a:cubicBezTo>
                      <a:pt x="1369" y="1355"/>
                      <a:pt x="1372" y="1372"/>
                      <a:pt x="1383" y="1372"/>
                    </a:cubicBezTo>
                    <a:cubicBezTo>
                      <a:pt x="1394" y="1372"/>
                      <a:pt x="1413" y="1370"/>
                      <a:pt x="1400" y="1388"/>
                    </a:cubicBezTo>
                    <a:cubicBezTo>
                      <a:pt x="1386" y="1405"/>
                      <a:pt x="1375" y="1414"/>
                      <a:pt x="1380" y="1428"/>
                    </a:cubicBezTo>
                    <a:cubicBezTo>
                      <a:pt x="1385" y="1443"/>
                      <a:pt x="1395" y="1458"/>
                      <a:pt x="1404" y="1462"/>
                    </a:cubicBezTo>
                    <a:cubicBezTo>
                      <a:pt x="1414" y="1466"/>
                      <a:pt x="1438" y="1480"/>
                      <a:pt x="1453" y="1477"/>
                    </a:cubicBezTo>
                    <a:cubicBezTo>
                      <a:pt x="1468" y="1473"/>
                      <a:pt x="1488" y="1467"/>
                      <a:pt x="1501" y="1464"/>
                    </a:cubicBezTo>
                    <a:cubicBezTo>
                      <a:pt x="1514" y="1461"/>
                      <a:pt x="1513" y="1459"/>
                      <a:pt x="1520" y="1444"/>
                    </a:cubicBezTo>
                    <a:cubicBezTo>
                      <a:pt x="1527" y="1430"/>
                      <a:pt x="1520" y="1413"/>
                      <a:pt x="1544" y="1424"/>
                    </a:cubicBezTo>
                    <a:cubicBezTo>
                      <a:pt x="1568" y="1434"/>
                      <a:pt x="1575" y="1434"/>
                      <a:pt x="1575" y="1445"/>
                    </a:cubicBezTo>
                    <a:cubicBezTo>
                      <a:pt x="1576" y="1455"/>
                      <a:pt x="1569" y="1459"/>
                      <a:pt x="1575" y="1472"/>
                    </a:cubicBezTo>
                    <a:cubicBezTo>
                      <a:pt x="1582" y="1485"/>
                      <a:pt x="1579" y="1490"/>
                      <a:pt x="1597" y="1489"/>
                    </a:cubicBezTo>
                    <a:cubicBezTo>
                      <a:pt x="1615" y="1488"/>
                      <a:pt x="1611" y="1491"/>
                      <a:pt x="1625" y="1484"/>
                    </a:cubicBezTo>
                    <a:cubicBezTo>
                      <a:pt x="1638" y="1478"/>
                      <a:pt x="1654" y="1483"/>
                      <a:pt x="1668" y="1493"/>
                    </a:cubicBezTo>
                    <a:cubicBezTo>
                      <a:pt x="1682" y="1503"/>
                      <a:pt x="1685" y="1523"/>
                      <a:pt x="1697" y="1507"/>
                    </a:cubicBezTo>
                    <a:cubicBezTo>
                      <a:pt x="1709" y="1491"/>
                      <a:pt x="1715" y="1496"/>
                      <a:pt x="1722" y="1498"/>
                    </a:cubicBezTo>
                    <a:cubicBezTo>
                      <a:pt x="1730" y="1501"/>
                      <a:pt x="1733" y="1496"/>
                      <a:pt x="1742" y="1484"/>
                    </a:cubicBezTo>
                    <a:cubicBezTo>
                      <a:pt x="1751" y="1472"/>
                      <a:pt x="1751" y="1461"/>
                      <a:pt x="1761" y="1455"/>
                    </a:cubicBezTo>
                    <a:cubicBezTo>
                      <a:pt x="1771" y="1449"/>
                      <a:pt x="1775" y="1442"/>
                      <a:pt x="1768" y="1432"/>
                    </a:cubicBezTo>
                    <a:cubicBezTo>
                      <a:pt x="1761" y="1422"/>
                      <a:pt x="1739" y="1422"/>
                      <a:pt x="1732" y="1411"/>
                    </a:cubicBezTo>
                    <a:cubicBezTo>
                      <a:pt x="1726" y="1401"/>
                      <a:pt x="1719" y="1403"/>
                      <a:pt x="1710" y="1402"/>
                    </a:cubicBezTo>
                    <a:cubicBezTo>
                      <a:pt x="1702" y="1402"/>
                      <a:pt x="1704" y="1393"/>
                      <a:pt x="1697" y="1380"/>
                    </a:cubicBezTo>
                    <a:cubicBezTo>
                      <a:pt x="1690" y="1366"/>
                      <a:pt x="1680" y="1359"/>
                      <a:pt x="1664" y="1357"/>
                    </a:cubicBezTo>
                    <a:cubicBezTo>
                      <a:pt x="1647" y="1355"/>
                      <a:pt x="1641" y="1342"/>
                      <a:pt x="1644" y="1332"/>
                    </a:cubicBezTo>
                    <a:cubicBezTo>
                      <a:pt x="1646" y="1322"/>
                      <a:pt x="1649" y="1309"/>
                      <a:pt x="1666" y="1306"/>
                    </a:cubicBezTo>
                    <a:cubicBezTo>
                      <a:pt x="1683" y="1303"/>
                      <a:pt x="1701" y="1304"/>
                      <a:pt x="1702" y="1295"/>
                    </a:cubicBezTo>
                    <a:cubicBezTo>
                      <a:pt x="1703" y="1285"/>
                      <a:pt x="1708" y="1267"/>
                      <a:pt x="1719" y="1275"/>
                    </a:cubicBezTo>
                    <a:cubicBezTo>
                      <a:pt x="1731" y="1282"/>
                      <a:pt x="1752" y="1303"/>
                      <a:pt x="1758" y="1311"/>
                    </a:cubicBezTo>
                    <a:cubicBezTo>
                      <a:pt x="1764" y="1319"/>
                      <a:pt x="1775" y="1340"/>
                      <a:pt x="1780" y="1332"/>
                    </a:cubicBezTo>
                    <a:cubicBezTo>
                      <a:pt x="1785" y="1325"/>
                      <a:pt x="1795" y="1319"/>
                      <a:pt x="1786" y="1303"/>
                    </a:cubicBezTo>
                    <a:cubicBezTo>
                      <a:pt x="1776" y="1286"/>
                      <a:pt x="1755" y="1262"/>
                      <a:pt x="1751" y="1252"/>
                    </a:cubicBezTo>
                    <a:cubicBezTo>
                      <a:pt x="1747" y="1242"/>
                      <a:pt x="1726" y="1226"/>
                      <a:pt x="1712" y="1230"/>
                    </a:cubicBezTo>
                    <a:cubicBezTo>
                      <a:pt x="1698" y="1234"/>
                      <a:pt x="1677" y="1241"/>
                      <a:pt x="1675" y="1221"/>
                    </a:cubicBezTo>
                    <a:cubicBezTo>
                      <a:pt x="1672" y="1202"/>
                      <a:pt x="1678" y="1164"/>
                      <a:pt x="1646" y="1163"/>
                    </a:cubicBezTo>
                    <a:cubicBezTo>
                      <a:pt x="1614" y="1161"/>
                      <a:pt x="1613" y="1158"/>
                      <a:pt x="1612" y="1144"/>
                    </a:cubicBezTo>
                    <a:cubicBezTo>
                      <a:pt x="1612" y="1131"/>
                      <a:pt x="1613" y="1110"/>
                      <a:pt x="1609" y="1098"/>
                    </a:cubicBezTo>
                    <a:cubicBezTo>
                      <a:pt x="1606" y="1085"/>
                      <a:pt x="1603" y="1071"/>
                      <a:pt x="1616" y="1068"/>
                    </a:cubicBezTo>
                    <a:cubicBezTo>
                      <a:pt x="1629" y="1064"/>
                      <a:pt x="1649" y="1064"/>
                      <a:pt x="1661" y="1050"/>
                    </a:cubicBezTo>
                    <a:cubicBezTo>
                      <a:pt x="1673" y="1035"/>
                      <a:pt x="1676" y="1026"/>
                      <a:pt x="1673" y="1011"/>
                    </a:cubicBezTo>
                    <a:cubicBezTo>
                      <a:pt x="1669" y="997"/>
                      <a:pt x="1658" y="968"/>
                      <a:pt x="1652" y="957"/>
                    </a:cubicBezTo>
                    <a:cubicBezTo>
                      <a:pt x="1646" y="945"/>
                      <a:pt x="1642" y="924"/>
                      <a:pt x="1649" y="914"/>
                    </a:cubicBezTo>
                    <a:cubicBezTo>
                      <a:pt x="1655" y="904"/>
                      <a:pt x="1667" y="893"/>
                      <a:pt x="1675" y="890"/>
                    </a:cubicBezTo>
                    <a:cubicBezTo>
                      <a:pt x="1683" y="887"/>
                      <a:pt x="1692" y="886"/>
                      <a:pt x="1709" y="893"/>
                    </a:cubicBezTo>
                    <a:cubicBezTo>
                      <a:pt x="1727" y="899"/>
                      <a:pt x="1734" y="917"/>
                      <a:pt x="1743" y="932"/>
                    </a:cubicBezTo>
                    <a:cubicBezTo>
                      <a:pt x="1751" y="946"/>
                      <a:pt x="1747" y="955"/>
                      <a:pt x="1762" y="947"/>
                    </a:cubicBezTo>
                    <a:cubicBezTo>
                      <a:pt x="1777" y="939"/>
                      <a:pt x="1778" y="938"/>
                      <a:pt x="1793" y="935"/>
                    </a:cubicBezTo>
                    <a:cubicBezTo>
                      <a:pt x="1807" y="932"/>
                      <a:pt x="1818" y="933"/>
                      <a:pt x="1830" y="951"/>
                    </a:cubicBezTo>
                    <a:cubicBezTo>
                      <a:pt x="1842" y="969"/>
                      <a:pt x="1838" y="967"/>
                      <a:pt x="1852" y="977"/>
                    </a:cubicBezTo>
                    <a:cubicBezTo>
                      <a:pt x="1867" y="988"/>
                      <a:pt x="1885" y="988"/>
                      <a:pt x="1898" y="986"/>
                    </a:cubicBezTo>
                    <a:cubicBezTo>
                      <a:pt x="1911" y="984"/>
                      <a:pt x="1937" y="980"/>
                      <a:pt x="1942" y="965"/>
                    </a:cubicBezTo>
                    <a:cubicBezTo>
                      <a:pt x="1947" y="951"/>
                      <a:pt x="1966" y="925"/>
                      <a:pt x="1969" y="913"/>
                    </a:cubicBezTo>
                    <a:cubicBezTo>
                      <a:pt x="1973" y="900"/>
                      <a:pt x="1975" y="885"/>
                      <a:pt x="1983" y="872"/>
                    </a:cubicBezTo>
                    <a:cubicBezTo>
                      <a:pt x="1991" y="860"/>
                      <a:pt x="1996" y="847"/>
                      <a:pt x="1992" y="837"/>
                    </a:cubicBezTo>
                    <a:cubicBezTo>
                      <a:pt x="1987" y="826"/>
                      <a:pt x="1985" y="820"/>
                      <a:pt x="1999" y="816"/>
                    </a:cubicBezTo>
                    <a:cubicBezTo>
                      <a:pt x="2014" y="811"/>
                      <a:pt x="2032" y="808"/>
                      <a:pt x="2052" y="805"/>
                    </a:cubicBezTo>
                    <a:cubicBezTo>
                      <a:pt x="2071" y="801"/>
                      <a:pt x="2089" y="786"/>
                      <a:pt x="2095" y="777"/>
                    </a:cubicBezTo>
                    <a:cubicBezTo>
                      <a:pt x="2101" y="768"/>
                      <a:pt x="2125" y="725"/>
                      <a:pt x="2126" y="714"/>
                    </a:cubicBezTo>
                    <a:cubicBezTo>
                      <a:pt x="2128" y="702"/>
                      <a:pt x="2136" y="671"/>
                      <a:pt x="2140" y="659"/>
                    </a:cubicBezTo>
                    <a:cubicBezTo>
                      <a:pt x="2144" y="647"/>
                      <a:pt x="2150" y="631"/>
                      <a:pt x="2157" y="620"/>
                    </a:cubicBezTo>
                    <a:cubicBezTo>
                      <a:pt x="2164" y="610"/>
                      <a:pt x="2169" y="597"/>
                      <a:pt x="2160" y="586"/>
                    </a:cubicBezTo>
                    <a:cubicBezTo>
                      <a:pt x="2151" y="575"/>
                      <a:pt x="2137" y="561"/>
                      <a:pt x="2147" y="550"/>
                    </a:cubicBezTo>
                    <a:cubicBezTo>
                      <a:pt x="2157" y="540"/>
                      <a:pt x="2168" y="530"/>
                      <a:pt x="2168" y="518"/>
                    </a:cubicBezTo>
                    <a:cubicBezTo>
                      <a:pt x="2168" y="506"/>
                      <a:pt x="2145" y="486"/>
                      <a:pt x="2119" y="499"/>
                    </a:cubicBezTo>
                    <a:cubicBezTo>
                      <a:pt x="2094" y="512"/>
                      <a:pt x="2064" y="526"/>
                      <a:pt x="2050" y="518"/>
                    </a:cubicBezTo>
                    <a:cubicBezTo>
                      <a:pt x="2035" y="511"/>
                      <a:pt x="2018" y="493"/>
                      <a:pt x="2012" y="482"/>
                    </a:cubicBezTo>
                    <a:cubicBezTo>
                      <a:pt x="2006" y="471"/>
                      <a:pt x="1989" y="465"/>
                      <a:pt x="1974" y="473"/>
                    </a:cubicBezTo>
                    <a:cubicBezTo>
                      <a:pt x="1959" y="481"/>
                      <a:pt x="1961" y="479"/>
                      <a:pt x="1958" y="456"/>
                    </a:cubicBezTo>
                    <a:cubicBezTo>
                      <a:pt x="1955" y="434"/>
                      <a:pt x="1942" y="445"/>
                      <a:pt x="1933" y="453"/>
                    </a:cubicBezTo>
                    <a:cubicBezTo>
                      <a:pt x="1925" y="461"/>
                      <a:pt x="1899" y="455"/>
                      <a:pt x="1893" y="449"/>
                    </a:cubicBezTo>
                    <a:cubicBezTo>
                      <a:pt x="1887" y="443"/>
                      <a:pt x="1900" y="436"/>
                      <a:pt x="1897" y="419"/>
                    </a:cubicBezTo>
                    <a:cubicBezTo>
                      <a:pt x="1895" y="401"/>
                      <a:pt x="1865" y="393"/>
                      <a:pt x="1839" y="402"/>
                    </a:cubicBezTo>
                    <a:cubicBezTo>
                      <a:pt x="1813" y="412"/>
                      <a:pt x="1779" y="430"/>
                      <a:pt x="1759" y="434"/>
                    </a:cubicBezTo>
                    <a:cubicBezTo>
                      <a:pt x="1738" y="438"/>
                      <a:pt x="1710" y="424"/>
                      <a:pt x="1713" y="407"/>
                    </a:cubicBezTo>
                    <a:cubicBezTo>
                      <a:pt x="1716" y="390"/>
                      <a:pt x="1713" y="388"/>
                      <a:pt x="1695" y="386"/>
                    </a:cubicBezTo>
                    <a:cubicBezTo>
                      <a:pt x="1677" y="384"/>
                      <a:pt x="1655" y="395"/>
                      <a:pt x="1632" y="345"/>
                    </a:cubicBezTo>
                    <a:cubicBezTo>
                      <a:pt x="1609" y="295"/>
                      <a:pt x="1295" y="100"/>
                      <a:pt x="1295" y="100"/>
                    </a:cubicBezTo>
                    <a:cubicBezTo>
                      <a:pt x="1041" y="0"/>
                      <a:pt x="1041" y="0"/>
                      <a:pt x="1041" y="0"/>
                    </a:cubicBezTo>
                    <a:cubicBezTo>
                      <a:pt x="676" y="141"/>
                      <a:pt x="676" y="141"/>
                      <a:pt x="676" y="141"/>
                    </a:cubicBezTo>
                    <a:cubicBezTo>
                      <a:pt x="252" y="164"/>
                      <a:pt x="252" y="164"/>
                      <a:pt x="252" y="164"/>
                    </a:cubicBezTo>
                    <a:cubicBezTo>
                      <a:pt x="0" y="303"/>
                      <a:pt x="0" y="303"/>
                      <a:pt x="0" y="303"/>
                    </a:cubicBezTo>
                    <a:cubicBezTo>
                      <a:pt x="119" y="623"/>
                      <a:pt x="119" y="623"/>
                      <a:pt x="119" y="623"/>
                    </a:cubicBezTo>
                    <a:cubicBezTo>
                      <a:pt x="297" y="1121"/>
                      <a:pt x="297" y="1121"/>
                      <a:pt x="297" y="1121"/>
                    </a:cubicBezTo>
                    <a:lnTo>
                      <a:pt x="397" y="1154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7" name="Freeform 30"/>
              <p:cNvSpPr/>
              <p:nvPr/>
            </p:nvSpPr>
            <p:spPr bwMode="auto">
              <a:xfrm>
                <a:off x="3566691" y="3428702"/>
                <a:ext cx="1492250" cy="1277937"/>
              </a:xfrm>
              <a:custGeom>
                <a:avLst/>
                <a:gdLst>
                  <a:gd name="T0" fmla="*/ 727 w 2667"/>
                  <a:gd name="T1" fmla="*/ 45 h 2283"/>
                  <a:gd name="T2" fmla="*/ 820 w 2667"/>
                  <a:gd name="T3" fmla="*/ 156 h 2283"/>
                  <a:gd name="T4" fmla="*/ 810 w 2667"/>
                  <a:gd name="T5" fmla="*/ 321 h 2283"/>
                  <a:gd name="T6" fmla="*/ 842 w 2667"/>
                  <a:gd name="T7" fmla="*/ 451 h 2283"/>
                  <a:gd name="T8" fmla="*/ 936 w 2667"/>
                  <a:gd name="T9" fmla="*/ 560 h 2283"/>
                  <a:gd name="T10" fmla="*/ 1018 w 2667"/>
                  <a:gd name="T11" fmla="*/ 508 h 2283"/>
                  <a:gd name="T12" fmla="*/ 1170 w 2667"/>
                  <a:gd name="T13" fmla="*/ 509 h 2283"/>
                  <a:gd name="T14" fmla="*/ 1146 w 2667"/>
                  <a:gd name="T15" fmla="*/ 626 h 2283"/>
                  <a:gd name="T16" fmla="*/ 1204 w 2667"/>
                  <a:gd name="T17" fmla="*/ 718 h 2283"/>
                  <a:gd name="T18" fmla="*/ 1318 w 2667"/>
                  <a:gd name="T19" fmla="*/ 779 h 2283"/>
                  <a:gd name="T20" fmla="*/ 1410 w 2667"/>
                  <a:gd name="T21" fmla="*/ 884 h 2283"/>
                  <a:gd name="T22" fmla="*/ 1528 w 2667"/>
                  <a:gd name="T23" fmla="*/ 909 h 2283"/>
                  <a:gd name="T24" fmla="*/ 1632 w 2667"/>
                  <a:gd name="T25" fmla="*/ 831 h 2283"/>
                  <a:gd name="T26" fmla="*/ 1762 w 2667"/>
                  <a:gd name="T27" fmla="*/ 805 h 2283"/>
                  <a:gd name="T28" fmla="*/ 1872 w 2667"/>
                  <a:gd name="T29" fmla="*/ 880 h 2283"/>
                  <a:gd name="T30" fmla="*/ 1858 w 2667"/>
                  <a:gd name="T31" fmla="*/ 969 h 2283"/>
                  <a:gd name="T32" fmla="*/ 1779 w 2667"/>
                  <a:gd name="T33" fmla="*/ 1034 h 2283"/>
                  <a:gd name="T34" fmla="*/ 1787 w 2667"/>
                  <a:gd name="T35" fmla="*/ 1149 h 2283"/>
                  <a:gd name="T36" fmla="*/ 1887 w 2667"/>
                  <a:gd name="T37" fmla="*/ 1224 h 2283"/>
                  <a:gd name="T38" fmla="*/ 1959 w 2667"/>
                  <a:gd name="T39" fmla="*/ 1270 h 2283"/>
                  <a:gd name="T40" fmla="*/ 2046 w 2667"/>
                  <a:gd name="T41" fmla="*/ 1350 h 2283"/>
                  <a:gd name="T42" fmla="*/ 2112 w 2667"/>
                  <a:gd name="T43" fmla="*/ 1471 h 2283"/>
                  <a:gd name="T44" fmla="*/ 2074 w 2667"/>
                  <a:gd name="T45" fmla="*/ 1560 h 2283"/>
                  <a:gd name="T46" fmla="*/ 2197 w 2667"/>
                  <a:gd name="T47" fmla="*/ 1654 h 2283"/>
                  <a:gd name="T48" fmla="*/ 2284 w 2667"/>
                  <a:gd name="T49" fmla="*/ 1607 h 2283"/>
                  <a:gd name="T50" fmla="*/ 2368 w 2667"/>
                  <a:gd name="T51" fmla="*/ 1501 h 2283"/>
                  <a:gd name="T52" fmla="*/ 2298 w 2667"/>
                  <a:gd name="T53" fmla="*/ 1453 h 2283"/>
                  <a:gd name="T54" fmla="*/ 2309 w 2667"/>
                  <a:gd name="T55" fmla="*/ 1372 h 2283"/>
                  <a:gd name="T56" fmla="*/ 2339 w 2667"/>
                  <a:gd name="T57" fmla="*/ 1282 h 2283"/>
                  <a:gd name="T58" fmla="*/ 2405 w 2667"/>
                  <a:gd name="T59" fmla="*/ 1315 h 2283"/>
                  <a:gd name="T60" fmla="*/ 2551 w 2667"/>
                  <a:gd name="T61" fmla="*/ 1390 h 2283"/>
                  <a:gd name="T62" fmla="*/ 2634 w 2667"/>
                  <a:gd name="T63" fmla="*/ 1427 h 2283"/>
                  <a:gd name="T64" fmla="*/ 2637 w 2667"/>
                  <a:gd name="T65" fmla="*/ 1538 h 2283"/>
                  <a:gd name="T66" fmla="*/ 2649 w 2667"/>
                  <a:gd name="T67" fmla="*/ 1622 h 2283"/>
                  <a:gd name="T68" fmla="*/ 2547 w 2667"/>
                  <a:gd name="T69" fmla="*/ 1687 h 2283"/>
                  <a:gd name="T70" fmla="*/ 2514 w 2667"/>
                  <a:gd name="T71" fmla="*/ 1747 h 2283"/>
                  <a:gd name="T72" fmla="*/ 2387 w 2667"/>
                  <a:gd name="T73" fmla="*/ 1756 h 2283"/>
                  <a:gd name="T74" fmla="*/ 2289 w 2667"/>
                  <a:gd name="T75" fmla="*/ 1781 h 2283"/>
                  <a:gd name="T76" fmla="*/ 2264 w 2667"/>
                  <a:gd name="T77" fmla="*/ 1873 h 2283"/>
                  <a:gd name="T78" fmla="*/ 2280 w 2667"/>
                  <a:gd name="T79" fmla="*/ 1957 h 2283"/>
                  <a:gd name="T80" fmla="*/ 2283 w 2667"/>
                  <a:gd name="T81" fmla="*/ 2062 h 2283"/>
                  <a:gd name="T82" fmla="*/ 2192 w 2667"/>
                  <a:gd name="T83" fmla="*/ 2055 h 2283"/>
                  <a:gd name="T84" fmla="*/ 2152 w 2667"/>
                  <a:gd name="T85" fmla="*/ 2211 h 2283"/>
                  <a:gd name="T86" fmla="*/ 2050 w 2667"/>
                  <a:gd name="T87" fmla="*/ 2280 h 2283"/>
                  <a:gd name="T88" fmla="*/ 1906 w 2667"/>
                  <a:gd name="T89" fmla="*/ 2158 h 2283"/>
                  <a:gd name="T90" fmla="*/ 1766 w 2667"/>
                  <a:gd name="T91" fmla="*/ 2094 h 2283"/>
                  <a:gd name="T92" fmla="*/ 1679 w 2667"/>
                  <a:gd name="T93" fmla="*/ 1922 h 2283"/>
                  <a:gd name="T94" fmla="*/ 1520 w 2667"/>
                  <a:gd name="T95" fmla="*/ 1977 h 2283"/>
                  <a:gd name="T96" fmla="*/ 1416 w 2667"/>
                  <a:gd name="T97" fmla="*/ 2049 h 2283"/>
                  <a:gd name="T98" fmla="*/ 617 w 2667"/>
                  <a:gd name="T99" fmla="*/ 1016 h 2283"/>
                  <a:gd name="T100" fmla="*/ 0 w 2667"/>
                  <a:gd name="T101" fmla="*/ 590 h 2283"/>
                  <a:gd name="T102" fmla="*/ 539 w 2667"/>
                  <a:gd name="T103" fmla="*/ 0 h 2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667" h="2283">
                    <a:moveTo>
                      <a:pt x="622" y="23"/>
                    </a:moveTo>
                    <a:cubicBezTo>
                      <a:pt x="630" y="30"/>
                      <a:pt x="646" y="32"/>
                      <a:pt x="681" y="32"/>
                    </a:cubicBezTo>
                    <a:cubicBezTo>
                      <a:pt x="737" y="34"/>
                      <a:pt x="706" y="35"/>
                      <a:pt x="727" y="45"/>
                    </a:cubicBezTo>
                    <a:cubicBezTo>
                      <a:pt x="747" y="55"/>
                      <a:pt x="759" y="63"/>
                      <a:pt x="793" y="54"/>
                    </a:cubicBezTo>
                    <a:cubicBezTo>
                      <a:pt x="793" y="54"/>
                      <a:pt x="808" y="76"/>
                      <a:pt x="809" y="88"/>
                    </a:cubicBezTo>
                    <a:cubicBezTo>
                      <a:pt x="810" y="100"/>
                      <a:pt x="819" y="137"/>
                      <a:pt x="820" y="156"/>
                    </a:cubicBezTo>
                    <a:cubicBezTo>
                      <a:pt x="821" y="174"/>
                      <a:pt x="823" y="188"/>
                      <a:pt x="820" y="203"/>
                    </a:cubicBezTo>
                    <a:cubicBezTo>
                      <a:pt x="816" y="218"/>
                      <a:pt x="812" y="230"/>
                      <a:pt x="808" y="246"/>
                    </a:cubicBezTo>
                    <a:cubicBezTo>
                      <a:pt x="804" y="262"/>
                      <a:pt x="807" y="310"/>
                      <a:pt x="810" y="321"/>
                    </a:cubicBezTo>
                    <a:cubicBezTo>
                      <a:pt x="814" y="332"/>
                      <a:pt x="822" y="335"/>
                      <a:pt x="827" y="352"/>
                    </a:cubicBezTo>
                    <a:cubicBezTo>
                      <a:pt x="832" y="370"/>
                      <a:pt x="834" y="396"/>
                      <a:pt x="834" y="411"/>
                    </a:cubicBezTo>
                    <a:cubicBezTo>
                      <a:pt x="834" y="426"/>
                      <a:pt x="831" y="440"/>
                      <a:pt x="842" y="451"/>
                    </a:cubicBezTo>
                    <a:cubicBezTo>
                      <a:pt x="853" y="462"/>
                      <a:pt x="870" y="484"/>
                      <a:pt x="873" y="497"/>
                    </a:cubicBezTo>
                    <a:cubicBezTo>
                      <a:pt x="876" y="509"/>
                      <a:pt x="881" y="542"/>
                      <a:pt x="895" y="549"/>
                    </a:cubicBezTo>
                    <a:cubicBezTo>
                      <a:pt x="908" y="557"/>
                      <a:pt x="924" y="565"/>
                      <a:pt x="936" y="560"/>
                    </a:cubicBezTo>
                    <a:cubicBezTo>
                      <a:pt x="947" y="555"/>
                      <a:pt x="956" y="559"/>
                      <a:pt x="963" y="541"/>
                    </a:cubicBezTo>
                    <a:cubicBezTo>
                      <a:pt x="971" y="524"/>
                      <a:pt x="981" y="534"/>
                      <a:pt x="994" y="528"/>
                    </a:cubicBezTo>
                    <a:cubicBezTo>
                      <a:pt x="1007" y="523"/>
                      <a:pt x="1013" y="518"/>
                      <a:pt x="1018" y="508"/>
                    </a:cubicBezTo>
                    <a:cubicBezTo>
                      <a:pt x="1024" y="499"/>
                      <a:pt x="1049" y="486"/>
                      <a:pt x="1061" y="487"/>
                    </a:cubicBezTo>
                    <a:cubicBezTo>
                      <a:pt x="1072" y="487"/>
                      <a:pt x="1093" y="490"/>
                      <a:pt x="1116" y="496"/>
                    </a:cubicBezTo>
                    <a:cubicBezTo>
                      <a:pt x="1139" y="501"/>
                      <a:pt x="1165" y="491"/>
                      <a:pt x="1170" y="509"/>
                    </a:cubicBezTo>
                    <a:cubicBezTo>
                      <a:pt x="1174" y="527"/>
                      <a:pt x="1179" y="546"/>
                      <a:pt x="1170" y="566"/>
                    </a:cubicBezTo>
                    <a:cubicBezTo>
                      <a:pt x="1161" y="586"/>
                      <a:pt x="1162" y="593"/>
                      <a:pt x="1161" y="609"/>
                    </a:cubicBezTo>
                    <a:cubicBezTo>
                      <a:pt x="1159" y="624"/>
                      <a:pt x="1161" y="626"/>
                      <a:pt x="1146" y="626"/>
                    </a:cubicBezTo>
                    <a:cubicBezTo>
                      <a:pt x="1131" y="625"/>
                      <a:pt x="1122" y="639"/>
                      <a:pt x="1124" y="648"/>
                    </a:cubicBezTo>
                    <a:cubicBezTo>
                      <a:pt x="1126" y="657"/>
                      <a:pt x="1122" y="666"/>
                      <a:pt x="1146" y="674"/>
                    </a:cubicBezTo>
                    <a:cubicBezTo>
                      <a:pt x="1170" y="683"/>
                      <a:pt x="1196" y="707"/>
                      <a:pt x="1204" y="718"/>
                    </a:cubicBezTo>
                    <a:cubicBezTo>
                      <a:pt x="1212" y="730"/>
                      <a:pt x="1219" y="756"/>
                      <a:pt x="1237" y="755"/>
                    </a:cubicBezTo>
                    <a:cubicBezTo>
                      <a:pt x="1255" y="754"/>
                      <a:pt x="1270" y="752"/>
                      <a:pt x="1286" y="755"/>
                    </a:cubicBezTo>
                    <a:cubicBezTo>
                      <a:pt x="1302" y="757"/>
                      <a:pt x="1323" y="761"/>
                      <a:pt x="1318" y="779"/>
                    </a:cubicBezTo>
                    <a:cubicBezTo>
                      <a:pt x="1314" y="797"/>
                      <a:pt x="1309" y="805"/>
                      <a:pt x="1312" y="823"/>
                    </a:cubicBezTo>
                    <a:cubicBezTo>
                      <a:pt x="1316" y="842"/>
                      <a:pt x="1331" y="871"/>
                      <a:pt x="1351" y="878"/>
                    </a:cubicBezTo>
                    <a:cubicBezTo>
                      <a:pt x="1371" y="885"/>
                      <a:pt x="1397" y="885"/>
                      <a:pt x="1410" y="884"/>
                    </a:cubicBezTo>
                    <a:cubicBezTo>
                      <a:pt x="1422" y="884"/>
                      <a:pt x="1430" y="901"/>
                      <a:pt x="1449" y="900"/>
                    </a:cubicBezTo>
                    <a:cubicBezTo>
                      <a:pt x="1468" y="899"/>
                      <a:pt x="1479" y="897"/>
                      <a:pt x="1491" y="903"/>
                    </a:cubicBezTo>
                    <a:cubicBezTo>
                      <a:pt x="1503" y="909"/>
                      <a:pt x="1520" y="914"/>
                      <a:pt x="1528" y="909"/>
                    </a:cubicBezTo>
                    <a:cubicBezTo>
                      <a:pt x="1537" y="903"/>
                      <a:pt x="1560" y="888"/>
                      <a:pt x="1565" y="879"/>
                    </a:cubicBezTo>
                    <a:cubicBezTo>
                      <a:pt x="1570" y="871"/>
                      <a:pt x="1596" y="847"/>
                      <a:pt x="1601" y="839"/>
                    </a:cubicBezTo>
                    <a:cubicBezTo>
                      <a:pt x="1605" y="832"/>
                      <a:pt x="1616" y="825"/>
                      <a:pt x="1632" y="831"/>
                    </a:cubicBezTo>
                    <a:cubicBezTo>
                      <a:pt x="1648" y="837"/>
                      <a:pt x="1661" y="836"/>
                      <a:pt x="1670" y="819"/>
                    </a:cubicBezTo>
                    <a:cubicBezTo>
                      <a:pt x="1680" y="802"/>
                      <a:pt x="1692" y="794"/>
                      <a:pt x="1712" y="795"/>
                    </a:cubicBezTo>
                    <a:cubicBezTo>
                      <a:pt x="1731" y="797"/>
                      <a:pt x="1746" y="805"/>
                      <a:pt x="1762" y="805"/>
                    </a:cubicBezTo>
                    <a:cubicBezTo>
                      <a:pt x="1777" y="805"/>
                      <a:pt x="1814" y="806"/>
                      <a:pt x="1821" y="812"/>
                    </a:cubicBezTo>
                    <a:cubicBezTo>
                      <a:pt x="1828" y="817"/>
                      <a:pt x="1849" y="828"/>
                      <a:pt x="1858" y="834"/>
                    </a:cubicBezTo>
                    <a:cubicBezTo>
                      <a:pt x="1867" y="840"/>
                      <a:pt x="1880" y="856"/>
                      <a:pt x="1872" y="880"/>
                    </a:cubicBezTo>
                    <a:cubicBezTo>
                      <a:pt x="1863" y="904"/>
                      <a:pt x="1865" y="900"/>
                      <a:pt x="1855" y="905"/>
                    </a:cubicBezTo>
                    <a:cubicBezTo>
                      <a:pt x="1845" y="911"/>
                      <a:pt x="1840" y="911"/>
                      <a:pt x="1850" y="927"/>
                    </a:cubicBezTo>
                    <a:cubicBezTo>
                      <a:pt x="1859" y="943"/>
                      <a:pt x="1862" y="957"/>
                      <a:pt x="1858" y="969"/>
                    </a:cubicBezTo>
                    <a:cubicBezTo>
                      <a:pt x="1854" y="981"/>
                      <a:pt x="1856" y="997"/>
                      <a:pt x="1835" y="1004"/>
                    </a:cubicBezTo>
                    <a:cubicBezTo>
                      <a:pt x="1814" y="1011"/>
                      <a:pt x="1807" y="1013"/>
                      <a:pt x="1796" y="1016"/>
                    </a:cubicBezTo>
                    <a:cubicBezTo>
                      <a:pt x="1785" y="1020"/>
                      <a:pt x="1772" y="1023"/>
                      <a:pt x="1779" y="1034"/>
                    </a:cubicBezTo>
                    <a:cubicBezTo>
                      <a:pt x="1786" y="1044"/>
                      <a:pt x="1787" y="1054"/>
                      <a:pt x="1782" y="1066"/>
                    </a:cubicBezTo>
                    <a:cubicBezTo>
                      <a:pt x="1777" y="1079"/>
                      <a:pt x="1769" y="1084"/>
                      <a:pt x="1772" y="1108"/>
                    </a:cubicBezTo>
                    <a:cubicBezTo>
                      <a:pt x="1775" y="1132"/>
                      <a:pt x="1773" y="1141"/>
                      <a:pt x="1787" y="1149"/>
                    </a:cubicBezTo>
                    <a:cubicBezTo>
                      <a:pt x="1801" y="1158"/>
                      <a:pt x="1831" y="1158"/>
                      <a:pt x="1830" y="1180"/>
                    </a:cubicBezTo>
                    <a:cubicBezTo>
                      <a:pt x="1830" y="1203"/>
                      <a:pt x="1836" y="1198"/>
                      <a:pt x="1852" y="1205"/>
                    </a:cubicBezTo>
                    <a:cubicBezTo>
                      <a:pt x="1869" y="1212"/>
                      <a:pt x="1874" y="1224"/>
                      <a:pt x="1887" y="1224"/>
                    </a:cubicBezTo>
                    <a:cubicBezTo>
                      <a:pt x="1900" y="1225"/>
                      <a:pt x="1922" y="1229"/>
                      <a:pt x="1932" y="1230"/>
                    </a:cubicBezTo>
                    <a:cubicBezTo>
                      <a:pt x="1942" y="1231"/>
                      <a:pt x="1953" y="1235"/>
                      <a:pt x="1946" y="1247"/>
                    </a:cubicBezTo>
                    <a:cubicBezTo>
                      <a:pt x="1938" y="1259"/>
                      <a:pt x="1947" y="1267"/>
                      <a:pt x="1959" y="1270"/>
                    </a:cubicBezTo>
                    <a:cubicBezTo>
                      <a:pt x="1972" y="1273"/>
                      <a:pt x="1989" y="1273"/>
                      <a:pt x="1995" y="1291"/>
                    </a:cubicBezTo>
                    <a:cubicBezTo>
                      <a:pt x="2001" y="1309"/>
                      <a:pt x="2003" y="1314"/>
                      <a:pt x="2015" y="1323"/>
                    </a:cubicBezTo>
                    <a:cubicBezTo>
                      <a:pt x="2026" y="1332"/>
                      <a:pt x="2042" y="1336"/>
                      <a:pt x="2046" y="1350"/>
                    </a:cubicBezTo>
                    <a:cubicBezTo>
                      <a:pt x="2050" y="1365"/>
                      <a:pt x="2055" y="1376"/>
                      <a:pt x="2053" y="1388"/>
                    </a:cubicBezTo>
                    <a:cubicBezTo>
                      <a:pt x="2052" y="1400"/>
                      <a:pt x="2065" y="1411"/>
                      <a:pt x="2075" y="1425"/>
                    </a:cubicBezTo>
                    <a:cubicBezTo>
                      <a:pt x="2085" y="1439"/>
                      <a:pt x="2104" y="1455"/>
                      <a:pt x="2112" y="1471"/>
                    </a:cubicBezTo>
                    <a:cubicBezTo>
                      <a:pt x="2119" y="1486"/>
                      <a:pt x="2117" y="1486"/>
                      <a:pt x="2112" y="1498"/>
                    </a:cubicBezTo>
                    <a:cubicBezTo>
                      <a:pt x="2106" y="1509"/>
                      <a:pt x="2104" y="1530"/>
                      <a:pt x="2092" y="1536"/>
                    </a:cubicBezTo>
                    <a:cubicBezTo>
                      <a:pt x="2079" y="1542"/>
                      <a:pt x="2068" y="1545"/>
                      <a:pt x="2074" y="1560"/>
                    </a:cubicBezTo>
                    <a:cubicBezTo>
                      <a:pt x="2079" y="1575"/>
                      <a:pt x="2080" y="1582"/>
                      <a:pt x="2093" y="1589"/>
                    </a:cubicBezTo>
                    <a:cubicBezTo>
                      <a:pt x="2105" y="1596"/>
                      <a:pt x="2136" y="1597"/>
                      <a:pt x="2145" y="1614"/>
                    </a:cubicBezTo>
                    <a:cubicBezTo>
                      <a:pt x="2155" y="1630"/>
                      <a:pt x="2174" y="1641"/>
                      <a:pt x="2197" y="1654"/>
                    </a:cubicBezTo>
                    <a:cubicBezTo>
                      <a:pt x="2220" y="1668"/>
                      <a:pt x="2240" y="1682"/>
                      <a:pt x="2249" y="1677"/>
                    </a:cubicBezTo>
                    <a:cubicBezTo>
                      <a:pt x="2258" y="1671"/>
                      <a:pt x="2278" y="1669"/>
                      <a:pt x="2272" y="1646"/>
                    </a:cubicBezTo>
                    <a:cubicBezTo>
                      <a:pt x="2267" y="1623"/>
                      <a:pt x="2257" y="1614"/>
                      <a:pt x="2284" y="1607"/>
                    </a:cubicBezTo>
                    <a:cubicBezTo>
                      <a:pt x="2311" y="1600"/>
                      <a:pt x="2337" y="1598"/>
                      <a:pt x="2336" y="1575"/>
                    </a:cubicBezTo>
                    <a:cubicBezTo>
                      <a:pt x="2335" y="1552"/>
                      <a:pt x="2343" y="1545"/>
                      <a:pt x="2350" y="1534"/>
                    </a:cubicBezTo>
                    <a:cubicBezTo>
                      <a:pt x="2356" y="1522"/>
                      <a:pt x="2376" y="1512"/>
                      <a:pt x="2368" y="1501"/>
                    </a:cubicBezTo>
                    <a:cubicBezTo>
                      <a:pt x="2361" y="1490"/>
                      <a:pt x="2335" y="1488"/>
                      <a:pt x="2323" y="1480"/>
                    </a:cubicBezTo>
                    <a:cubicBezTo>
                      <a:pt x="2311" y="1472"/>
                      <a:pt x="2307" y="1479"/>
                      <a:pt x="2296" y="1475"/>
                    </a:cubicBezTo>
                    <a:cubicBezTo>
                      <a:pt x="2286" y="1471"/>
                      <a:pt x="2288" y="1466"/>
                      <a:pt x="2298" y="1453"/>
                    </a:cubicBezTo>
                    <a:cubicBezTo>
                      <a:pt x="2308" y="1440"/>
                      <a:pt x="2301" y="1433"/>
                      <a:pt x="2295" y="1428"/>
                    </a:cubicBezTo>
                    <a:cubicBezTo>
                      <a:pt x="2290" y="1422"/>
                      <a:pt x="2290" y="1420"/>
                      <a:pt x="2294" y="1408"/>
                    </a:cubicBezTo>
                    <a:cubicBezTo>
                      <a:pt x="2299" y="1396"/>
                      <a:pt x="2290" y="1379"/>
                      <a:pt x="2309" y="1372"/>
                    </a:cubicBezTo>
                    <a:cubicBezTo>
                      <a:pt x="2327" y="1366"/>
                      <a:pt x="2326" y="1363"/>
                      <a:pt x="2316" y="1346"/>
                    </a:cubicBezTo>
                    <a:cubicBezTo>
                      <a:pt x="2306" y="1328"/>
                      <a:pt x="2311" y="1314"/>
                      <a:pt x="2313" y="1301"/>
                    </a:cubicBezTo>
                    <a:cubicBezTo>
                      <a:pt x="2314" y="1288"/>
                      <a:pt x="2322" y="1276"/>
                      <a:pt x="2339" y="1282"/>
                    </a:cubicBezTo>
                    <a:cubicBezTo>
                      <a:pt x="2356" y="1287"/>
                      <a:pt x="2362" y="1291"/>
                      <a:pt x="2373" y="1284"/>
                    </a:cubicBezTo>
                    <a:cubicBezTo>
                      <a:pt x="2385" y="1277"/>
                      <a:pt x="2392" y="1282"/>
                      <a:pt x="2400" y="1292"/>
                    </a:cubicBezTo>
                    <a:cubicBezTo>
                      <a:pt x="2409" y="1303"/>
                      <a:pt x="2398" y="1306"/>
                      <a:pt x="2405" y="1315"/>
                    </a:cubicBezTo>
                    <a:cubicBezTo>
                      <a:pt x="2412" y="1325"/>
                      <a:pt x="2422" y="1335"/>
                      <a:pt x="2445" y="1341"/>
                    </a:cubicBezTo>
                    <a:cubicBezTo>
                      <a:pt x="2467" y="1347"/>
                      <a:pt x="2473" y="1338"/>
                      <a:pt x="2495" y="1351"/>
                    </a:cubicBezTo>
                    <a:cubicBezTo>
                      <a:pt x="2516" y="1363"/>
                      <a:pt x="2536" y="1380"/>
                      <a:pt x="2551" y="1390"/>
                    </a:cubicBezTo>
                    <a:cubicBezTo>
                      <a:pt x="2566" y="1400"/>
                      <a:pt x="2566" y="1407"/>
                      <a:pt x="2580" y="1402"/>
                    </a:cubicBezTo>
                    <a:cubicBezTo>
                      <a:pt x="2594" y="1398"/>
                      <a:pt x="2599" y="1401"/>
                      <a:pt x="2608" y="1412"/>
                    </a:cubicBezTo>
                    <a:cubicBezTo>
                      <a:pt x="2617" y="1423"/>
                      <a:pt x="2619" y="1424"/>
                      <a:pt x="2634" y="1427"/>
                    </a:cubicBezTo>
                    <a:cubicBezTo>
                      <a:pt x="2649" y="1430"/>
                      <a:pt x="2667" y="1432"/>
                      <a:pt x="2660" y="1465"/>
                    </a:cubicBezTo>
                    <a:cubicBezTo>
                      <a:pt x="2652" y="1499"/>
                      <a:pt x="2663" y="1495"/>
                      <a:pt x="2659" y="1507"/>
                    </a:cubicBezTo>
                    <a:cubicBezTo>
                      <a:pt x="2655" y="1520"/>
                      <a:pt x="2645" y="1531"/>
                      <a:pt x="2637" y="1538"/>
                    </a:cubicBezTo>
                    <a:cubicBezTo>
                      <a:pt x="2630" y="1545"/>
                      <a:pt x="2631" y="1558"/>
                      <a:pt x="2634" y="1568"/>
                    </a:cubicBezTo>
                    <a:cubicBezTo>
                      <a:pt x="2636" y="1578"/>
                      <a:pt x="2631" y="1578"/>
                      <a:pt x="2636" y="1592"/>
                    </a:cubicBezTo>
                    <a:cubicBezTo>
                      <a:pt x="2642" y="1606"/>
                      <a:pt x="2646" y="1595"/>
                      <a:pt x="2649" y="1622"/>
                    </a:cubicBezTo>
                    <a:cubicBezTo>
                      <a:pt x="2653" y="1648"/>
                      <a:pt x="2653" y="1662"/>
                      <a:pt x="2640" y="1667"/>
                    </a:cubicBezTo>
                    <a:cubicBezTo>
                      <a:pt x="2628" y="1672"/>
                      <a:pt x="2610" y="1669"/>
                      <a:pt x="2595" y="1668"/>
                    </a:cubicBezTo>
                    <a:cubicBezTo>
                      <a:pt x="2579" y="1667"/>
                      <a:pt x="2557" y="1671"/>
                      <a:pt x="2547" y="1687"/>
                    </a:cubicBezTo>
                    <a:cubicBezTo>
                      <a:pt x="2536" y="1702"/>
                      <a:pt x="2515" y="1683"/>
                      <a:pt x="2506" y="1680"/>
                    </a:cubicBezTo>
                    <a:cubicBezTo>
                      <a:pt x="2496" y="1676"/>
                      <a:pt x="2489" y="1679"/>
                      <a:pt x="2500" y="1697"/>
                    </a:cubicBezTo>
                    <a:cubicBezTo>
                      <a:pt x="2512" y="1714"/>
                      <a:pt x="2523" y="1741"/>
                      <a:pt x="2514" y="1747"/>
                    </a:cubicBezTo>
                    <a:cubicBezTo>
                      <a:pt x="2504" y="1754"/>
                      <a:pt x="2489" y="1755"/>
                      <a:pt x="2475" y="1759"/>
                    </a:cubicBezTo>
                    <a:cubicBezTo>
                      <a:pt x="2460" y="1762"/>
                      <a:pt x="2443" y="1752"/>
                      <a:pt x="2426" y="1763"/>
                    </a:cubicBezTo>
                    <a:cubicBezTo>
                      <a:pt x="2409" y="1774"/>
                      <a:pt x="2391" y="1766"/>
                      <a:pt x="2387" y="1756"/>
                    </a:cubicBezTo>
                    <a:cubicBezTo>
                      <a:pt x="2383" y="1746"/>
                      <a:pt x="2373" y="1724"/>
                      <a:pt x="2356" y="1726"/>
                    </a:cubicBezTo>
                    <a:cubicBezTo>
                      <a:pt x="2339" y="1729"/>
                      <a:pt x="2312" y="1718"/>
                      <a:pt x="2302" y="1742"/>
                    </a:cubicBezTo>
                    <a:cubicBezTo>
                      <a:pt x="2292" y="1766"/>
                      <a:pt x="2299" y="1764"/>
                      <a:pt x="2289" y="1781"/>
                    </a:cubicBezTo>
                    <a:cubicBezTo>
                      <a:pt x="2280" y="1798"/>
                      <a:pt x="2282" y="1809"/>
                      <a:pt x="2273" y="1820"/>
                    </a:cubicBezTo>
                    <a:cubicBezTo>
                      <a:pt x="2265" y="1832"/>
                      <a:pt x="2256" y="1833"/>
                      <a:pt x="2254" y="1847"/>
                    </a:cubicBezTo>
                    <a:cubicBezTo>
                      <a:pt x="2253" y="1860"/>
                      <a:pt x="2247" y="1868"/>
                      <a:pt x="2264" y="1873"/>
                    </a:cubicBezTo>
                    <a:cubicBezTo>
                      <a:pt x="2281" y="1878"/>
                      <a:pt x="2304" y="1872"/>
                      <a:pt x="2307" y="1885"/>
                    </a:cubicBezTo>
                    <a:cubicBezTo>
                      <a:pt x="2311" y="1897"/>
                      <a:pt x="2297" y="1910"/>
                      <a:pt x="2288" y="1920"/>
                    </a:cubicBezTo>
                    <a:cubicBezTo>
                      <a:pt x="2280" y="1930"/>
                      <a:pt x="2283" y="1948"/>
                      <a:pt x="2280" y="1957"/>
                    </a:cubicBezTo>
                    <a:cubicBezTo>
                      <a:pt x="2276" y="1967"/>
                      <a:pt x="2279" y="1985"/>
                      <a:pt x="2283" y="2002"/>
                    </a:cubicBezTo>
                    <a:cubicBezTo>
                      <a:pt x="2287" y="2020"/>
                      <a:pt x="2294" y="2031"/>
                      <a:pt x="2295" y="2044"/>
                    </a:cubicBezTo>
                    <a:cubicBezTo>
                      <a:pt x="2296" y="2058"/>
                      <a:pt x="2293" y="2079"/>
                      <a:pt x="2283" y="2062"/>
                    </a:cubicBezTo>
                    <a:cubicBezTo>
                      <a:pt x="2273" y="2044"/>
                      <a:pt x="2271" y="2046"/>
                      <a:pt x="2263" y="2052"/>
                    </a:cubicBezTo>
                    <a:cubicBezTo>
                      <a:pt x="2255" y="2057"/>
                      <a:pt x="2225" y="2059"/>
                      <a:pt x="2220" y="2045"/>
                    </a:cubicBezTo>
                    <a:cubicBezTo>
                      <a:pt x="2215" y="2031"/>
                      <a:pt x="2195" y="2034"/>
                      <a:pt x="2192" y="2055"/>
                    </a:cubicBezTo>
                    <a:cubicBezTo>
                      <a:pt x="2189" y="2076"/>
                      <a:pt x="2182" y="2091"/>
                      <a:pt x="2178" y="2113"/>
                    </a:cubicBezTo>
                    <a:cubicBezTo>
                      <a:pt x="2173" y="2136"/>
                      <a:pt x="2174" y="2148"/>
                      <a:pt x="2168" y="2172"/>
                    </a:cubicBezTo>
                    <a:cubicBezTo>
                      <a:pt x="2163" y="2196"/>
                      <a:pt x="2165" y="2207"/>
                      <a:pt x="2152" y="2211"/>
                    </a:cubicBezTo>
                    <a:cubicBezTo>
                      <a:pt x="2139" y="2216"/>
                      <a:pt x="2119" y="2199"/>
                      <a:pt x="2110" y="2214"/>
                    </a:cubicBezTo>
                    <a:cubicBezTo>
                      <a:pt x="2101" y="2229"/>
                      <a:pt x="2112" y="2229"/>
                      <a:pt x="2099" y="2248"/>
                    </a:cubicBezTo>
                    <a:cubicBezTo>
                      <a:pt x="2085" y="2267"/>
                      <a:pt x="2066" y="2276"/>
                      <a:pt x="2050" y="2280"/>
                    </a:cubicBezTo>
                    <a:cubicBezTo>
                      <a:pt x="2033" y="2283"/>
                      <a:pt x="1996" y="2272"/>
                      <a:pt x="1977" y="2265"/>
                    </a:cubicBezTo>
                    <a:cubicBezTo>
                      <a:pt x="1958" y="2258"/>
                      <a:pt x="1925" y="2242"/>
                      <a:pt x="1917" y="2220"/>
                    </a:cubicBezTo>
                    <a:cubicBezTo>
                      <a:pt x="1909" y="2199"/>
                      <a:pt x="1920" y="2183"/>
                      <a:pt x="1906" y="2158"/>
                    </a:cubicBezTo>
                    <a:cubicBezTo>
                      <a:pt x="1891" y="2133"/>
                      <a:pt x="1887" y="2096"/>
                      <a:pt x="1868" y="2105"/>
                    </a:cubicBezTo>
                    <a:cubicBezTo>
                      <a:pt x="1850" y="2115"/>
                      <a:pt x="1843" y="2125"/>
                      <a:pt x="1818" y="2121"/>
                    </a:cubicBezTo>
                    <a:cubicBezTo>
                      <a:pt x="1793" y="2118"/>
                      <a:pt x="1778" y="2112"/>
                      <a:pt x="1766" y="2094"/>
                    </a:cubicBezTo>
                    <a:cubicBezTo>
                      <a:pt x="1753" y="2076"/>
                      <a:pt x="1740" y="2049"/>
                      <a:pt x="1714" y="2035"/>
                    </a:cubicBezTo>
                    <a:cubicBezTo>
                      <a:pt x="1688" y="2021"/>
                      <a:pt x="1674" y="2008"/>
                      <a:pt x="1683" y="1990"/>
                    </a:cubicBezTo>
                    <a:cubicBezTo>
                      <a:pt x="1692" y="1971"/>
                      <a:pt x="1689" y="1929"/>
                      <a:pt x="1679" y="1922"/>
                    </a:cubicBezTo>
                    <a:cubicBezTo>
                      <a:pt x="1669" y="1915"/>
                      <a:pt x="1642" y="1877"/>
                      <a:pt x="1618" y="1903"/>
                    </a:cubicBezTo>
                    <a:cubicBezTo>
                      <a:pt x="1594" y="1930"/>
                      <a:pt x="1602" y="1938"/>
                      <a:pt x="1573" y="1947"/>
                    </a:cubicBezTo>
                    <a:cubicBezTo>
                      <a:pt x="1544" y="1956"/>
                      <a:pt x="1521" y="1957"/>
                      <a:pt x="1520" y="1977"/>
                    </a:cubicBezTo>
                    <a:cubicBezTo>
                      <a:pt x="1519" y="1997"/>
                      <a:pt x="1528" y="2003"/>
                      <a:pt x="1528" y="2017"/>
                    </a:cubicBezTo>
                    <a:cubicBezTo>
                      <a:pt x="1529" y="2031"/>
                      <a:pt x="1540" y="2035"/>
                      <a:pt x="1533" y="2054"/>
                    </a:cubicBezTo>
                    <a:cubicBezTo>
                      <a:pt x="1525" y="2073"/>
                      <a:pt x="1416" y="2049"/>
                      <a:pt x="1416" y="2049"/>
                    </a:cubicBezTo>
                    <a:cubicBezTo>
                      <a:pt x="1236" y="1955"/>
                      <a:pt x="1236" y="1955"/>
                      <a:pt x="1236" y="1955"/>
                    </a:cubicBezTo>
                    <a:cubicBezTo>
                      <a:pt x="1314" y="1496"/>
                      <a:pt x="1314" y="1496"/>
                      <a:pt x="1314" y="1496"/>
                    </a:cubicBezTo>
                    <a:cubicBezTo>
                      <a:pt x="617" y="1016"/>
                      <a:pt x="617" y="1016"/>
                      <a:pt x="617" y="1016"/>
                    </a:cubicBezTo>
                    <a:cubicBezTo>
                      <a:pt x="287" y="897"/>
                      <a:pt x="287" y="897"/>
                      <a:pt x="287" y="897"/>
                    </a:cubicBezTo>
                    <a:cubicBezTo>
                      <a:pt x="66" y="801"/>
                      <a:pt x="66" y="801"/>
                      <a:pt x="66" y="801"/>
                    </a:cubicBezTo>
                    <a:cubicBezTo>
                      <a:pt x="0" y="590"/>
                      <a:pt x="0" y="590"/>
                      <a:pt x="0" y="590"/>
                    </a:cubicBezTo>
                    <a:cubicBezTo>
                      <a:pt x="148" y="133"/>
                      <a:pt x="148" y="133"/>
                      <a:pt x="148" y="133"/>
                    </a:cubicBezTo>
                    <a:cubicBezTo>
                      <a:pt x="385" y="77"/>
                      <a:pt x="385" y="77"/>
                      <a:pt x="385" y="77"/>
                    </a:cubicBezTo>
                    <a:cubicBezTo>
                      <a:pt x="539" y="0"/>
                      <a:pt x="539" y="0"/>
                      <a:pt x="539" y="0"/>
                    </a:cubicBezTo>
                    <a:cubicBezTo>
                      <a:pt x="616" y="18"/>
                      <a:pt x="616" y="18"/>
                      <a:pt x="616" y="18"/>
                    </a:cubicBezTo>
                    <a:lnTo>
                      <a:pt x="622" y="23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8" name="Freeform 31"/>
              <p:cNvSpPr/>
              <p:nvPr/>
            </p:nvSpPr>
            <p:spPr bwMode="auto">
              <a:xfrm>
                <a:off x="3090441" y="3814465"/>
                <a:ext cx="1409700" cy="1016000"/>
              </a:xfrm>
              <a:custGeom>
                <a:avLst/>
                <a:gdLst>
                  <a:gd name="T0" fmla="*/ 1526 w 2519"/>
                  <a:gd name="T1" fmla="*/ 1470 h 1814"/>
                  <a:gd name="T2" fmla="*/ 1566 w 2519"/>
                  <a:gd name="T3" fmla="*/ 1407 h 1814"/>
                  <a:gd name="T4" fmla="*/ 1677 w 2519"/>
                  <a:gd name="T5" fmla="*/ 1399 h 1814"/>
                  <a:gd name="T6" fmla="*/ 1782 w 2519"/>
                  <a:gd name="T7" fmla="*/ 1413 h 1814"/>
                  <a:gd name="T8" fmla="*/ 1876 w 2519"/>
                  <a:gd name="T9" fmla="*/ 1446 h 1814"/>
                  <a:gd name="T10" fmla="*/ 1943 w 2519"/>
                  <a:gd name="T11" fmla="*/ 1437 h 1814"/>
                  <a:gd name="T12" fmla="*/ 2016 w 2519"/>
                  <a:gd name="T13" fmla="*/ 1532 h 1814"/>
                  <a:gd name="T14" fmla="*/ 2098 w 2519"/>
                  <a:gd name="T15" fmla="*/ 1568 h 1814"/>
                  <a:gd name="T16" fmla="*/ 2141 w 2519"/>
                  <a:gd name="T17" fmla="*/ 1514 h 1814"/>
                  <a:gd name="T18" fmla="*/ 2190 w 2519"/>
                  <a:gd name="T19" fmla="*/ 1432 h 1814"/>
                  <a:gd name="T20" fmla="*/ 2261 w 2519"/>
                  <a:gd name="T21" fmla="*/ 1471 h 1814"/>
                  <a:gd name="T22" fmla="*/ 2347 w 2519"/>
                  <a:gd name="T23" fmla="*/ 1454 h 1814"/>
                  <a:gd name="T24" fmla="*/ 2413 w 2519"/>
                  <a:gd name="T25" fmla="*/ 1398 h 1814"/>
                  <a:gd name="T26" fmla="*/ 2311 w 2519"/>
                  <a:gd name="T27" fmla="*/ 1318 h 1814"/>
                  <a:gd name="T28" fmla="*/ 2226 w 2519"/>
                  <a:gd name="T29" fmla="*/ 1263 h 1814"/>
                  <a:gd name="T30" fmla="*/ 2172 w 2519"/>
                  <a:gd name="T31" fmla="*/ 1178 h 1814"/>
                  <a:gd name="T32" fmla="*/ 2289 w 2519"/>
                  <a:gd name="T33" fmla="*/ 1229 h 1814"/>
                  <a:gd name="T34" fmla="*/ 2318 w 2519"/>
                  <a:gd name="T35" fmla="*/ 1159 h 1814"/>
                  <a:gd name="T36" fmla="*/ 2338 w 2519"/>
                  <a:gd name="T37" fmla="*/ 1076 h 1814"/>
                  <a:gd name="T38" fmla="*/ 2399 w 2519"/>
                  <a:gd name="T39" fmla="*/ 1010 h 1814"/>
                  <a:gd name="T40" fmla="*/ 2422 w 2519"/>
                  <a:gd name="T41" fmla="*/ 970 h 1814"/>
                  <a:gd name="T42" fmla="*/ 2437 w 2519"/>
                  <a:gd name="T43" fmla="*/ 923 h 1814"/>
                  <a:gd name="T44" fmla="*/ 2475 w 2519"/>
                  <a:gd name="T45" fmla="*/ 928 h 1814"/>
                  <a:gd name="T46" fmla="*/ 2511 w 2519"/>
                  <a:gd name="T47" fmla="*/ 842 h 1814"/>
                  <a:gd name="T48" fmla="*/ 2484 w 2519"/>
                  <a:gd name="T49" fmla="*/ 748 h 1814"/>
                  <a:gd name="T50" fmla="*/ 2453 w 2519"/>
                  <a:gd name="T51" fmla="*/ 666 h 1814"/>
                  <a:gd name="T52" fmla="*/ 2415 w 2519"/>
                  <a:gd name="T53" fmla="*/ 578 h 1814"/>
                  <a:gd name="T54" fmla="*/ 2371 w 2519"/>
                  <a:gd name="T55" fmla="*/ 504 h 1814"/>
                  <a:gd name="T56" fmla="*/ 2326 w 2519"/>
                  <a:gd name="T57" fmla="*/ 441 h 1814"/>
                  <a:gd name="T58" fmla="*/ 2237 w 2519"/>
                  <a:gd name="T59" fmla="*/ 456 h 1814"/>
                  <a:gd name="T60" fmla="*/ 2136 w 2519"/>
                  <a:gd name="T61" fmla="*/ 360 h 1814"/>
                  <a:gd name="T62" fmla="*/ 2011 w 2519"/>
                  <a:gd name="T63" fmla="*/ 261 h 1814"/>
                  <a:gd name="T64" fmla="*/ 1977 w 2519"/>
                  <a:gd name="T65" fmla="*/ 197 h 1814"/>
                  <a:gd name="T66" fmla="*/ 1880 w 2519"/>
                  <a:gd name="T67" fmla="*/ 202 h 1814"/>
                  <a:gd name="T68" fmla="*/ 1765 w 2519"/>
                  <a:gd name="T69" fmla="*/ 131 h 1814"/>
                  <a:gd name="T70" fmla="*/ 1653 w 2519"/>
                  <a:gd name="T71" fmla="*/ 151 h 1814"/>
                  <a:gd name="T72" fmla="*/ 1505 w 2519"/>
                  <a:gd name="T73" fmla="*/ 137 h 1814"/>
                  <a:gd name="T74" fmla="*/ 1386 w 2519"/>
                  <a:gd name="T75" fmla="*/ 201 h 1814"/>
                  <a:gd name="T76" fmla="*/ 1269 w 2519"/>
                  <a:gd name="T77" fmla="*/ 129 h 1814"/>
                  <a:gd name="T78" fmla="*/ 1147 w 2519"/>
                  <a:gd name="T79" fmla="*/ 83 h 1814"/>
                  <a:gd name="T80" fmla="*/ 1017 w 2519"/>
                  <a:gd name="T81" fmla="*/ 52 h 1814"/>
                  <a:gd name="T82" fmla="*/ 930 w 2519"/>
                  <a:gd name="T83" fmla="*/ 2 h 1814"/>
                  <a:gd name="T84" fmla="*/ 442 w 2519"/>
                  <a:gd name="T85" fmla="*/ 67 h 1814"/>
                  <a:gd name="T86" fmla="*/ 218 w 2519"/>
                  <a:gd name="T87" fmla="*/ 279 h 1814"/>
                  <a:gd name="T88" fmla="*/ 31 w 2519"/>
                  <a:gd name="T89" fmla="*/ 807 h 1814"/>
                  <a:gd name="T90" fmla="*/ 213 w 2519"/>
                  <a:gd name="T91" fmla="*/ 1385 h 1814"/>
                  <a:gd name="T92" fmla="*/ 1002 w 2519"/>
                  <a:gd name="T93" fmla="*/ 1657 h 1814"/>
                  <a:gd name="T94" fmla="*/ 1509 w 2519"/>
                  <a:gd name="T95" fmla="*/ 1665 h 1814"/>
                  <a:gd name="T96" fmla="*/ 1526 w 2519"/>
                  <a:gd name="T97" fmla="*/ 1506 h 18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519" h="1814">
                    <a:moveTo>
                      <a:pt x="1526" y="1506"/>
                    </a:moveTo>
                    <a:cubicBezTo>
                      <a:pt x="1526" y="1506"/>
                      <a:pt x="1537" y="1487"/>
                      <a:pt x="1526" y="1470"/>
                    </a:cubicBezTo>
                    <a:cubicBezTo>
                      <a:pt x="1514" y="1453"/>
                      <a:pt x="1508" y="1425"/>
                      <a:pt x="1528" y="1418"/>
                    </a:cubicBezTo>
                    <a:cubicBezTo>
                      <a:pt x="1548" y="1411"/>
                      <a:pt x="1560" y="1415"/>
                      <a:pt x="1566" y="1407"/>
                    </a:cubicBezTo>
                    <a:cubicBezTo>
                      <a:pt x="1572" y="1398"/>
                      <a:pt x="1601" y="1389"/>
                      <a:pt x="1618" y="1402"/>
                    </a:cubicBezTo>
                    <a:cubicBezTo>
                      <a:pt x="1636" y="1415"/>
                      <a:pt x="1657" y="1404"/>
                      <a:pt x="1677" y="1399"/>
                    </a:cubicBezTo>
                    <a:cubicBezTo>
                      <a:pt x="1697" y="1394"/>
                      <a:pt x="1706" y="1410"/>
                      <a:pt x="1725" y="1404"/>
                    </a:cubicBezTo>
                    <a:cubicBezTo>
                      <a:pt x="1743" y="1397"/>
                      <a:pt x="1765" y="1396"/>
                      <a:pt x="1782" y="1413"/>
                    </a:cubicBezTo>
                    <a:cubicBezTo>
                      <a:pt x="1798" y="1429"/>
                      <a:pt x="1829" y="1433"/>
                      <a:pt x="1841" y="1446"/>
                    </a:cubicBezTo>
                    <a:cubicBezTo>
                      <a:pt x="1852" y="1459"/>
                      <a:pt x="1871" y="1457"/>
                      <a:pt x="1876" y="1446"/>
                    </a:cubicBezTo>
                    <a:cubicBezTo>
                      <a:pt x="1881" y="1434"/>
                      <a:pt x="1887" y="1416"/>
                      <a:pt x="1914" y="1416"/>
                    </a:cubicBezTo>
                    <a:cubicBezTo>
                      <a:pt x="1942" y="1416"/>
                      <a:pt x="1941" y="1417"/>
                      <a:pt x="1943" y="1437"/>
                    </a:cubicBezTo>
                    <a:cubicBezTo>
                      <a:pt x="1946" y="1457"/>
                      <a:pt x="1963" y="1466"/>
                      <a:pt x="1971" y="1486"/>
                    </a:cubicBezTo>
                    <a:cubicBezTo>
                      <a:pt x="1978" y="1505"/>
                      <a:pt x="2004" y="1518"/>
                      <a:pt x="2016" y="1532"/>
                    </a:cubicBezTo>
                    <a:cubicBezTo>
                      <a:pt x="2029" y="1545"/>
                      <a:pt x="2027" y="1567"/>
                      <a:pt x="2045" y="1571"/>
                    </a:cubicBezTo>
                    <a:cubicBezTo>
                      <a:pt x="2063" y="1574"/>
                      <a:pt x="2080" y="1562"/>
                      <a:pt x="2098" y="1568"/>
                    </a:cubicBezTo>
                    <a:cubicBezTo>
                      <a:pt x="2115" y="1574"/>
                      <a:pt x="2136" y="1568"/>
                      <a:pt x="2141" y="1554"/>
                    </a:cubicBezTo>
                    <a:cubicBezTo>
                      <a:pt x="2145" y="1539"/>
                      <a:pt x="2147" y="1523"/>
                      <a:pt x="2141" y="1514"/>
                    </a:cubicBezTo>
                    <a:cubicBezTo>
                      <a:pt x="2134" y="1504"/>
                      <a:pt x="2144" y="1485"/>
                      <a:pt x="2152" y="1471"/>
                    </a:cubicBezTo>
                    <a:cubicBezTo>
                      <a:pt x="2160" y="1458"/>
                      <a:pt x="2179" y="1445"/>
                      <a:pt x="2190" y="1432"/>
                    </a:cubicBezTo>
                    <a:cubicBezTo>
                      <a:pt x="2201" y="1418"/>
                      <a:pt x="2204" y="1416"/>
                      <a:pt x="2217" y="1429"/>
                    </a:cubicBezTo>
                    <a:cubicBezTo>
                      <a:pt x="2229" y="1441"/>
                      <a:pt x="2234" y="1454"/>
                      <a:pt x="2261" y="1471"/>
                    </a:cubicBezTo>
                    <a:cubicBezTo>
                      <a:pt x="2287" y="1487"/>
                      <a:pt x="2302" y="1485"/>
                      <a:pt x="2308" y="1468"/>
                    </a:cubicBezTo>
                    <a:cubicBezTo>
                      <a:pt x="2314" y="1451"/>
                      <a:pt x="2333" y="1449"/>
                      <a:pt x="2347" y="1454"/>
                    </a:cubicBezTo>
                    <a:cubicBezTo>
                      <a:pt x="2360" y="1459"/>
                      <a:pt x="2388" y="1479"/>
                      <a:pt x="2391" y="1455"/>
                    </a:cubicBezTo>
                    <a:cubicBezTo>
                      <a:pt x="2393" y="1430"/>
                      <a:pt x="2411" y="1413"/>
                      <a:pt x="2413" y="1398"/>
                    </a:cubicBezTo>
                    <a:cubicBezTo>
                      <a:pt x="2416" y="1383"/>
                      <a:pt x="2429" y="1361"/>
                      <a:pt x="2399" y="1350"/>
                    </a:cubicBezTo>
                    <a:cubicBezTo>
                      <a:pt x="2369" y="1339"/>
                      <a:pt x="2322" y="1348"/>
                      <a:pt x="2311" y="1318"/>
                    </a:cubicBezTo>
                    <a:cubicBezTo>
                      <a:pt x="2301" y="1288"/>
                      <a:pt x="2286" y="1283"/>
                      <a:pt x="2273" y="1276"/>
                    </a:cubicBezTo>
                    <a:cubicBezTo>
                      <a:pt x="2261" y="1270"/>
                      <a:pt x="2271" y="1268"/>
                      <a:pt x="2226" y="1263"/>
                    </a:cubicBezTo>
                    <a:cubicBezTo>
                      <a:pt x="2181" y="1258"/>
                      <a:pt x="2164" y="1251"/>
                      <a:pt x="2165" y="1229"/>
                    </a:cubicBezTo>
                    <a:cubicBezTo>
                      <a:pt x="2165" y="1207"/>
                      <a:pt x="2154" y="1162"/>
                      <a:pt x="2172" y="1178"/>
                    </a:cubicBezTo>
                    <a:cubicBezTo>
                      <a:pt x="2190" y="1193"/>
                      <a:pt x="2192" y="1207"/>
                      <a:pt x="2216" y="1216"/>
                    </a:cubicBezTo>
                    <a:cubicBezTo>
                      <a:pt x="2239" y="1224"/>
                      <a:pt x="2273" y="1232"/>
                      <a:pt x="2289" y="1229"/>
                    </a:cubicBezTo>
                    <a:cubicBezTo>
                      <a:pt x="2305" y="1226"/>
                      <a:pt x="2324" y="1211"/>
                      <a:pt x="2325" y="1200"/>
                    </a:cubicBezTo>
                    <a:cubicBezTo>
                      <a:pt x="2327" y="1189"/>
                      <a:pt x="2329" y="1176"/>
                      <a:pt x="2318" y="1159"/>
                    </a:cubicBezTo>
                    <a:cubicBezTo>
                      <a:pt x="2307" y="1142"/>
                      <a:pt x="2306" y="1120"/>
                      <a:pt x="2312" y="1103"/>
                    </a:cubicBezTo>
                    <a:cubicBezTo>
                      <a:pt x="2318" y="1087"/>
                      <a:pt x="2317" y="1076"/>
                      <a:pt x="2338" y="1076"/>
                    </a:cubicBezTo>
                    <a:cubicBezTo>
                      <a:pt x="2359" y="1077"/>
                      <a:pt x="2368" y="1065"/>
                      <a:pt x="2381" y="1055"/>
                    </a:cubicBezTo>
                    <a:cubicBezTo>
                      <a:pt x="2393" y="1045"/>
                      <a:pt x="2410" y="1031"/>
                      <a:pt x="2399" y="1010"/>
                    </a:cubicBezTo>
                    <a:cubicBezTo>
                      <a:pt x="2388" y="990"/>
                      <a:pt x="2390" y="987"/>
                      <a:pt x="2397" y="970"/>
                    </a:cubicBezTo>
                    <a:cubicBezTo>
                      <a:pt x="2405" y="953"/>
                      <a:pt x="2414" y="965"/>
                      <a:pt x="2422" y="970"/>
                    </a:cubicBezTo>
                    <a:cubicBezTo>
                      <a:pt x="2429" y="975"/>
                      <a:pt x="2441" y="968"/>
                      <a:pt x="2435" y="956"/>
                    </a:cubicBezTo>
                    <a:cubicBezTo>
                      <a:pt x="2430" y="943"/>
                      <a:pt x="2422" y="929"/>
                      <a:pt x="2437" y="923"/>
                    </a:cubicBezTo>
                    <a:cubicBezTo>
                      <a:pt x="2452" y="917"/>
                      <a:pt x="2450" y="929"/>
                      <a:pt x="2463" y="940"/>
                    </a:cubicBezTo>
                    <a:cubicBezTo>
                      <a:pt x="2476" y="951"/>
                      <a:pt x="2475" y="941"/>
                      <a:pt x="2475" y="928"/>
                    </a:cubicBezTo>
                    <a:cubicBezTo>
                      <a:pt x="2475" y="915"/>
                      <a:pt x="2486" y="912"/>
                      <a:pt x="2494" y="894"/>
                    </a:cubicBezTo>
                    <a:cubicBezTo>
                      <a:pt x="2502" y="875"/>
                      <a:pt x="2508" y="854"/>
                      <a:pt x="2511" y="842"/>
                    </a:cubicBezTo>
                    <a:cubicBezTo>
                      <a:pt x="2515" y="829"/>
                      <a:pt x="2519" y="796"/>
                      <a:pt x="2511" y="773"/>
                    </a:cubicBezTo>
                    <a:cubicBezTo>
                      <a:pt x="2503" y="751"/>
                      <a:pt x="2496" y="749"/>
                      <a:pt x="2484" y="748"/>
                    </a:cubicBezTo>
                    <a:cubicBezTo>
                      <a:pt x="2471" y="748"/>
                      <a:pt x="2469" y="732"/>
                      <a:pt x="2469" y="716"/>
                    </a:cubicBezTo>
                    <a:cubicBezTo>
                      <a:pt x="2469" y="700"/>
                      <a:pt x="2469" y="680"/>
                      <a:pt x="2453" y="666"/>
                    </a:cubicBezTo>
                    <a:cubicBezTo>
                      <a:pt x="2438" y="653"/>
                      <a:pt x="2423" y="634"/>
                      <a:pt x="2424" y="618"/>
                    </a:cubicBezTo>
                    <a:cubicBezTo>
                      <a:pt x="2425" y="601"/>
                      <a:pt x="2430" y="594"/>
                      <a:pt x="2415" y="578"/>
                    </a:cubicBezTo>
                    <a:cubicBezTo>
                      <a:pt x="2401" y="562"/>
                      <a:pt x="2397" y="549"/>
                      <a:pt x="2394" y="535"/>
                    </a:cubicBezTo>
                    <a:cubicBezTo>
                      <a:pt x="2390" y="520"/>
                      <a:pt x="2387" y="509"/>
                      <a:pt x="2371" y="504"/>
                    </a:cubicBezTo>
                    <a:cubicBezTo>
                      <a:pt x="2355" y="499"/>
                      <a:pt x="2351" y="491"/>
                      <a:pt x="2351" y="475"/>
                    </a:cubicBezTo>
                    <a:cubicBezTo>
                      <a:pt x="2352" y="458"/>
                      <a:pt x="2339" y="448"/>
                      <a:pt x="2326" y="441"/>
                    </a:cubicBezTo>
                    <a:cubicBezTo>
                      <a:pt x="2312" y="435"/>
                      <a:pt x="2288" y="417"/>
                      <a:pt x="2269" y="441"/>
                    </a:cubicBezTo>
                    <a:cubicBezTo>
                      <a:pt x="2250" y="465"/>
                      <a:pt x="2251" y="471"/>
                      <a:pt x="2237" y="456"/>
                    </a:cubicBezTo>
                    <a:cubicBezTo>
                      <a:pt x="2222" y="442"/>
                      <a:pt x="2171" y="410"/>
                      <a:pt x="2164" y="390"/>
                    </a:cubicBezTo>
                    <a:cubicBezTo>
                      <a:pt x="2158" y="370"/>
                      <a:pt x="2159" y="371"/>
                      <a:pt x="2136" y="360"/>
                    </a:cubicBezTo>
                    <a:cubicBezTo>
                      <a:pt x="2112" y="350"/>
                      <a:pt x="2064" y="334"/>
                      <a:pt x="2047" y="316"/>
                    </a:cubicBezTo>
                    <a:cubicBezTo>
                      <a:pt x="2030" y="298"/>
                      <a:pt x="2016" y="283"/>
                      <a:pt x="2011" y="261"/>
                    </a:cubicBezTo>
                    <a:cubicBezTo>
                      <a:pt x="2006" y="239"/>
                      <a:pt x="2009" y="217"/>
                      <a:pt x="2002" y="201"/>
                    </a:cubicBezTo>
                    <a:cubicBezTo>
                      <a:pt x="1996" y="185"/>
                      <a:pt x="1993" y="181"/>
                      <a:pt x="1977" y="197"/>
                    </a:cubicBezTo>
                    <a:cubicBezTo>
                      <a:pt x="1962" y="213"/>
                      <a:pt x="1949" y="228"/>
                      <a:pt x="1934" y="228"/>
                    </a:cubicBezTo>
                    <a:cubicBezTo>
                      <a:pt x="1920" y="227"/>
                      <a:pt x="1893" y="214"/>
                      <a:pt x="1880" y="202"/>
                    </a:cubicBezTo>
                    <a:cubicBezTo>
                      <a:pt x="1867" y="190"/>
                      <a:pt x="1836" y="178"/>
                      <a:pt x="1817" y="165"/>
                    </a:cubicBezTo>
                    <a:cubicBezTo>
                      <a:pt x="1797" y="152"/>
                      <a:pt x="1779" y="139"/>
                      <a:pt x="1765" y="131"/>
                    </a:cubicBezTo>
                    <a:cubicBezTo>
                      <a:pt x="1752" y="123"/>
                      <a:pt x="1730" y="114"/>
                      <a:pt x="1702" y="122"/>
                    </a:cubicBezTo>
                    <a:cubicBezTo>
                      <a:pt x="1673" y="130"/>
                      <a:pt x="1673" y="146"/>
                      <a:pt x="1653" y="151"/>
                    </a:cubicBezTo>
                    <a:cubicBezTo>
                      <a:pt x="1633" y="157"/>
                      <a:pt x="1608" y="151"/>
                      <a:pt x="1594" y="148"/>
                    </a:cubicBezTo>
                    <a:cubicBezTo>
                      <a:pt x="1579" y="146"/>
                      <a:pt x="1541" y="123"/>
                      <a:pt x="1505" y="137"/>
                    </a:cubicBezTo>
                    <a:cubicBezTo>
                      <a:pt x="1470" y="151"/>
                      <a:pt x="1461" y="169"/>
                      <a:pt x="1441" y="175"/>
                    </a:cubicBezTo>
                    <a:cubicBezTo>
                      <a:pt x="1421" y="182"/>
                      <a:pt x="1408" y="199"/>
                      <a:pt x="1386" y="201"/>
                    </a:cubicBezTo>
                    <a:cubicBezTo>
                      <a:pt x="1364" y="203"/>
                      <a:pt x="1355" y="204"/>
                      <a:pt x="1321" y="186"/>
                    </a:cubicBezTo>
                    <a:cubicBezTo>
                      <a:pt x="1288" y="169"/>
                      <a:pt x="1275" y="143"/>
                      <a:pt x="1269" y="129"/>
                    </a:cubicBezTo>
                    <a:cubicBezTo>
                      <a:pt x="1263" y="115"/>
                      <a:pt x="1251" y="114"/>
                      <a:pt x="1226" y="110"/>
                    </a:cubicBezTo>
                    <a:cubicBezTo>
                      <a:pt x="1201" y="107"/>
                      <a:pt x="1160" y="97"/>
                      <a:pt x="1147" y="83"/>
                    </a:cubicBezTo>
                    <a:cubicBezTo>
                      <a:pt x="1134" y="68"/>
                      <a:pt x="1115" y="66"/>
                      <a:pt x="1094" y="60"/>
                    </a:cubicBezTo>
                    <a:cubicBezTo>
                      <a:pt x="1072" y="53"/>
                      <a:pt x="1032" y="52"/>
                      <a:pt x="1017" y="52"/>
                    </a:cubicBezTo>
                    <a:cubicBezTo>
                      <a:pt x="1002" y="51"/>
                      <a:pt x="957" y="54"/>
                      <a:pt x="957" y="54"/>
                    </a:cubicBezTo>
                    <a:cubicBezTo>
                      <a:pt x="957" y="54"/>
                      <a:pt x="931" y="3"/>
                      <a:pt x="930" y="2"/>
                    </a:cubicBezTo>
                    <a:cubicBezTo>
                      <a:pt x="929" y="0"/>
                      <a:pt x="797" y="18"/>
                      <a:pt x="797" y="18"/>
                    </a:cubicBezTo>
                    <a:cubicBezTo>
                      <a:pt x="442" y="67"/>
                      <a:pt x="442" y="67"/>
                      <a:pt x="442" y="67"/>
                    </a:cubicBezTo>
                    <a:cubicBezTo>
                      <a:pt x="277" y="127"/>
                      <a:pt x="277" y="127"/>
                      <a:pt x="277" y="127"/>
                    </a:cubicBezTo>
                    <a:cubicBezTo>
                      <a:pt x="218" y="279"/>
                      <a:pt x="218" y="279"/>
                      <a:pt x="218" y="279"/>
                    </a:cubicBezTo>
                    <a:cubicBezTo>
                      <a:pt x="162" y="604"/>
                      <a:pt x="162" y="604"/>
                      <a:pt x="162" y="604"/>
                    </a:cubicBezTo>
                    <a:cubicBezTo>
                      <a:pt x="31" y="807"/>
                      <a:pt x="31" y="807"/>
                      <a:pt x="31" y="807"/>
                    </a:cubicBezTo>
                    <a:cubicBezTo>
                      <a:pt x="0" y="1107"/>
                      <a:pt x="0" y="1107"/>
                      <a:pt x="0" y="1107"/>
                    </a:cubicBezTo>
                    <a:cubicBezTo>
                      <a:pt x="213" y="1385"/>
                      <a:pt x="213" y="1385"/>
                      <a:pt x="213" y="1385"/>
                    </a:cubicBezTo>
                    <a:cubicBezTo>
                      <a:pt x="597" y="1529"/>
                      <a:pt x="597" y="1529"/>
                      <a:pt x="597" y="1529"/>
                    </a:cubicBezTo>
                    <a:cubicBezTo>
                      <a:pt x="1002" y="1657"/>
                      <a:pt x="1002" y="1657"/>
                      <a:pt x="1002" y="1657"/>
                    </a:cubicBezTo>
                    <a:cubicBezTo>
                      <a:pt x="1298" y="1814"/>
                      <a:pt x="1298" y="1814"/>
                      <a:pt x="1298" y="1814"/>
                    </a:cubicBezTo>
                    <a:cubicBezTo>
                      <a:pt x="1509" y="1665"/>
                      <a:pt x="1509" y="1665"/>
                      <a:pt x="1509" y="1665"/>
                    </a:cubicBezTo>
                    <a:cubicBezTo>
                      <a:pt x="1505" y="1534"/>
                      <a:pt x="1505" y="1534"/>
                      <a:pt x="1505" y="1534"/>
                    </a:cubicBezTo>
                    <a:lnTo>
                      <a:pt x="1526" y="1506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39" name="Freeform 32"/>
              <p:cNvSpPr/>
              <p:nvPr/>
            </p:nvSpPr>
            <p:spPr bwMode="auto">
              <a:xfrm>
                <a:off x="1985541" y="3982740"/>
                <a:ext cx="2089150" cy="1258887"/>
              </a:xfrm>
              <a:custGeom>
                <a:avLst/>
                <a:gdLst>
                  <a:gd name="T0" fmla="*/ 64 w 3735"/>
                  <a:gd name="T1" fmla="*/ 263 h 2250"/>
                  <a:gd name="T2" fmla="*/ 157 w 3735"/>
                  <a:gd name="T3" fmla="*/ 524 h 2250"/>
                  <a:gd name="T4" fmla="*/ 186 w 3735"/>
                  <a:gd name="T5" fmla="*/ 740 h 2250"/>
                  <a:gd name="T6" fmla="*/ 6 w 3735"/>
                  <a:gd name="T7" fmla="*/ 808 h 2250"/>
                  <a:gd name="T8" fmla="*/ 28 w 3735"/>
                  <a:gd name="T9" fmla="*/ 1031 h 2250"/>
                  <a:gd name="T10" fmla="*/ 170 w 3735"/>
                  <a:gd name="T11" fmla="*/ 1169 h 2250"/>
                  <a:gd name="T12" fmla="*/ 352 w 3735"/>
                  <a:gd name="T13" fmla="*/ 1342 h 2250"/>
                  <a:gd name="T14" fmla="*/ 591 w 3735"/>
                  <a:gd name="T15" fmla="*/ 1423 h 2250"/>
                  <a:gd name="T16" fmla="*/ 785 w 3735"/>
                  <a:gd name="T17" fmla="*/ 1619 h 2250"/>
                  <a:gd name="T18" fmla="*/ 953 w 3735"/>
                  <a:gd name="T19" fmla="*/ 1777 h 2250"/>
                  <a:gd name="T20" fmla="*/ 1065 w 3735"/>
                  <a:gd name="T21" fmla="*/ 1856 h 2250"/>
                  <a:gd name="T22" fmla="*/ 1192 w 3735"/>
                  <a:gd name="T23" fmla="*/ 1972 h 2250"/>
                  <a:gd name="T24" fmla="*/ 1319 w 3735"/>
                  <a:gd name="T25" fmla="*/ 2005 h 2250"/>
                  <a:gd name="T26" fmla="*/ 1594 w 3735"/>
                  <a:gd name="T27" fmla="*/ 2072 h 2250"/>
                  <a:gd name="T28" fmla="*/ 1739 w 3735"/>
                  <a:gd name="T29" fmla="*/ 2182 h 2250"/>
                  <a:gd name="T30" fmla="*/ 1921 w 3735"/>
                  <a:gd name="T31" fmla="*/ 2076 h 2250"/>
                  <a:gd name="T32" fmla="*/ 2187 w 3735"/>
                  <a:gd name="T33" fmla="*/ 2150 h 2250"/>
                  <a:gd name="T34" fmla="*/ 2391 w 3735"/>
                  <a:gd name="T35" fmla="*/ 2214 h 2250"/>
                  <a:gd name="T36" fmla="*/ 2579 w 3735"/>
                  <a:gd name="T37" fmla="*/ 2122 h 2250"/>
                  <a:gd name="T38" fmla="*/ 2796 w 3735"/>
                  <a:gd name="T39" fmla="*/ 1996 h 2250"/>
                  <a:gd name="T40" fmla="*/ 3016 w 3735"/>
                  <a:gd name="T41" fmla="*/ 2033 h 2250"/>
                  <a:gd name="T42" fmla="*/ 3177 w 3735"/>
                  <a:gd name="T43" fmla="*/ 2001 h 2250"/>
                  <a:gd name="T44" fmla="*/ 3202 w 3735"/>
                  <a:gd name="T45" fmla="*/ 2068 h 2250"/>
                  <a:gd name="T46" fmla="*/ 3192 w 3735"/>
                  <a:gd name="T47" fmla="*/ 2201 h 2250"/>
                  <a:gd name="T48" fmla="*/ 3376 w 3735"/>
                  <a:gd name="T49" fmla="*/ 2223 h 2250"/>
                  <a:gd name="T50" fmla="*/ 3529 w 3735"/>
                  <a:gd name="T51" fmla="*/ 2235 h 2250"/>
                  <a:gd name="T52" fmla="*/ 3595 w 3735"/>
                  <a:gd name="T53" fmla="*/ 2205 h 2250"/>
                  <a:gd name="T54" fmla="*/ 3636 w 3735"/>
                  <a:gd name="T55" fmla="*/ 2080 h 2250"/>
                  <a:gd name="T56" fmla="*/ 3692 w 3735"/>
                  <a:gd name="T57" fmla="*/ 2008 h 2250"/>
                  <a:gd name="T58" fmla="*/ 3719 w 3735"/>
                  <a:gd name="T59" fmla="*/ 1830 h 2250"/>
                  <a:gd name="T60" fmla="*/ 3686 w 3735"/>
                  <a:gd name="T61" fmla="*/ 1600 h 2250"/>
                  <a:gd name="T62" fmla="*/ 3681 w 3735"/>
                  <a:gd name="T63" fmla="*/ 1453 h 2250"/>
                  <a:gd name="T64" fmla="*/ 3608 w 3735"/>
                  <a:gd name="T65" fmla="*/ 1369 h 2250"/>
                  <a:gd name="T66" fmla="*/ 3523 w 3735"/>
                  <a:gd name="T67" fmla="*/ 1229 h 2250"/>
                  <a:gd name="T68" fmla="*/ 3414 w 3735"/>
                  <a:gd name="T69" fmla="*/ 1239 h 2250"/>
                  <a:gd name="T70" fmla="*/ 3357 w 3735"/>
                  <a:gd name="T71" fmla="*/ 1393 h 2250"/>
                  <a:gd name="T72" fmla="*/ 3235 w 3735"/>
                  <a:gd name="T73" fmla="*/ 1428 h 2250"/>
                  <a:gd name="T74" fmla="*/ 3094 w 3735"/>
                  <a:gd name="T75" fmla="*/ 1384 h 2250"/>
                  <a:gd name="T76" fmla="*/ 2990 w 3735"/>
                  <a:gd name="T77" fmla="*/ 1258 h 2250"/>
                  <a:gd name="T78" fmla="*/ 2848 w 3735"/>
                  <a:gd name="T79" fmla="*/ 1219 h 2250"/>
                  <a:gd name="T80" fmla="*/ 2659 w 3735"/>
                  <a:gd name="T81" fmla="*/ 1192 h 2250"/>
                  <a:gd name="T82" fmla="*/ 2514 w 3735"/>
                  <a:gd name="T83" fmla="*/ 1155 h 2250"/>
                  <a:gd name="T84" fmla="*/ 2251 w 3735"/>
                  <a:gd name="T85" fmla="*/ 1041 h 2250"/>
                  <a:gd name="T86" fmla="*/ 2126 w 3735"/>
                  <a:gd name="T87" fmla="*/ 876 h 2250"/>
                  <a:gd name="T88" fmla="*/ 2067 w 3735"/>
                  <a:gd name="T89" fmla="*/ 701 h 2250"/>
                  <a:gd name="T90" fmla="*/ 2121 w 3735"/>
                  <a:gd name="T91" fmla="*/ 594 h 2250"/>
                  <a:gd name="T92" fmla="*/ 2170 w 3735"/>
                  <a:gd name="T93" fmla="*/ 434 h 2250"/>
                  <a:gd name="T94" fmla="*/ 2169 w 3735"/>
                  <a:gd name="T95" fmla="*/ 312 h 2250"/>
                  <a:gd name="T96" fmla="*/ 460 w 3735"/>
                  <a:gd name="T97" fmla="*/ 0 h 2250"/>
                  <a:gd name="T98" fmla="*/ 44 w 3735"/>
                  <a:gd name="T99" fmla="*/ 150 h 2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735" h="2250">
                    <a:moveTo>
                      <a:pt x="44" y="150"/>
                    </a:moveTo>
                    <a:cubicBezTo>
                      <a:pt x="47" y="155"/>
                      <a:pt x="47" y="162"/>
                      <a:pt x="42" y="173"/>
                    </a:cubicBezTo>
                    <a:cubicBezTo>
                      <a:pt x="20" y="215"/>
                      <a:pt x="61" y="225"/>
                      <a:pt x="64" y="263"/>
                    </a:cubicBezTo>
                    <a:cubicBezTo>
                      <a:pt x="67" y="301"/>
                      <a:pt x="80" y="317"/>
                      <a:pt x="119" y="341"/>
                    </a:cubicBezTo>
                    <a:cubicBezTo>
                      <a:pt x="157" y="364"/>
                      <a:pt x="213" y="390"/>
                      <a:pt x="172" y="435"/>
                    </a:cubicBezTo>
                    <a:cubicBezTo>
                      <a:pt x="131" y="480"/>
                      <a:pt x="136" y="480"/>
                      <a:pt x="157" y="524"/>
                    </a:cubicBezTo>
                    <a:cubicBezTo>
                      <a:pt x="177" y="567"/>
                      <a:pt x="143" y="562"/>
                      <a:pt x="124" y="574"/>
                    </a:cubicBezTo>
                    <a:cubicBezTo>
                      <a:pt x="105" y="587"/>
                      <a:pt x="120" y="617"/>
                      <a:pt x="138" y="634"/>
                    </a:cubicBezTo>
                    <a:cubicBezTo>
                      <a:pt x="155" y="652"/>
                      <a:pt x="177" y="686"/>
                      <a:pt x="186" y="740"/>
                    </a:cubicBezTo>
                    <a:cubicBezTo>
                      <a:pt x="195" y="793"/>
                      <a:pt x="217" y="807"/>
                      <a:pt x="176" y="816"/>
                    </a:cubicBezTo>
                    <a:cubicBezTo>
                      <a:pt x="135" y="826"/>
                      <a:pt x="113" y="865"/>
                      <a:pt x="68" y="816"/>
                    </a:cubicBezTo>
                    <a:cubicBezTo>
                      <a:pt x="23" y="767"/>
                      <a:pt x="9" y="764"/>
                      <a:pt x="6" y="808"/>
                    </a:cubicBezTo>
                    <a:cubicBezTo>
                      <a:pt x="4" y="852"/>
                      <a:pt x="0" y="843"/>
                      <a:pt x="17" y="878"/>
                    </a:cubicBezTo>
                    <a:cubicBezTo>
                      <a:pt x="35" y="912"/>
                      <a:pt x="39" y="913"/>
                      <a:pt x="30" y="955"/>
                    </a:cubicBezTo>
                    <a:cubicBezTo>
                      <a:pt x="20" y="998"/>
                      <a:pt x="23" y="1002"/>
                      <a:pt x="28" y="1031"/>
                    </a:cubicBezTo>
                    <a:cubicBezTo>
                      <a:pt x="34" y="1059"/>
                      <a:pt x="41" y="1074"/>
                      <a:pt x="56" y="1059"/>
                    </a:cubicBezTo>
                    <a:cubicBezTo>
                      <a:pt x="71" y="1044"/>
                      <a:pt x="78" y="1057"/>
                      <a:pt x="93" y="1085"/>
                    </a:cubicBezTo>
                    <a:cubicBezTo>
                      <a:pt x="108" y="1114"/>
                      <a:pt x="132" y="1165"/>
                      <a:pt x="170" y="1169"/>
                    </a:cubicBezTo>
                    <a:cubicBezTo>
                      <a:pt x="209" y="1173"/>
                      <a:pt x="221" y="1195"/>
                      <a:pt x="237" y="1222"/>
                    </a:cubicBezTo>
                    <a:cubicBezTo>
                      <a:pt x="254" y="1249"/>
                      <a:pt x="222" y="1262"/>
                      <a:pt x="258" y="1275"/>
                    </a:cubicBezTo>
                    <a:cubicBezTo>
                      <a:pt x="293" y="1289"/>
                      <a:pt x="313" y="1287"/>
                      <a:pt x="352" y="1342"/>
                    </a:cubicBezTo>
                    <a:cubicBezTo>
                      <a:pt x="392" y="1397"/>
                      <a:pt x="410" y="1421"/>
                      <a:pt x="426" y="1398"/>
                    </a:cubicBezTo>
                    <a:cubicBezTo>
                      <a:pt x="442" y="1375"/>
                      <a:pt x="456" y="1328"/>
                      <a:pt x="517" y="1361"/>
                    </a:cubicBezTo>
                    <a:cubicBezTo>
                      <a:pt x="579" y="1394"/>
                      <a:pt x="583" y="1391"/>
                      <a:pt x="591" y="1423"/>
                    </a:cubicBezTo>
                    <a:cubicBezTo>
                      <a:pt x="599" y="1454"/>
                      <a:pt x="645" y="1469"/>
                      <a:pt x="666" y="1502"/>
                    </a:cubicBezTo>
                    <a:cubicBezTo>
                      <a:pt x="688" y="1535"/>
                      <a:pt x="691" y="1548"/>
                      <a:pt x="726" y="1565"/>
                    </a:cubicBezTo>
                    <a:cubicBezTo>
                      <a:pt x="762" y="1581"/>
                      <a:pt x="765" y="1579"/>
                      <a:pt x="785" y="1619"/>
                    </a:cubicBezTo>
                    <a:cubicBezTo>
                      <a:pt x="806" y="1660"/>
                      <a:pt x="813" y="1680"/>
                      <a:pt x="833" y="1658"/>
                    </a:cubicBezTo>
                    <a:cubicBezTo>
                      <a:pt x="854" y="1636"/>
                      <a:pt x="921" y="1655"/>
                      <a:pt x="919" y="1691"/>
                    </a:cubicBezTo>
                    <a:cubicBezTo>
                      <a:pt x="918" y="1726"/>
                      <a:pt x="923" y="1751"/>
                      <a:pt x="953" y="1777"/>
                    </a:cubicBezTo>
                    <a:cubicBezTo>
                      <a:pt x="983" y="1803"/>
                      <a:pt x="982" y="1797"/>
                      <a:pt x="1007" y="1826"/>
                    </a:cubicBezTo>
                    <a:cubicBezTo>
                      <a:pt x="1031" y="1854"/>
                      <a:pt x="1034" y="1831"/>
                      <a:pt x="1048" y="1826"/>
                    </a:cubicBezTo>
                    <a:cubicBezTo>
                      <a:pt x="1061" y="1820"/>
                      <a:pt x="1072" y="1842"/>
                      <a:pt x="1065" y="1856"/>
                    </a:cubicBezTo>
                    <a:cubicBezTo>
                      <a:pt x="1059" y="1870"/>
                      <a:pt x="1054" y="1890"/>
                      <a:pt x="1089" y="1905"/>
                    </a:cubicBezTo>
                    <a:cubicBezTo>
                      <a:pt x="1123" y="1920"/>
                      <a:pt x="1150" y="1894"/>
                      <a:pt x="1164" y="1921"/>
                    </a:cubicBezTo>
                    <a:cubicBezTo>
                      <a:pt x="1177" y="1949"/>
                      <a:pt x="1187" y="1950"/>
                      <a:pt x="1192" y="1972"/>
                    </a:cubicBezTo>
                    <a:cubicBezTo>
                      <a:pt x="1198" y="1994"/>
                      <a:pt x="1216" y="2024"/>
                      <a:pt x="1225" y="1990"/>
                    </a:cubicBezTo>
                    <a:cubicBezTo>
                      <a:pt x="1235" y="1956"/>
                      <a:pt x="1242" y="1984"/>
                      <a:pt x="1259" y="2005"/>
                    </a:cubicBezTo>
                    <a:cubicBezTo>
                      <a:pt x="1277" y="2027"/>
                      <a:pt x="1313" y="2027"/>
                      <a:pt x="1319" y="2005"/>
                    </a:cubicBezTo>
                    <a:cubicBezTo>
                      <a:pt x="1326" y="1983"/>
                      <a:pt x="1360" y="1992"/>
                      <a:pt x="1386" y="2022"/>
                    </a:cubicBezTo>
                    <a:cubicBezTo>
                      <a:pt x="1412" y="2051"/>
                      <a:pt x="1414" y="2061"/>
                      <a:pt x="1486" y="2072"/>
                    </a:cubicBezTo>
                    <a:cubicBezTo>
                      <a:pt x="1559" y="2083"/>
                      <a:pt x="1552" y="2070"/>
                      <a:pt x="1594" y="2072"/>
                    </a:cubicBezTo>
                    <a:cubicBezTo>
                      <a:pt x="1636" y="2073"/>
                      <a:pt x="1668" y="2054"/>
                      <a:pt x="1695" y="2061"/>
                    </a:cubicBezTo>
                    <a:cubicBezTo>
                      <a:pt x="1723" y="2068"/>
                      <a:pt x="1755" y="2055"/>
                      <a:pt x="1753" y="2096"/>
                    </a:cubicBezTo>
                    <a:cubicBezTo>
                      <a:pt x="1750" y="2137"/>
                      <a:pt x="1748" y="2165"/>
                      <a:pt x="1739" y="2182"/>
                    </a:cubicBezTo>
                    <a:cubicBezTo>
                      <a:pt x="1729" y="2200"/>
                      <a:pt x="1726" y="2230"/>
                      <a:pt x="1753" y="2210"/>
                    </a:cubicBezTo>
                    <a:cubicBezTo>
                      <a:pt x="1780" y="2189"/>
                      <a:pt x="1825" y="2144"/>
                      <a:pt x="1839" y="2124"/>
                    </a:cubicBezTo>
                    <a:cubicBezTo>
                      <a:pt x="1852" y="2103"/>
                      <a:pt x="1874" y="2085"/>
                      <a:pt x="1921" y="2076"/>
                    </a:cubicBezTo>
                    <a:cubicBezTo>
                      <a:pt x="1967" y="2066"/>
                      <a:pt x="2000" y="2040"/>
                      <a:pt x="2037" y="2069"/>
                    </a:cubicBezTo>
                    <a:cubicBezTo>
                      <a:pt x="2074" y="2098"/>
                      <a:pt x="2046" y="2109"/>
                      <a:pt x="2091" y="2125"/>
                    </a:cubicBezTo>
                    <a:cubicBezTo>
                      <a:pt x="2136" y="2141"/>
                      <a:pt x="2157" y="2154"/>
                      <a:pt x="2187" y="2150"/>
                    </a:cubicBezTo>
                    <a:cubicBezTo>
                      <a:pt x="2217" y="2146"/>
                      <a:pt x="2225" y="2159"/>
                      <a:pt x="2247" y="2177"/>
                    </a:cubicBezTo>
                    <a:cubicBezTo>
                      <a:pt x="2269" y="2195"/>
                      <a:pt x="2283" y="2223"/>
                      <a:pt x="2313" y="2225"/>
                    </a:cubicBezTo>
                    <a:cubicBezTo>
                      <a:pt x="2343" y="2226"/>
                      <a:pt x="2356" y="2200"/>
                      <a:pt x="2391" y="2214"/>
                    </a:cubicBezTo>
                    <a:cubicBezTo>
                      <a:pt x="2425" y="2227"/>
                      <a:pt x="2451" y="2232"/>
                      <a:pt x="2463" y="2196"/>
                    </a:cubicBezTo>
                    <a:cubicBezTo>
                      <a:pt x="2475" y="2161"/>
                      <a:pt x="2500" y="2162"/>
                      <a:pt x="2533" y="2155"/>
                    </a:cubicBezTo>
                    <a:cubicBezTo>
                      <a:pt x="2565" y="2148"/>
                      <a:pt x="2572" y="2147"/>
                      <a:pt x="2579" y="2122"/>
                    </a:cubicBezTo>
                    <a:cubicBezTo>
                      <a:pt x="2586" y="2096"/>
                      <a:pt x="2581" y="2061"/>
                      <a:pt x="2647" y="2076"/>
                    </a:cubicBezTo>
                    <a:cubicBezTo>
                      <a:pt x="2714" y="2091"/>
                      <a:pt x="2700" y="2085"/>
                      <a:pt x="2723" y="2064"/>
                    </a:cubicBezTo>
                    <a:cubicBezTo>
                      <a:pt x="2747" y="2042"/>
                      <a:pt x="2777" y="2024"/>
                      <a:pt x="2796" y="1996"/>
                    </a:cubicBezTo>
                    <a:cubicBezTo>
                      <a:pt x="2815" y="1968"/>
                      <a:pt x="2861" y="1954"/>
                      <a:pt x="2885" y="1964"/>
                    </a:cubicBezTo>
                    <a:cubicBezTo>
                      <a:pt x="2908" y="1973"/>
                      <a:pt x="2896" y="1992"/>
                      <a:pt x="2934" y="2007"/>
                    </a:cubicBezTo>
                    <a:cubicBezTo>
                      <a:pt x="2973" y="2021"/>
                      <a:pt x="2992" y="2047"/>
                      <a:pt x="3016" y="2033"/>
                    </a:cubicBezTo>
                    <a:cubicBezTo>
                      <a:pt x="3040" y="2018"/>
                      <a:pt x="3037" y="2011"/>
                      <a:pt x="3070" y="1993"/>
                    </a:cubicBezTo>
                    <a:cubicBezTo>
                      <a:pt x="3104" y="1975"/>
                      <a:pt x="3106" y="1967"/>
                      <a:pt x="3141" y="1978"/>
                    </a:cubicBezTo>
                    <a:cubicBezTo>
                      <a:pt x="3176" y="1989"/>
                      <a:pt x="3176" y="1984"/>
                      <a:pt x="3177" y="2001"/>
                    </a:cubicBezTo>
                    <a:cubicBezTo>
                      <a:pt x="3178" y="2018"/>
                      <a:pt x="3162" y="2029"/>
                      <a:pt x="3151" y="2042"/>
                    </a:cubicBezTo>
                    <a:cubicBezTo>
                      <a:pt x="3140" y="2055"/>
                      <a:pt x="3122" y="2081"/>
                      <a:pt x="3153" y="2083"/>
                    </a:cubicBezTo>
                    <a:cubicBezTo>
                      <a:pt x="3184" y="2084"/>
                      <a:pt x="3184" y="2055"/>
                      <a:pt x="3202" y="2068"/>
                    </a:cubicBezTo>
                    <a:cubicBezTo>
                      <a:pt x="3221" y="2081"/>
                      <a:pt x="3229" y="2105"/>
                      <a:pt x="3218" y="2120"/>
                    </a:cubicBezTo>
                    <a:cubicBezTo>
                      <a:pt x="3207" y="2135"/>
                      <a:pt x="3182" y="2146"/>
                      <a:pt x="3177" y="2165"/>
                    </a:cubicBezTo>
                    <a:cubicBezTo>
                      <a:pt x="3172" y="2184"/>
                      <a:pt x="3161" y="2211"/>
                      <a:pt x="3192" y="2201"/>
                    </a:cubicBezTo>
                    <a:cubicBezTo>
                      <a:pt x="3223" y="2191"/>
                      <a:pt x="3247" y="2202"/>
                      <a:pt x="3264" y="2208"/>
                    </a:cubicBezTo>
                    <a:cubicBezTo>
                      <a:pt x="3281" y="2214"/>
                      <a:pt x="3331" y="2213"/>
                      <a:pt x="3343" y="2230"/>
                    </a:cubicBezTo>
                    <a:cubicBezTo>
                      <a:pt x="3355" y="2246"/>
                      <a:pt x="3364" y="2250"/>
                      <a:pt x="3376" y="2223"/>
                    </a:cubicBezTo>
                    <a:cubicBezTo>
                      <a:pt x="3387" y="2195"/>
                      <a:pt x="3383" y="2174"/>
                      <a:pt x="3414" y="2166"/>
                    </a:cubicBezTo>
                    <a:cubicBezTo>
                      <a:pt x="3445" y="2158"/>
                      <a:pt x="3471" y="2167"/>
                      <a:pt x="3487" y="2178"/>
                    </a:cubicBezTo>
                    <a:cubicBezTo>
                      <a:pt x="3503" y="2188"/>
                      <a:pt x="3527" y="2217"/>
                      <a:pt x="3529" y="2235"/>
                    </a:cubicBezTo>
                    <a:cubicBezTo>
                      <a:pt x="3529" y="2236"/>
                      <a:pt x="3529" y="2237"/>
                      <a:pt x="3529" y="2238"/>
                    </a:cubicBezTo>
                    <a:cubicBezTo>
                      <a:pt x="3529" y="2238"/>
                      <a:pt x="3545" y="2230"/>
                      <a:pt x="3551" y="2221"/>
                    </a:cubicBezTo>
                    <a:cubicBezTo>
                      <a:pt x="3556" y="2212"/>
                      <a:pt x="3566" y="2189"/>
                      <a:pt x="3595" y="2205"/>
                    </a:cubicBezTo>
                    <a:cubicBezTo>
                      <a:pt x="3623" y="2222"/>
                      <a:pt x="3633" y="2208"/>
                      <a:pt x="3637" y="2189"/>
                    </a:cubicBezTo>
                    <a:cubicBezTo>
                      <a:pt x="3642" y="2171"/>
                      <a:pt x="3635" y="2156"/>
                      <a:pt x="3629" y="2137"/>
                    </a:cubicBezTo>
                    <a:cubicBezTo>
                      <a:pt x="3624" y="2119"/>
                      <a:pt x="3635" y="2089"/>
                      <a:pt x="3636" y="2080"/>
                    </a:cubicBezTo>
                    <a:cubicBezTo>
                      <a:pt x="3638" y="2070"/>
                      <a:pt x="3642" y="2058"/>
                      <a:pt x="3656" y="2068"/>
                    </a:cubicBezTo>
                    <a:cubicBezTo>
                      <a:pt x="3669" y="2078"/>
                      <a:pt x="3675" y="2070"/>
                      <a:pt x="3675" y="2051"/>
                    </a:cubicBezTo>
                    <a:cubicBezTo>
                      <a:pt x="3675" y="2031"/>
                      <a:pt x="3665" y="2013"/>
                      <a:pt x="3692" y="2008"/>
                    </a:cubicBezTo>
                    <a:cubicBezTo>
                      <a:pt x="3719" y="2004"/>
                      <a:pt x="3728" y="2008"/>
                      <a:pt x="3727" y="1985"/>
                    </a:cubicBezTo>
                    <a:cubicBezTo>
                      <a:pt x="3726" y="1962"/>
                      <a:pt x="3712" y="1936"/>
                      <a:pt x="3715" y="1918"/>
                    </a:cubicBezTo>
                    <a:cubicBezTo>
                      <a:pt x="3717" y="1901"/>
                      <a:pt x="3715" y="1847"/>
                      <a:pt x="3719" y="1830"/>
                    </a:cubicBezTo>
                    <a:cubicBezTo>
                      <a:pt x="3724" y="1812"/>
                      <a:pt x="3720" y="1800"/>
                      <a:pt x="3718" y="1760"/>
                    </a:cubicBezTo>
                    <a:cubicBezTo>
                      <a:pt x="3716" y="1721"/>
                      <a:pt x="3715" y="1689"/>
                      <a:pt x="3709" y="1670"/>
                    </a:cubicBezTo>
                    <a:cubicBezTo>
                      <a:pt x="3704" y="1651"/>
                      <a:pt x="3694" y="1622"/>
                      <a:pt x="3686" y="1600"/>
                    </a:cubicBezTo>
                    <a:cubicBezTo>
                      <a:pt x="3678" y="1577"/>
                      <a:pt x="3664" y="1570"/>
                      <a:pt x="3683" y="1560"/>
                    </a:cubicBezTo>
                    <a:cubicBezTo>
                      <a:pt x="3702" y="1550"/>
                      <a:pt x="3735" y="1538"/>
                      <a:pt x="3727" y="1520"/>
                    </a:cubicBezTo>
                    <a:cubicBezTo>
                      <a:pt x="3720" y="1502"/>
                      <a:pt x="3689" y="1471"/>
                      <a:pt x="3681" y="1453"/>
                    </a:cubicBezTo>
                    <a:cubicBezTo>
                      <a:pt x="3674" y="1436"/>
                      <a:pt x="3656" y="1421"/>
                      <a:pt x="3633" y="1420"/>
                    </a:cubicBezTo>
                    <a:cubicBezTo>
                      <a:pt x="3611" y="1418"/>
                      <a:pt x="3596" y="1414"/>
                      <a:pt x="3590" y="1398"/>
                    </a:cubicBezTo>
                    <a:cubicBezTo>
                      <a:pt x="3583" y="1382"/>
                      <a:pt x="3591" y="1384"/>
                      <a:pt x="3608" y="1369"/>
                    </a:cubicBezTo>
                    <a:cubicBezTo>
                      <a:pt x="3626" y="1354"/>
                      <a:pt x="3615" y="1351"/>
                      <a:pt x="3609" y="1331"/>
                    </a:cubicBezTo>
                    <a:cubicBezTo>
                      <a:pt x="3604" y="1312"/>
                      <a:pt x="3593" y="1302"/>
                      <a:pt x="3574" y="1282"/>
                    </a:cubicBezTo>
                    <a:cubicBezTo>
                      <a:pt x="3555" y="1261"/>
                      <a:pt x="3535" y="1243"/>
                      <a:pt x="3523" y="1229"/>
                    </a:cubicBezTo>
                    <a:cubicBezTo>
                      <a:pt x="3511" y="1214"/>
                      <a:pt x="3502" y="1193"/>
                      <a:pt x="3476" y="1207"/>
                    </a:cubicBezTo>
                    <a:cubicBezTo>
                      <a:pt x="3450" y="1220"/>
                      <a:pt x="3434" y="1211"/>
                      <a:pt x="3428" y="1214"/>
                    </a:cubicBezTo>
                    <a:cubicBezTo>
                      <a:pt x="3422" y="1217"/>
                      <a:pt x="3405" y="1230"/>
                      <a:pt x="3414" y="1239"/>
                    </a:cubicBezTo>
                    <a:cubicBezTo>
                      <a:pt x="3424" y="1248"/>
                      <a:pt x="3439" y="1269"/>
                      <a:pt x="3427" y="1286"/>
                    </a:cubicBezTo>
                    <a:cubicBezTo>
                      <a:pt x="3414" y="1304"/>
                      <a:pt x="3403" y="1314"/>
                      <a:pt x="3400" y="1341"/>
                    </a:cubicBezTo>
                    <a:cubicBezTo>
                      <a:pt x="3398" y="1368"/>
                      <a:pt x="3373" y="1382"/>
                      <a:pt x="3357" y="1393"/>
                    </a:cubicBezTo>
                    <a:cubicBezTo>
                      <a:pt x="3342" y="1404"/>
                      <a:pt x="3351" y="1430"/>
                      <a:pt x="3336" y="1438"/>
                    </a:cubicBezTo>
                    <a:cubicBezTo>
                      <a:pt x="3322" y="1446"/>
                      <a:pt x="3332" y="1451"/>
                      <a:pt x="3304" y="1442"/>
                    </a:cubicBezTo>
                    <a:cubicBezTo>
                      <a:pt x="3276" y="1432"/>
                      <a:pt x="3255" y="1416"/>
                      <a:pt x="3235" y="1428"/>
                    </a:cubicBezTo>
                    <a:cubicBezTo>
                      <a:pt x="3216" y="1440"/>
                      <a:pt x="3194" y="1460"/>
                      <a:pt x="3167" y="1443"/>
                    </a:cubicBezTo>
                    <a:cubicBezTo>
                      <a:pt x="3141" y="1425"/>
                      <a:pt x="3121" y="1416"/>
                      <a:pt x="3108" y="1413"/>
                    </a:cubicBezTo>
                    <a:cubicBezTo>
                      <a:pt x="3096" y="1409"/>
                      <a:pt x="3089" y="1402"/>
                      <a:pt x="3094" y="1384"/>
                    </a:cubicBezTo>
                    <a:cubicBezTo>
                      <a:pt x="3099" y="1365"/>
                      <a:pt x="3105" y="1356"/>
                      <a:pt x="3083" y="1344"/>
                    </a:cubicBezTo>
                    <a:cubicBezTo>
                      <a:pt x="3061" y="1333"/>
                      <a:pt x="3040" y="1314"/>
                      <a:pt x="3014" y="1293"/>
                    </a:cubicBezTo>
                    <a:cubicBezTo>
                      <a:pt x="2989" y="1273"/>
                      <a:pt x="3002" y="1275"/>
                      <a:pt x="2990" y="1258"/>
                    </a:cubicBezTo>
                    <a:cubicBezTo>
                      <a:pt x="2978" y="1241"/>
                      <a:pt x="2962" y="1234"/>
                      <a:pt x="2942" y="1230"/>
                    </a:cubicBezTo>
                    <a:cubicBezTo>
                      <a:pt x="2922" y="1225"/>
                      <a:pt x="2903" y="1223"/>
                      <a:pt x="2882" y="1230"/>
                    </a:cubicBezTo>
                    <a:cubicBezTo>
                      <a:pt x="2860" y="1236"/>
                      <a:pt x="2857" y="1225"/>
                      <a:pt x="2848" y="1219"/>
                    </a:cubicBezTo>
                    <a:cubicBezTo>
                      <a:pt x="2839" y="1213"/>
                      <a:pt x="2818" y="1215"/>
                      <a:pt x="2803" y="1214"/>
                    </a:cubicBezTo>
                    <a:cubicBezTo>
                      <a:pt x="2788" y="1214"/>
                      <a:pt x="2732" y="1220"/>
                      <a:pt x="2714" y="1207"/>
                    </a:cubicBezTo>
                    <a:cubicBezTo>
                      <a:pt x="2695" y="1193"/>
                      <a:pt x="2683" y="1192"/>
                      <a:pt x="2659" y="1192"/>
                    </a:cubicBezTo>
                    <a:cubicBezTo>
                      <a:pt x="2636" y="1192"/>
                      <a:pt x="2627" y="1194"/>
                      <a:pt x="2620" y="1177"/>
                    </a:cubicBezTo>
                    <a:cubicBezTo>
                      <a:pt x="2612" y="1160"/>
                      <a:pt x="2598" y="1156"/>
                      <a:pt x="2582" y="1166"/>
                    </a:cubicBezTo>
                    <a:cubicBezTo>
                      <a:pt x="2565" y="1176"/>
                      <a:pt x="2530" y="1174"/>
                      <a:pt x="2514" y="1155"/>
                    </a:cubicBezTo>
                    <a:cubicBezTo>
                      <a:pt x="2498" y="1136"/>
                      <a:pt x="2452" y="1104"/>
                      <a:pt x="2426" y="1094"/>
                    </a:cubicBezTo>
                    <a:cubicBezTo>
                      <a:pt x="2401" y="1084"/>
                      <a:pt x="2351" y="1065"/>
                      <a:pt x="2324" y="1056"/>
                    </a:cubicBezTo>
                    <a:cubicBezTo>
                      <a:pt x="2297" y="1048"/>
                      <a:pt x="2292" y="1034"/>
                      <a:pt x="2251" y="1041"/>
                    </a:cubicBezTo>
                    <a:cubicBezTo>
                      <a:pt x="2211" y="1048"/>
                      <a:pt x="2203" y="1048"/>
                      <a:pt x="2195" y="1029"/>
                    </a:cubicBezTo>
                    <a:cubicBezTo>
                      <a:pt x="2187" y="1010"/>
                      <a:pt x="2174" y="964"/>
                      <a:pt x="2164" y="946"/>
                    </a:cubicBezTo>
                    <a:cubicBezTo>
                      <a:pt x="2153" y="927"/>
                      <a:pt x="2130" y="900"/>
                      <a:pt x="2126" y="876"/>
                    </a:cubicBezTo>
                    <a:cubicBezTo>
                      <a:pt x="2123" y="852"/>
                      <a:pt x="2115" y="828"/>
                      <a:pt x="2096" y="812"/>
                    </a:cubicBezTo>
                    <a:cubicBezTo>
                      <a:pt x="2076" y="796"/>
                      <a:pt x="2068" y="785"/>
                      <a:pt x="2068" y="759"/>
                    </a:cubicBezTo>
                    <a:cubicBezTo>
                      <a:pt x="2067" y="734"/>
                      <a:pt x="2076" y="722"/>
                      <a:pt x="2067" y="701"/>
                    </a:cubicBezTo>
                    <a:cubicBezTo>
                      <a:pt x="2059" y="680"/>
                      <a:pt x="2059" y="658"/>
                      <a:pt x="2071" y="662"/>
                    </a:cubicBezTo>
                    <a:cubicBezTo>
                      <a:pt x="2084" y="667"/>
                      <a:pt x="2122" y="669"/>
                      <a:pt x="2125" y="647"/>
                    </a:cubicBezTo>
                    <a:cubicBezTo>
                      <a:pt x="2129" y="624"/>
                      <a:pt x="2124" y="612"/>
                      <a:pt x="2121" y="594"/>
                    </a:cubicBezTo>
                    <a:cubicBezTo>
                      <a:pt x="2118" y="576"/>
                      <a:pt x="2122" y="569"/>
                      <a:pt x="2135" y="537"/>
                    </a:cubicBezTo>
                    <a:cubicBezTo>
                      <a:pt x="2148" y="505"/>
                      <a:pt x="2168" y="485"/>
                      <a:pt x="2175" y="471"/>
                    </a:cubicBezTo>
                    <a:cubicBezTo>
                      <a:pt x="2183" y="458"/>
                      <a:pt x="2187" y="451"/>
                      <a:pt x="2170" y="434"/>
                    </a:cubicBezTo>
                    <a:cubicBezTo>
                      <a:pt x="2153" y="417"/>
                      <a:pt x="2116" y="415"/>
                      <a:pt x="2121" y="396"/>
                    </a:cubicBezTo>
                    <a:cubicBezTo>
                      <a:pt x="2126" y="377"/>
                      <a:pt x="2138" y="380"/>
                      <a:pt x="2155" y="374"/>
                    </a:cubicBezTo>
                    <a:cubicBezTo>
                      <a:pt x="2173" y="368"/>
                      <a:pt x="2192" y="333"/>
                      <a:pt x="2169" y="312"/>
                    </a:cubicBezTo>
                    <a:cubicBezTo>
                      <a:pt x="2145" y="290"/>
                      <a:pt x="1743" y="150"/>
                      <a:pt x="1743" y="150"/>
                    </a:cubicBezTo>
                    <a:cubicBezTo>
                      <a:pt x="1169" y="228"/>
                      <a:pt x="1169" y="228"/>
                      <a:pt x="1169" y="228"/>
                    </a:cubicBezTo>
                    <a:cubicBezTo>
                      <a:pt x="460" y="0"/>
                      <a:pt x="460" y="0"/>
                      <a:pt x="460" y="0"/>
                    </a:cubicBezTo>
                    <a:cubicBezTo>
                      <a:pt x="75" y="78"/>
                      <a:pt x="75" y="78"/>
                      <a:pt x="75" y="78"/>
                    </a:cubicBezTo>
                    <a:cubicBezTo>
                      <a:pt x="34" y="144"/>
                      <a:pt x="34" y="144"/>
                      <a:pt x="34" y="144"/>
                    </a:cubicBezTo>
                    <a:lnTo>
                      <a:pt x="44" y="15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0" name="Freeform 33"/>
              <p:cNvSpPr/>
              <p:nvPr/>
            </p:nvSpPr>
            <p:spPr bwMode="auto">
              <a:xfrm>
                <a:off x="1682329" y="2563515"/>
                <a:ext cx="2230438" cy="1635125"/>
              </a:xfrm>
              <a:custGeom>
                <a:avLst/>
                <a:gdLst>
                  <a:gd name="T0" fmla="*/ 3901 w 3988"/>
                  <a:gd name="T1" fmla="*/ 1398 h 2922"/>
                  <a:gd name="T2" fmla="*/ 3821 w 3988"/>
                  <a:gd name="T3" fmla="*/ 1213 h 2922"/>
                  <a:gd name="T4" fmla="*/ 3559 w 3988"/>
                  <a:gd name="T5" fmla="*/ 1048 h 2922"/>
                  <a:gd name="T6" fmla="*/ 3173 w 3988"/>
                  <a:gd name="T7" fmla="*/ 949 h 2922"/>
                  <a:gd name="T8" fmla="*/ 3196 w 3988"/>
                  <a:gd name="T9" fmla="*/ 744 h 2922"/>
                  <a:gd name="T10" fmla="*/ 3158 w 3988"/>
                  <a:gd name="T11" fmla="*/ 505 h 2922"/>
                  <a:gd name="T12" fmla="*/ 3043 w 3988"/>
                  <a:gd name="T13" fmla="*/ 340 h 2922"/>
                  <a:gd name="T14" fmla="*/ 2813 w 3988"/>
                  <a:gd name="T15" fmla="*/ 146 h 2922"/>
                  <a:gd name="T16" fmla="*/ 2691 w 3988"/>
                  <a:gd name="T17" fmla="*/ 18 h 2922"/>
                  <a:gd name="T18" fmla="*/ 2496 w 3988"/>
                  <a:gd name="T19" fmla="*/ 143 h 2922"/>
                  <a:gd name="T20" fmla="*/ 2411 w 3988"/>
                  <a:gd name="T21" fmla="*/ 408 h 2922"/>
                  <a:gd name="T22" fmla="*/ 2236 w 3988"/>
                  <a:gd name="T23" fmla="*/ 409 h 2922"/>
                  <a:gd name="T24" fmla="*/ 1991 w 3988"/>
                  <a:gd name="T25" fmla="*/ 423 h 2922"/>
                  <a:gd name="T26" fmla="*/ 1892 w 3988"/>
                  <a:gd name="T27" fmla="*/ 684 h 2922"/>
                  <a:gd name="T28" fmla="*/ 1745 w 3988"/>
                  <a:gd name="T29" fmla="*/ 704 h 2922"/>
                  <a:gd name="T30" fmla="*/ 1483 w 3988"/>
                  <a:gd name="T31" fmla="*/ 737 h 2922"/>
                  <a:gd name="T32" fmla="*/ 1525 w 3988"/>
                  <a:gd name="T33" fmla="*/ 925 h 2922"/>
                  <a:gd name="T34" fmla="*/ 1488 w 3988"/>
                  <a:gd name="T35" fmla="*/ 1163 h 2922"/>
                  <a:gd name="T36" fmla="*/ 1354 w 3988"/>
                  <a:gd name="T37" fmla="*/ 1330 h 2922"/>
                  <a:gd name="T38" fmla="*/ 1068 w 3988"/>
                  <a:gd name="T39" fmla="*/ 1438 h 2922"/>
                  <a:gd name="T40" fmla="*/ 725 w 3988"/>
                  <a:gd name="T41" fmla="*/ 1500 h 2922"/>
                  <a:gd name="T42" fmla="*/ 510 w 3988"/>
                  <a:gd name="T43" fmla="*/ 1488 h 2922"/>
                  <a:gd name="T44" fmla="*/ 350 w 3988"/>
                  <a:gd name="T45" fmla="*/ 1540 h 2922"/>
                  <a:gd name="T46" fmla="*/ 114 w 3988"/>
                  <a:gd name="T47" fmla="*/ 1607 h 2922"/>
                  <a:gd name="T48" fmla="*/ 4 w 3988"/>
                  <a:gd name="T49" fmla="*/ 1693 h 2922"/>
                  <a:gd name="T50" fmla="*/ 76 w 3988"/>
                  <a:gd name="T51" fmla="*/ 1877 h 2922"/>
                  <a:gd name="T52" fmla="*/ 171 w 3988"/>
                  <a:gd name="T53" fmla="*/ 2086 h 2922"/>
                  <a:gd name="T54" fmla="*/ 130 w 3988"/>
                  <a:gd name="T55" fmla="*/ 2251 h 2922"/>
                  <a:gd name="T56" fmla="*/ 279 w 3988"/>
                  <a:gd name="T57" fmla="*/ 2457 h 2922"/>
                  <a:gd name="T58" fmla="*/ 576 w 3988"/>
                  <a:gd name="T59" fmla="*/ 2679 h 2922"/>
                  <a:gd name="T60" fmla="*/ 945 w 3988"/>
                  <a:gd name="T61" fmla="*/ 2675 h 2922"/>
                  <a:gd name="T62" fmla="*/ 1219 w 3988"/>
                  <a:gd name="T63" fmla="*/ 2835 h 2922"/>
                  <a:gd name="T64" fmla="*/ 1471 w 3988"/>
                  <a:gd name="T65" fmla="*/ 2807 h 2922"/>
                  <a:gd name="T66" fmla="*/ 1713 w 3988"/>
                  <a:gd name="T67" fmla="*/ 2912 h 2922"/>
                  <a:gd name="T68" fmla="*/ 1876 w 3988"/>
                  <a:gd name="T69" fmla="*/ 2866 h 2922"/>
                  <a:gd name="T70" fmla="*/ 2154 w 3988"/>
                  <a:gd name="T71" fmla="*/ 2799 h 2922"/>
                  <a:gd name="T72" fmla="*/ 2494 w 3988"/>
                  <a:gd name="T73" fmla="*/ 2799 h 2922"/>
                  <a:gd name="T74" fmla="*/ 2756 w 3988"/>
                  <a:gd name="T75" fmla="*/ 2874 h 2922"/>
                  <a:gd name="T76" fmla="*/ 2937 w 3988"/>
                  <a:gd name="T77" fmla="*/ 2845 h 2922"/>
                  <a:gd name="T78" fmla="*/ 2972 w 3988"/>
                  <a:gd name="T79" fmla="*/ 2668 h 2922"/>
                  <a:gd name="T80" fmla="*/ 2842 w 3988"/>
                  <a:gd name="T81" fmla="*/ 2518 h 2922"/>
                  <a:gd name="T82" fmla="*/ 2941 w 3988"/>
                  <a:gd name="T83" fmla="*/ 2354 h 2922"/>
                  <a:gd name="T84" fmla="*/ 3212 w 3988"/>
                  <a:gd name="T85" fmla="*/ 2328 h 2922"/>
                  <a:gd name="T86" fmla="*/ 3447 w 3988"/>
                  <a:gd name="T87" fmla="*/ 2274 h 2922"/>
                  <a:gd name="T88" fmla="*/ 3499 w 3988"/>
                  <a:gd name="T89" fmla="*/ 2164 h 2922"/>
                  <a:gd name="T90" fmla="*/ 3540 w 3988"/>
                  <a:gd name="T91" fmla="*/ 1915 h 2922"/>
                  <a:gd name="T92" fmla="*/ 3819 w 3988"/>
                  <a:gd name="T93" fmla="*/ 1741 h 2922"/>
                  <a:gd name="T94" fmla="*/ 3971 w 3988"/>
                  <a:gd name="T95" fmla="*/ 1587 h 29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988" h="2922">
                    <a:moveTo>
                      <a:pt x="3985" y="1564"/>
                    </a:moveTo>
                    <a:cubicBezTo>
                      <a:pt x="3981" y="1558"/>
                      <a:pt x="3983" y="1557"/>
                      <a:pt x="3981" y="1546"/>
                    </a:cubicBezTo>
                    <a:cubicBezTo>
                      <a:pt x="3975" y="1516"/>
                      <a:pt x="3943" y="1471"/>
                      <a:pt x="3929" y="1460"/>
                    </a:cubicBezTo>
                    <a:cubicBezTo>
                      <a:pt x="3916" y="1448"/>
                      <a:pt x="3908" y="1414"/>
                      <a:pt x="3901" y="1398"/>
                    </a:cubicBezTo>
                    <a:cubicBezTo>
                      <a:pt x="3894" y="1382"/>
                      <a:pt x="3890" y="1357"/>
                      <a:pt x="3881" y="1327"/>
                    </a:cubicBezTo>
                    <a:cubicBezTo>
                      <a:pt x="3872" y="1298"/>
                      <a:pt x="3884" y="1293"/>
                      <a:pt x="3850" y="1274"/>
                    </a:cubicBezTo>
                    <a:cubicBezTo>
                      <a:pt x="3816" y="1255"/>
                      <a:pt x="3832" y="1257"/>
                      <a:pt x="3843" y="1239"/>
                    </a:cubicBezTo>
                    <a:cubicBezTo>
                      <a:pt x="3854" y="1221"/>
                      <a:pt x="3847" y="1213"/>
                      <a:pt x="3821" y="1213"/>
                    </a:cubicBezTo>
                    <a:cubicBezTo>
                      <a:pt x="3795" y="1213"/>
                      <a:pt x="3754" y="1212"/>
                      <a:pt x="3725" y="1178"/>
                    </a:cubicBezTo>
                    <a:cubicBezTo>
                      <a:pt x="3695" y="1144"/>
                      <a:pt x="3687" y="1150"/>
                      <a:pt x="3670" y="1134"/>
                    </a:cubicBezTo>
                    <a:cubicBezTo>
                      <a:pt x="3654" y="1117"/>
                      <a:pt x="3626" y="1118"/>
                      <a:pt x="3609" y="1091"/>
                    </a:cubicBezTo>
                    <a:cubicBezTo>
                      <a:pt x="3591" y="1064"/>
                      <a:pt x="3588" y="1051"/>
                      <a:pt x="3559" y="1048"/>
                    </a:cubicBezTo>
                    <a:cubicBezTo>
                      <a:pt x="3530" y="1044"/>
                      <a:pt x="3444" y="1026"/>
                      <a:pt x="3419" y="1019"/>
                    </a:cubicBezTo>
                    <a:cubicBezTo>
                      <a:pt x="3393" y="1012"/>
                      <a:pt x="3338" y="1010"/>
                      <a:pt x="3306" y="1001"/>
                    </a:cubicBezTo>
                    <a:cubicBezTo>
                      <a:pt x="3273" y="993"/>
                      <a:pt x="3253" y="979"/>
                      <a:pt x="3239" y="969"/>
                    </a:cubicBezTo>
                    <a:cubicBezTo>
                      <a:pt x="3225" y="958"/>
                      <a:pt x="3192" y="955"/>
                      <a:pt x="3173" y="949"/>
                    </a:cubicBezTo>
                    <a:cubicBezTo>
                      <a:pt x="3154" y="943"/>
                      <a:pt x="3128" y="919"/>
                      <a:pt x="3124" y="896"/>
                    </a:cubicBezTo>
                    <a:cubicBezTo>
                      <a:pt x="3120" y="873"/>
                      <a:pt x="3136" y="851"/>
                      <a:pt x="3145" y="834"/>
                    </a:cubicBezTo>
                    <a:cubicBezTo>
                      <a:pt x="3154" y="817"/>
                      <a:pt x="3178" y="794"/>
                      <a:pt x="3184" y="785"/>
                    </a:cubicBezTo>
                    <a:cubicBezTo>
                      <a:pt x="3189" y="777"/>
                      <a:pt x="3206" y="770"/>
                      <a:pt x="3196" y="744"/>
                    </a:cubicBezTo>
                    <a:cubicBezTo>
                      <a:pt x="3187" y="719"/>
                      <a:pt x="3173" y="697"/>
                      <a:pt x="3190" y="684"/>
                    </a:cubicBezTo>
                    <a:cubicBezTo>
                      <a:pt x="3207" y="672"/>
                      <a:pt x="3223" y="650"/>
                      <a:pt x="3215" y="625"/>
                    </a:cubicBezTo>
                    <a:cubicBezTo>
                      <a:pt x="3208" y="599"/>
                      <a:pt x="3202" y="582"/>
                      <a:pt x="3187" y="563"/>
                    </a:cubicBezTo>
                    <a:cubicBezTo>
                      <a:pt x="3172" y="544"/>
                      <a:pt x="3168" y="531"/>
                      <a:pt x="3158" y="505"/>
                    </a:cubicBezTo>
                    <a:cubicBezTo>
                      <a:pt x="3148" y="478"/>
                      <a:pt x="3151" y="453"/>
                      <a:pt x="3148" y="440"/>
                    </a:cubicBezTo>
                    <a:cubicBezTo>
                      <a:pt x="3146" y="426"/>
                      <a:pt x="3120" y="384"/>
                      <a:pt x="3107" y="369"/>
                    </a:cubicBezTo>
                    <a:cubicBezTo>
                      <a:pt x="3093" y="353"/>
                      <a:pt x="3096" y="342"/>
                      <a:pt x="3079" y="356"/>
                    </a:cubicBezTo>
                    <a:cubicBezTo>
                      <a:pt x="3063" y="369"/>
                      <a:pt x="3056" y="362"/>
                      <a:pt x="3043" y="340"/>
                    </a:cubicBezTo>
                    <a:cubicBezTo>
                      <a:pt x="3029" y="317"/>
                      <a:pt x="3008" y="298"/>
                      <a:pt x="2982" y="309"/>
                    </a:cubicBezTo>
                    <a:cubicBezTo>
                      <a:pt x="2956" y="321"/>
                      <a:pt x="2918" y="322"/>
                      <a:pt x="2898" y="290"/>
                    </a:cubicBezTo>
                    <a:cubicBezTo>
                      <a:pt x="2879" y="258"/>
                      <a:pt x="2872" y="239"/>
                      <a:pt x="2867" y="210"/>
                    </a:cubicBezTo>
                    <a:cubicBezTo>
                      <a:pt x="2862" y="181"/>
                      <a:pt x="2821" y="163"/>
                      <a:pt x="2813" y="146"/>
                    </a:cubicBezTo>
                    <a:cubicBezTo>
                      <a:pt x="2806" y="129"/>
                      <a:pt x="2781" y="86"/>
                      <a:pt x="2786" y="76"/>
                    </a:cubicBezTo>
                    <a:cubicBezTo>
                      <a:pt x="2791" y="66"/>
                      <a:pt x="2792" y="50"/>
                      <a:pt x="2782" y="41"/>
                    </a:cubicBezTo>
                    <a:cubicBezTo>
                      <a:pt x="2771" y="32"/>
                      <a:pt x="2755" y="33"/>
                      <a:pt x="2730" y="35"/>
                    </a:cubicBezTo>
                    <a:cubicBezTo>
                      <a:pt x="2706" y="37"/>
                      <a:pt x="2702" y="37"/>
                      <a:pt x="2691" y="18"/>
                    </a:cubicBezTo>
                    <a:cubicBezTo>
                      <a:pt x="2681" y="0"/>
                      <a:pt x="2669" y="4"/>
                      <a:pt x="2648" y="12"/>
                    </a:cubicBezTo>
                    <a:cubicBezTo>
                      <a:pt x="2628" y="20"/>
                      <a:pt x="2618" y="28"/>
                      <a:pt x="2619" y="50"/>
                    </a:cubicBezTo>
                    <a:cubicBezTo>
                      <a:pt x="2620" y="71"/>
                      <a:pt x="2625" y="106"/>
                      <a:pt x="2584" y="126"/>
                    </a:cubicBezTo>
                    <a:cubicBezTo>
                      <a:pt x="2543" y="146"/>
                      <a:pt x="2523" y="144"/>
                      <a:pt x="2496" y="143"/>
                    </a:cubicBezTo>
                    <a:cubicBezTo>
                      <a:pt x="2469" y="142"/>
                      <a:pt x="2450" y="166"/>
                      <a:pt x="2437" y="188"/>
                    </a:cubicBezTo>
                    <a:cubicBezTo>
                      <a:pt x="2425" y="209"/>
                      <a:pt x="2420" y="248"/>
                      <a:pt x="2420" y="277"/>
                    </a:cubicBezTo>
                    <a:cubicBezTo>
                      <a:pt x="2420" y="306"/>
                      <a:pt x="2417" y="343"/>
                      <a:pt x="2421" y="358"/>
                    </a:cubicBezTo>
                    <a:cubicBezTo>
                      <a:pt x="2425" y="374"/>
                      <a:pt x="2420" y="399"/>
                      <a:pt x="2411" y="408"/>
                    </a:cubicBezTo>
                    <a:cubicBezTo>
                      <a:pt x="2401" y="416"/>
                      <a:pt x="2375" y="427"/>
                      <a:pt x="2358" y="431"/>
                    </a:cubicBezTo>
                    <a:cubicBezTo>
                      <a:pt x="2341" y="434"/>
                      <a:pt x="2329" y="439"/>
                      <a:pt x="2316" y="446"/>
                    </a:cubicBezTo>
                    <a:cubicBezTo>
                      <a:pt x="2303" y="453"/>
                      <a:pt x="2282" y="444"/>
                      <a:pt x="2276" y="424"/>
                    </a:cubicBezTo>
                    <a:cubicBezTo>
                      <a:pt x="2270" y="404"/>
                      <a:pt x="2268" y="408"/>
                      <a:pt x="2236" y="409"/>
                    </a:cubicBezTo>
                    <a:cubicBezTo>
                      <a:pt x="2204" y="410"/>
                      <a:pt x="2163" y="401"/>
                      <a:pt x="2138" y="380"/>
                    </a:cubicBezTo>
                    <a:cubicBezTo>
                      <a:pt x="2114" y="358"/>
                      <a:pt x="2084" y="349"/>
                      <a:pt x="2068" y="336"/>
                    </a:cubicBezTo>
                    <a:cubicBezTo>
                      <a:pt x="2053" y="322"/>
                      <a:pt x="2032" y="326"/>
                      <a:pt x="2027" y="354"/>
                    </a:cubicBezTo>
                    <a:cubicBezTo>
                      <a:pt x="2022" y="383"/>
                      <a:pt x="2023" y="385"/>
                      <a:pt x="1991" y="423"/>
                    </a:cubicBezTo>
                    <a:cubicBezTo>
                      <a:pt x="1959" y="461"/>
                      <a:pt x="1941" y="498"/>
                      <a:pt x="1935" y="516"/>
                    </a:cubicBezTo>
                    <a:cubicBezTo>
                      <a:pt x="1928" y="534"/>
                      <a:pt x="1915" y="547"/>
                      <a:pt x="1916" y="576"/>
                    </a:cubicBezTo>
                    <a:cubicBezTo>
                      <a:pt x="1917" y="604"/>
                      <a:pt x="1912" y="602"/>
                      <a:pt x="1894" y="626"/>
                    </a:cubicBezTo>
                    <a:cubicBezTo>
                      <a:pt x="1875" y="650"/>
                      <a:pt x="1866" y="668"/>
                      <a:pt x="1892" y="684"/>
                    </a:cubicBezTo>
                    <a:cubicBezTo>
                      <a:pt x="1919" y="699"/>
                      <a:pt x="1916" y="703"/>
                      <a:pt x="1906" y="724"/>
                    </a:cubicBezTo>
                    <a:cubicBezTo>
                      <a:pt x="1896" y="746"/>
                      <a:pt x="1897" y="762"/>
                      <a:pt x="1870" y="748"/>
                    </a:cubicBezTo>
                    <a:cubicBezTo>
                      <a:pt x="1844" y="735"/>
                      <a:pt x="1813" y="740"/>
                      <a:pt x="1801" y="714"/>
                    </a:cubicBezTo>
                    <a:cubicBezTo>
                      <a:pt x="1790" y="689"/>
                      <a:pt x="1769" y="696"/>
                      <a:pt x="1745" y="704"/>
                    </a:cubicBezTo>
                    <a:cubicBezTo>
                      <a:pt x="1722" y="712"/>
                      <a:pt x="1693" y="714"/>
                      <a:pt x="1671" y="714"/>
                    </a:cubicBezTo>
                    <a:cubicBezTo>
                      <a:pt x="1649" y="713"/>
                      <a:pt x="1620" y="703"/>
                      <a:pt x="1588" y="706"/>
                    </a:cubicBezTo>
                    <a:cubicBezTo>
                      <a:pt x="1557" y="709"/>
                      <a:pt x="1542" y="718"/>
                      <a:pt x="1522" y="715"/>
                    </a:cubicBezTo>
                    <a:cubicBezTo>
                      <a:pt x="1502" y="712"/>
                      <a:pt x="1475" y="716"/>
                      <a:pt x="1483" y="737"/>
                    </a:cubicBezTo>
                    <a:cubicBezTo>
                      <a:pt x="1491" y="757"/>
                      <a:pt x="1483" y="762"/>
                      <a:pt x="1511" y="760"/>
                    </a:cubicBezTo>
                    <a:cubicBezTo>
                      <a:pt x="1539" y="758"/>
                      <a:pt x="1555" y="768"/>
                      <a:pt x="1551" y="780"/>
                    </a:cubicBezTo>
                    <a:cubicBezTo>
                      <a:pt x="1547" y="791"/>
                      <a:pt x="1538" y="813"/>
                      <a:pt x="1534" y="836"/>
                    </a:cubicBezTo>
                    <a:cubicBezTo>
                      <a:pt x="1529" y="859"/>
                      <a:pt x="1523" y="896"/>
                      <a:pt x="1525" y="925"/>
                    </a:cubicBezTo>
                    <a:cubicBezTo>
                      <a:pt x="1528" y="955"/>
                      <a:pt x="1539" y="991"/>
                      <a:pt x="1547" y="1010"/>
                    </a:cubicBezTo>
                    <a:cubicBezTo>
                      <a:pt x="1555" y="1029"/>
                      <a:pt x="1565" y="1089"/>
                      <a:pt x="1553" y="1099"/>
                    </a:cubicBezTo>
                    <a:cubicBezTo>
                      <a:pt x="1540" y="1109"/>
                      <a:pt x="1511" y="1112"/>
                      <a:pt x="1504" y="1128"/>
                    </a:cubicBezTo>
                    <a:cubicBezTo>
                      <a:pt x="1497" y="1145"/>
                      <a:pt x="1514" y="1156"/>
                      <a:pt x="1488" y="1163"/>
                    </a:cubicBezTo>
                    <a:cubicBezTo>
                      <a:pt x="1463" y="1171"/>
                      <a:pt x="1448" y="1183"/>
                      <a:pt x="1447" y="1208"/>
                    </a:cubicBezTo>
                    <a:cubicBezTo>
                      <a:pt x="1447" y="1233"/>
                      <a:pt x="1449" y="1268"/>
                      <a:pt x="1443" y="1288"/>
                    </a:cubicBezTo>
                    <a:cubicBezTo>
                      <a:pt x="1437" y="1308"/>
                      <a:pt x="1441" y="1317"/>
                      <a:pt x="1419" y="1317"/>
                    </a:cubicBezTo>
                    <a:cubicBezTo>
                      <a:pt x="1398" y="1317"/>
                      <a:pt x="1378" y="1304"/>
                      <a:pt x="1354" y="1330"/>
                    </a:cubicBezTo>
                    <a:cubicBezTo>
                      <a:pt x="1330" y="1357"/>
                      <a:pt x="1321" y="1363"/>
                      <a:pt x="1290" y="1355"/>
                    </a:cubicBezTo>
                    <a:cubicBezTo>
                      <a:pt x="1260" y="1347"/>
                      <a:pt x="1253" y="1343"/>
                      <a:pt x="1213" y="1360"/>
                    </a:cubicBezTo>
                    <a:cubicBezTo>
                      <a:pt x="1174" y="1377"/>
                      <a:pt x="1127" y="1399"/>
                      <a:pt x="1108" y="1404"/>
                    </a:cubicBezTo>
                    <a:cubicBezTo>
                      <a:pt x="1089" y="1410"/>
                      <a:pt x="1087" y="1414"/>
                      <a:pt x="1068" y="1438"/>
                    </a:cubicBezTo>
                    <a:cubicBezTo>
                      <a:pt x="1049" y="1463"/>
                      <a:pt x="1042" y="1469"/>
                      <a:pt x="1005" y="1468"/>
                    </a:cubicBezTo>
                    <a:cubicBezTo>
                      <a:pt x="969" y="1468"/>
                      <a:pt x="908" y="1460"/>
                      <a:pt x="874" y="1458"/>
                    </a:cubicBezTo>
                    <a:cubicBezTo>
                      <a:pt x="840" y="1457"/>
                      <a:pt x="775" y="1437"/>
                      <a:pt x="756" y="1459"/>
                    </a:cubicBezTo>
                    <a:cubicBezTo>
                      <a:pt x="737" y="1481"/>
                      <a:pt x="728" y="1479"/>
                      <a:pt x="725" y="1500"/>
                    </a:cubicBezTo>
                    <a:cubicBezTo>
                      <a:pt x="723" y="1520"/>
                      <a:pt x="731" y="1533"/>
                      <a:pt x="706" y="1548"/>
                    </a:cubicBezTo>
                    <a:cubicBezTo>
                      <a:pt x="680" y="1562"/>
                      <a:pt x="643" y="1565"/>
                      <a:pt x="617" y="1565"/>
                    </a:cubicBezTo>
                    <a:cubicBezTo>
                      <a:pt x="590" y="1564"/>
                      <a:pt x="551" y="1569"/>
                      <a:pt x="539" y="1547"/>
                    </a:cubicBezTo>
                    <a:cubicBezTo>
                      <a:pt x="527" y="1525"/>
                      <a:pt x="532" y="1488"/>
                      <a:pt x="510" y="1488"/>
                    </a:cubicBezTo>
                    <a:cubicBezTo>
                      <a:pt x="487" y="1487"/>
                      <a:pt x="482" y="1508"/>
                      <a:pt x="454" y="1516"/>
                    </a:cubicBezTo>
                    <a:cubicBezTo>
                      <a:pt x="426" y="1523"/>
                      <a:pt x="400" y="1526"/>
                      <a:pt x="387" y="1511"/>
                    </a:cubicBezTo>
                    <a:cubicBezTo>
                      <a:pt x="373" y="1496"/>
                      <a:pt x="365" y="1508"/>
                      <a:pt x="371" y="1522"/>
                    </a:cubicBezTo>
                    <a:cubicBezTo>
                      <a:pt x="377" y="1535"/>
                      <a:pt x="364" y="1543"/>
                      <a:pt x="350" y="1540"/>
                    </a:cubicBezTo>
                    <a:cubicBezTo>
                      <a:pt x="335" y="1537"/>
                      <a:pt x="297" y="1539"/>
                      <a:pt x="279" y="1555"/>
                    </a:cubicBezTo>
                    <a:cubicBezTo>
                      <a:pt x="262" y="1572"/>
                      <a:pt x="229" y="1572"/>
                      <a:pt x="211" y="1564"/>
                    </a:cubicBezTo>
                    <a:cubicBezTo>
                      <a:pt x="193" y="1556"/>
                      <a:pt x="169" y="1549"/>
                      <a:pt x="150" y="1573"/>
                    </a:cubicBezTo>
                    <a:cubicBezTo>
                      <a:pt x="131" y="1597"/>
                      <a:pt x="133" y="1610"/>
                      <a:pt x="114" y="1607"/>
                    </a:cubicBezTo>
                    <a:cubicBezTo>
                      <a:pt x="95" y="1604"/>
                      <a:pt x="87" y="1617"/>
                      <a:pt x="87" y="1634"/>
                    </a:cubicBezTo>
                    <a:cubicBezTo>
                      <a:pt x="87" y="1651"/>
                      <a:pt x="92" y="1670"/>
                      <a:pt x="69" y="1677"/>
                    </a:cubicBezTo>
                    <a:cubicBezTo>
                      <a:pt x="46" y="1684"/>
                      <a:pt x="22" y="1671"/>
                      <a:pt x="12" y="1678"/>
                    </a:cubicBezTo>
                    <a:cubicBezTo>
                      <a:pt x="1" y="1685"/>
                      <a:pt x="4" y="1688"/>
                      <a:pt x="4" y="1693"/>
                    </a:cubicBezTo>
                    <a:cubicBezTo>
                      <a:pt x="4" y="1693"/>
                      <a:pt x="4" y="1722"/>
                      <a:pt x="11" y="1737"/>
                    </a:cubicBezTo>
                    <a:cubicBezTo>
                      <a:pt x="18" y="1753"/>
                      <a:pt x="22" y="1782"/>
                      <a:pt x="11" y="1799"/>
                    </a:cubicBezTo>
                    <a:cubicBezTo>
                      <a:pt x="0" y="1815"/>
                      <a:pt x="15" y="1872"/>
                      <a:pt x="29" y="1882"/>
                    </a:cubicBezTo>
                    <a:cubicBezTo>
                      <a:pt x="42" y="1891"/>
                      <a:pt x="76" y="1884"/>
                      <a:pt x="76" y="1877"/>
                    </a:cubicBezTo>
                    <a:cubicBezTo>
                      <a:pt x="76" y="1869"/>
                      <a:pt x="116" y="1877"/>
                      <a:pt x="128" y="1886"/>
                    </a:cubicBezTo>
                    <a:cubicBezTo>
                      <a:pt x="140" y="1895"/>
                      <a:pt x="184" y="1913"/>
                      <a:pt x="177" y="1942"/>
                    </a:cubicBezTo>
                    <a:cubicBezTo>
                      <a:pt x="170" y="1971"/>
                      <a:pt x="166" y="1983"/>
                      <a:pt x="171" y="2018"/>
                    </a:cubicBezTo>
                    <a:cubicBezTo>
                      <a:pt x="176" y="2053"/>
                      <a:pt x="182" y="2078"/>
                      <a:pt x="171" y="2086"/>
                    </a:cubicBezTo>
                    <a:cubicBezTo>
                      <a:pt x="160" y="2093"/>
                      <a:pt x="145" y="2109"/>
                      <a:pt x="165" y="2133"/>
                    </a:cubicBezTo>
                    <a:cubicBezTo>
                      <a:pt x="184" y="2156"/>
                      <a:pt x="186" y="2181"/>
                      <a:pt x="159" y="2184"/>
                    </a:cubicBezTo>
                    <a:cubicBezTo>
                      <a:pt x="131" y="2187"/>
                      <a:pt x="70" y="2170"/>
                      <a:pt x="76" y="2200"/>
                    </a:cubicBezTo>
                    <a:cubicBezTo>
                      <a:pt x="82" y="2231"/>
                      <a:pt x="98" y="2243"/>
                      <a:pt x="130" y="2251"/>
                    </a:cubicBezTo>
                    <a:cubicBezTo>
                      <a:pt x="162" y="2258"/>
                      <a:pt x="198" y="2261"/>
                      <a:pt x="210" y="2293"/>
                    </a:cubicBezTo>
                    <a:cubicBezTo>
                      <a:pt x="222" y="2324"/>
                      <a:pt x="219" y="2318"/>
                      <a:pt x="236" y="2334"/>
                    </a:cubicBezTo>
                    <a:cubicBezTo>
                      <a:pt x="252" y="2349"/>
                      <a:pt x="254" y="2357"/>
                      <a:pt x="264" y="2379"/>
                    </a:cubicBezTo>
                    <a:cubicBezTo>
                      <a:pt x="275" y="2400"/>
                      <a:pt x="272" y="2425"/>
                      <a:pt x="279" y="2457"/>
                    </a:cubicBezTo>
                    <a:cubicBezTo>
                      <a:pt x="285" y="2488"/>
                      <a:pt x="266" y="2532"/>
                      <a:pt x="310" y="2551"/>
                    </a:cubicBezTo>
                    <a:cubicBezTo>
                      <a:pt x="354" y="2569"/>
                      <a:pt x="358" y="2573"/>
                      <a:pt x="382" y="2601"/>
                    </a:cubicBezTo>
                    <a:cubicBezTo>
                      <a:pt x="407" y="2629"/>
                      <a:pt x="463" y="2652"/>
                      <a:pt x="501" y="2666"/>
                    </a:cubicBezTo>
                    <a:cubicBezTo>
                      <a:pt x="529" y="2676"/>
                      <a:pt x="565" y="2664"/>
                      <a:pt x="576" y="2679"/>
                    </a:cubicBezTo>
                    <a:cubicBezTo>
                      <a:pt x="576" y="2679"/>
                      <a:pt x="592" y="2691"/>
                      <a:pt x="622" y="2671"/>
                    </a:cubicBezTo>
                    <a:cubicBezTo>
                      <a:pt x="653" y="2651"/>
                      <a:pt x="704" y="2630"/>
                      <a:pt x="731" y="2626"/>
                    </a:cubicBezTo>
                    <a:cubicBezTo>
                      <a:pt x="758" y="2622"/>
                      <a:pt x="838" y="2603"/>
                      <a:pt x="872" y="2641"/>
                    </a:cubicBezTo>
                    <a:cubicBezTo>
                      <a:pt x="906" y="2678"/>
                      <a:pt x="920" y="2678"/>
                      <a:pt x="945" y="2675"/>
                    </a:cubicBezTo>
                    <a:cubicBezTo>
                      <a:pt x="970" y="2673"/>
                      <a:pt x="980" y="2686"/>
                      <a:pt x="996" y="2707"/>
                    </a:cubicBezTo>
                    <a:cubicBezTo>
                      <a:pt x="1012" y="2727"/>
                      <a:pt x="1027" y="2765"/>
                      <a:pt x="1056" y="2779"/>
                    </a:cubicBezTo>
                    <a:cubicBezTo>
                      <a:pt x="1085" y="2794"/>
                      <a:pt x="1119" y="2821"/>
                      <a:pt x="1146" y="2814"/>
                    </a:cubicBezTo>
                    <a:cubicBezTo>
                      <a:pt x="1173" y="2807"/>
                      <a:pt x="1183" y="2814"/>
                      <a:pt x="1219" y="2835"/>
                    </a:cubicBezTo>
                    <a:cubicBezTo>
                      <a:pt x="1254" y="2855"/>
                      <a:pt x="1271" y="2871"/>
                      <a:pt x="1293" y="2859"/>
                    </a:cubicBezTo>
                    <a:cubicBezTo>
                      <a:pt x="1315" y="2848"/>
                      <a:pt x="1313" y="2822"/>
                      <a:pt x="1355" y="2811"/>
                    </a:cubicBezTo>
                    <a:cubicBezTo>
                      <a:pt x="1397" y="2799"/>
                      <a:pt x="1409" y="2785"/>
                      <a:pt x="1428" y="2805"/>
                    </a:cubicBezTo>
                    <a:cubicBezTo>
                      <a:pt x="1448" y="2824"/>
                      <a:pt x="1438" y="2809"/>
                      <a:pt x="1471" y="2807"/>
                    </a:cubicBezTo>
                    <a:cubicBezTo>
                      <a:pt x="1504" y="2805"/>
                      <a:pt x="1501" y="2807"/>
                      <a:pt x="1531" y="2820"/>
                    </a:cubicBezTo>
                    <a:cubicBezTo>
                      <a:pt x="1561" y="2833"/>
                      <a:pt x="1589" y="2831"/>
                      <a:pt x="1601" y="2852"/>
                    </a:cubicBezTo>
                    <a:cubicBezTo>
                      <a:pt x="1612" y="2874"/>
                      <a:pt x="1608" y="2892"/>
                      <a:pt x="1648" y="2889"/>
                    </a:cubicBezTo>
                    <a:cubicBezTo>
                      <a:pt x="1689" y="2886"/>
                      <a:pt x="1703" y="2902"/>
                      <a:pt x="1713" y="2912"/>
                    </a:cubicBezTo>
                    <a:cubicBezTo>
                      <a:pt x="1722" y="2922"/>
                      <a:pt x="1728" y="2920"/>
                      <a:pt x="1741" y="2909"/>
                    </a:cubicBezTo>
                    <a:cubicBezTo>
                      <a:pt x="1755" y="2898"/>
                      <a:pt x="1777" y="2901"/>
                      <a:pt x="1793" y="2897"/>
                    </a:cubicBezTo>
                    <a:cubicBezTo>
                      <a:pt x="1810" y="2893"/>
                      <a:pt x="1821" y="2885"/>
                      <a:pt x="1844" y="2881"/>
                    </a:cubicBezTo>
                    <a:cubicBezTo>
                      <a:pt x="1867" y="2878"/>
                      <a:pt x="1847" y="2871"/>
                      <a:pt x="1876" y="2866"/>
                    </a:cubicBezTo>
                    <a:cubicBezTo>
                      <a:pt x="1904" y="2862"/>
                      <a:pt x="1910" y="2863"/>
                      <a:pt x="1947" y="2872"/>
                    </a:cubicBezTo>
                    <a:cubicBezTo>
                      <a:pt x="1985" y="2881"/>
                      <a:pt x="1979" y="2876"/>
                      <a:pt x="1994" y="2862"/>
                    </a:cubicBezTo>
                    <a:cubicBezTo>
                      <a:pt x="2009" y="2848"/>
                      <a:pt x="2039" y="2826"/>
                      <a:pt x="2064" y="2817"/>
                    </a:cubicBezTo>
                    <a:cubicBezTo>
                      <a:pt x="2089" y="2808"/>
                      <a:pt x="2123" y="2800"/>
                      <a:pt x="2154" y="2799"/>
                    </a:cubicBezTo>
                    <a:cubicBezTo>
                      <a:pt x="2186" y="2799"/>
                      <a:pt x="2213" y="2809"/>
                      <a:pt x="2233" y="2805"/>
                    </a:cubicBezTo>
                    <a:cubicBezTo>
                      <a:pt x="2253" y="2801"/>
                      <a:pt x="2272" y="2802"/>
                      <a:pt x="2287" y="2785"/>
                    </a:cubicBezTo>
                    <a:cubicBezTo>
                      <a:pt x="2302" y="2769"/>
                      <a:pt x="2322" y="2775"/>
                      <a:pt x="2352" y="2777"/>
                    </a:cubicBezTo>
                    <a:cubicBezTo>
                      <a:pt x="2382" y="2779"/>
                      <a:pt x="2462" y="2780"/>
                      <a:pt x="2494" y="2799"/>
                    </a:cubicBezTo>
                    <a:cubicBezTo>
                      <a:pt x="2525" y="2819"/>
                      <a:pt x="2561" y="2836"/>
                      <a:pt x="2581" y="2851"/>
                    </a:cubicBezTo>
                    <a:cubicBezTo>
                      <a:pt x="2600" y="2865"/>
                      <a:pt x="2622" y="2873"/>
                      <a:pt x="2636" y="2871"/>
                    </a:cubicBezTo>
                    <a:cubicBezTo>
                      <a:pt x="2651" y="2868"/>
                      <a:pt x="2710" y="2878"/>
                      <a:pt x="2717" y="2869"/>
                    </a:cubicBezTo>
                    <a:cubicBezTo>
                      <a:pt x="2724" y="2860"/>
                      <a:pt x="2737" y="2853"/>
                      <a:pt x="2756" y="2874"/>
                    </a:cubicBezTo>
                    <a:cubicBezTo>
                      <a:pt x="2776" y="2895"/>
                      <a:pt x="2789" y="2899"/>
                      <a:pt x="2818" y="2897"/>
                    </a:cubicBezTo>
                    <a:cubicBezTo>
                      <a:pt x="2848" y="2894"/>
                      <a:pt x="2852" y="2887"/>
                      <a:pt x="2875" y="2879"/>
                    </a:cubicBezTo>
                    <a:cubicBezTo>
                      <a:pt x="2899" y="2872"/>
                      <a:pt x="2919" y="2875"/>
                      <a:pt x="2927" y="2869"/>
                    </a:cubicBezTo>
                    <a:cubicBezTo>
                      <a:pt x="2936" y="2863"/>
                      <a:pt x="2955" y="2851"/>
                      <a:pt x="2937" y="2845"/>
                    </a:cubicBezTo>
                    <a:cubicBezTo>
                      <a:pt x="2918" y="2840"/>
                      <a:pt x="2875" y="2841"/>
                      <a:pt x="2876" y="2819"/>
                    </a:cubicBezTo>
                    <a:cubicBezTo>
                      <a:pt x="2877" y="2798"/>
                      <a:pt x="2869" y="2781"/>
                      <a:pt x="2892" y="2763"/>
                    </a:cubicBezTo>
                    <a:cubicBezTo>
                      <a:pt x="2916" y="2745"/>
                      <a:pt x="2950" y="2747"/>
                      <a:pt x="2955" y="2723"/>
                    </a:cubicBezTo>
                    <a:cubicBezTo>
                      <a:pt x="2961" y="2699"/>
                      <a:pt x="2962" y="2678"/>
                      <a:pt x="2972" y="2668"/>
                    </a:cubicBezTo>
                    <a:cubicBezTo>
                      <a:pt x="2981" y="2657"/>
                      <a:pt x="2994" y="2646"/>
                      <a:pt x="2967" y="2637"/>
                    </a:cubicBezTo>
                    <a:cubicBezTo>
                      <a:pt x="2941" y="2628"/>
                      <a:pt x="2927" y="2623"/>
                      <a:pt x="2914" y="2608"/>
                    </a:cubicBezTo>
                    <a:cubicBezTo>
                      <a:pt x="2901" y="2592"/>
                      <a:pt x="2885" y="2575"/>
                      <a:pt x="2865" y="2559"/>
                    </a:cubicBezTo>
                    <a:cubicBezTo>
                      <a:pt x="2846" y="2543"/>
                      <a:pt x="2842" y="2541"/>
                      <a:pt x="2842" y="2518"/>
                    </a:cubicBezTo>
                    <a:cubicBezTo>
                      <a:pt x="2843" y="2494"/>
                      <a:pt x="2856" y="2474"/>
                      <a:pt x="2843" y="2451"/>
                    </a:cubicBezTo>
                    <a:cubicBezTo>
                      <a:pt x="2831" y="2428"/>
                      <a:pt x="2820" y="2407"/>
                      <a:pt x="2835" y="2395"/>
                    </a:cubicBezTo>
                    <a:cubicBezTo>
                      <a:pt x="2849" y="2383"/>
                      <a:pt x="2876" y="2393"/>
                      <a:pt x="2894" y="2381"/>
                    </a:cubicBezTo>
                    <a:cubicBezTo>
                      <a:pt x="2913" y="2370"/>
                      <a:pt x="2923" y="2359"/>
                      <a:pt x="2941" y="2354"/>
                    </a:cubicBezTo>
                    <a:cubicBezTo>
                      <a:pt x="2959" y="2348"/>
                      <a:pt x="2985" y="2350"/>
                      <a:pt x="3003" y="2358"/>
                    </a:cubicBezTo>
                    <a:cubicBezTo>
                      <a:pt x="3022" y="2366"/>
                      <a:pt x="3040" y="2366"/>
                      <a:pt x="3059" y="2360"/>
                    </a:cubicBezTo>
                    <a:cubicBezTo>
                      <a:pt x="3078" y="2354"/>
                      <a:pt x="3099" y="2350"/>
                      <a:pt x="3124" y="2347"/>
                    </a:cubicBezTo>
                    <a:cubicBezTo>
                      <a:pt x="3150" y="2345"/>
                      <a:pt x="3183" y="2337"/>
                      <a:pt x="3212" y="2328"/>
                    </a:cubicBezTo>
                    <a:cubicBezTo>
                      <a:pt x="3242" y="2319"/>
                      <a:pt x="3274" y="2304"/>
                      <a:pt x="3302" y="2302"/>
                    </a:cubicBezTo>
                    <a:cubicBezTo>
                      <a:pt x="3330" y="2300"/>
                      <a:pt x="3366" y="2293"/>
                      <a:pt x="3382" y="2299"/>
                    </a:cubicBezTo>
                    <a:cubicBezTo>
                      <a:pt x="3399" y="2304"/>
                      <a:pt x="3412" y="2305"/>
                      <a:pt x="3411" y="2291"/>
                    </a:cubicBezTo>
                    <a:cubicBezTo>
                      <a:pt x="3409" y="2276"/>
                      <a:pt x="3433" y="2268"/>
                      <a:pt x="3447" y="2274"/>
                    </a:cubicBezTo>
                    <a:cubicBezTo>
                      <a:pt x="3460" y="2280"/>
                      <a:pt x="3460" y="2294"/>
                      <a:pt x="3476" y="2289"/>
                    </a:cubicBezTo>
                    <a:cubicBezTo>
                      <a:pt x="3492" y="2283"/>
                      <a:pt x="3502" y="2286"/>
                      <a:pt x="3490" y="2272"/>
                    </a:cubicBezTo>
                    <a:cubicBezTo>
                      <a:pt x="3478" y="2257"/>
                      <a:pt x="3460" y="2255"/>
                      <a:pt x="3476" y="2237"/>
                    </a:cubicBezTo>
                    <a:cubicBezTo>
                      <a:pt x="3491" y="2219"/>
                      <a:pt x="3504" y="2192"/>
                      <a:pt x="3499" y="2164"/>
                    </a:cubicBezTo>
                    <a:cubicBezTo>
                      <a:pt x="3493" y="2136"/>
                      <a:pt x="3493" y="2113"/>
                      <a:pt x="3480" y="2090"/>
                    </a:cubicBezTo>
                    <a:cubicBezTo>
                      <a:pt x="3468" y="2067"/>
                      <a:pt x="3470" y="2035"/>
                      <a:pt x="3469" y="2023"/>
                    </a:cubicBezTo>
                    <a:cubicBezTo>
                      <a:pt x="3468" y="2010"/>
                      <a:pt x="3460" y="1955"/>
                      <a:pt x="3479" y="1941"/>
                    </a:cubicBezTo>
                    <a:cubicBezTo>
                      <a:pt x="3497" y="1927"/>
                      <a:pt x="3523" y="1918"/>
                      <a:pt x="3540" y="1915"/>
                    </a:cubicBezTo>
                    <a:cubicBezTo>
                      <a:pt x="3557" y="1912"/>
                      <a:pt x="3579" y="1913"/>
                      <a:pt x="3588" y="1891"/>
                    </a:cubicBezTo>
                    <a:cubicBezTo>
                      <a:pt x="3598" y="1868"/>
                      <a:pt x="3624" y="1845"/>
                      <a:pt x="3639" y="1830"/>
                    </a:cubicBezTo>
                    <a:cubicBezTo>
                      <a:pt x="3655" y="1815"/>
                      <a:pt x="3702" y="1791"/>
                      <a:pt x="3720" y="1781"/>
                    </a:cubicBezTo>
                    <a:cubicBezTo>
                      <a:pt x="3737" y="1772"/>
                      <a:pt x="3791" y="1750"/>
                      <a:pt x="3819" y="1741"/>
                    </a:cubicBezTo>
                    <a:cubicBezTo>
                      <a:pt x="3847" y="1733"/>
                      <a:pt x="3855" y="1728"/>
                      <a:pt x="3887" y="1731"/>
                    </a:cubicBezTo>
                    <a:cubicBezTo>
                      <a:pt x="3919" y="1733"/>
                      <a:pt x="3939" y="1716"/>
                      <a:pt x="3947" y="1700"/>
                    </a:cubicBezTo>
                    <a:cubicBezTo>
                      <a:pt x="3955" y="1683"/>
                      <a:pt x="3962" y="1660"/>
                      <a:pt x="3957" y="1640"/>
                    </a:cubicBezTo>
                    <a:cubicBezTo>
                      <a:pt x="3952" y="1620"/>
                      <a:pt x="3963" y="1601"/>
                      <a:pt x="3971" y="1587"/>
                    </a:cubicBezTo>
                    <a:cubicBezTo>
                      <a:pt x="3979" y="1572"/>
                      <a:pt x="3988" y="1569"/>
                      <a:pt x="3985" y="1564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1" name="Freeform 34"/>
              <p:cNvSpPr/>
              <p:nvPr/>
            </p:nvSpPr>
            <p:spPr bwMode="auto">
              <a:xfrm>
                <a:off x="6376566" y="5438477"/>
                <a:ext cx="206375" cy="430212"/>
              </a:xfrm>
              <a:custGeom>
                <a:avLst/>
                <a:gdLst>
                  <a:gd name="T0" fmla="*/ 45 w 368"/>
                  <a:gd name="T1" fmla="*/ 355 h 770"/>
                  <a:gd name="T2" fmla="*/ 84 w 368"/>
                  <a:gd name="T3" fmla="*/ 247 h 770"/>
                  <a:gd name="T4" fmla="*/ 125 w 368"/>
                  <a:gd name="T5" fmla="*/ 173 h 770"/>
                  <a:gd name="T6" fmla="*/ 145 w 368"/>
                  <a:gd name="T7" fmla="*/ 128 h 770"/>
                  <a:gd name="T8" fmla="*/ 176 w 368"/>
                  <a:gd name="T9" fmla="*/ 76 h 770"/>
                  <a:gd name="T10" fmla="*/ 239 w 368"/>
                  <a:gd name="T11" fmla="*/ 26 h 770"/>
                  <a:gd name="T12" fmla="*/ 279 w 368"/>
                  <a:gd name="T13" fmla="*/ 18 h 770"/>
                  <a:gd name="T14" fmla="*/ 317 w 368"/>
                  <a:gd name="T15" fmla="*/ 30 h 770"/>
                  <a:gd name="T16" fmla="*/ 349 w 368"/>
                  <a:gd name="T17" fmla="*/ 60 h 770"/>
                  <a:gd name="T18" fmla="*/ 329 w 368"/>
                  <a:gd name="T19" fmla="*/ 105 h 770"/>
                  <a:gd name="T20" fmla="*/ 355 w 368"/>
                  <a:gd name="T21" fmla="*/ 171 h 770"/>
                  <a:gd name="T22" fmla="*/ 319 w 368"/>
                  <a:gd name="T23" fmla="*/ 254 h 770"/>
                  <a:gd name="T24" fmla="*/ 310 w 368"/>
                  <a:gd name="T25" fmla="*/ 305 h 770"/>
                  <a:gd name="T26" fmla="*/ 305 w 368"/>
                  <a:gd name="T27" fmla="*/ 405 h 770"/>
                  <a:gd name="T28" fmla="*/ 296 w 368"/>
                  <a:gd name="T29" fmla="*/ 463 h 770"/>
                  <a:gd name="T30" fmla="*/ 273 w 368"/>
                  <a:gd name="T31" fmla="*/ 533 h 770"/>
                  <a:gd name="T32" fmla="*/ 246 w 368"/>
                  <a:gd name="T33" fmla="*/ 592 h 770"/>
                  <a:gd name="T34" fmla="*/ 225 w 368"/>
                  <a:gd name="T35" fmla="*/ 660 h 770"/>
                  <a:gd name="T36" fmla="*/ 234 w 368"/>
                  <a:gd name="T37" fmla="*/ 738 h 770"/>
                  <a:gd name="T38" fmla="*/ 221 w 368"/>
                  <a:gd name="T39" fmla="*/ 769 h 770"/>
                  <a:gd name="T40" fmla="*/ 185 w 368"/>
                  <a:gd name="T41" fmla="*/ 725 h 770"/>
                  <a:gd name="T42" fmla="*/ 135 w 368"/>
                  <a:gd name="T43" fmla="*/ 667 h 770"/>
                  <a:gd name="T44" fmla="*/ 127 w 368"/>
                  <a:gd name="T45" fmla="*/ 628 h 770"/>
                  <a:gd name="T46" fmla="*/ 115 w 368"/>
                  <a:gd name="T47" fmla="*/ 628 h 770"/>
                  <a:gd name="T48" fmla="*/ 83 w 368"/>
                  <a:gd name="T49" fmla="*/ 627 h 770"/>
                  <a:gd name="T50" fmla="*/ 30 w 368"/>
                  <a:gd name="T51" fmla="*/ 546 h 770"/>
                  <a:gd name="T52" fmla="*/ 24 w 368"/>
                  <a:gd name="T53" fmla="*/ 500 h 770"/>
                  <a:gd name="T54" fmla="*/ 25 w 368"/>
                  <a:gd name="T55" fmla="*/ 435 h 770"/>
                  <a:gd name="T56" fmla="*/ 26 w 368"/>
                  <a:gd name="T57" fmla="*/ 387 h 770"/>
                  <a:gd name="T58" fmla="*/ 45 w 368"/>
                  <a:gd name="T59" fmla="*/ 355 h 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68" h="770">
                    <a:moveTo>
                      <a:pt x="45" y="355"/>
                    </a:moveTo>
                    <a:cubicBezTo>
                      <a:pt x="45" y="355"/>
                      <a:pt x="73" y="273"/>
                      <a:pt x="84" y="247"/>
                    </a:cubicBezTo>
                    <a:cubicBezTo>
                      <a:pt x="95" y="221"/>
                      <a:pt x="113" y="185"/>
                      <a:pt x="125" y="173"/>
                    </a:cubicBezTo>
                    <a:cubicBezTo>
                      <a:pt x="138" y="162"/>
                      <a:pt x="145" y="155"/>
                      <a:pt x="145" y="128"/>
                    </a:cubicBezTo>
                    <a:cubicBezTo>
                      <a:pt x="145" y="102"/>
                      <a:pt x="158" y="88"/>
                      <a:pt x="176" y="76"/>
                    </a:cubicBezTo>
                    <a:cubicBezTo>
                      <a:pt x="195" y="64"/>
                      <a:pt x="229" y="51"/>
                      <a:pt x="239" y="26"/>
                    </a:cubicBezTo>
                    <a:cubicBezTo>
                      <a:pt x="249" y="0"/>
                      <a:pt x="275" y="2"/>
                      <a:pt x="279" y="18"/>
                    </a:cubicBezTo>
                    <a:cubicBezTo>
                      <a:pt x="283" y="33"/>
                      <a:pt x="294" y="27"/>
                      <a:pt x="317" y="30"/>
                    </a:cubicBezTo>
                    <a:cubicBezTo>
                      <a:pt x="339" y="33"/>
                      <a:pt x="368" y="41"/>
                      <a:pt x="349" y="60"/>
                    </a:cubicBezTo>
                    <a:cubicBezTo>
                      <a:pt x="329" y="78"/>
                      <a:pt x="322" y="78"/>
                      <a:pt x="329" y="105"/>
                    </a:cubicBezTo>
                    <a:cubicBezTo>
                      <a:pt x="336" y="131"/>
                      <a:pt x="366" y="154"/>
                      <a:pt x="355" y="171"/>
                    </a:cubicBezTo>
                    <a:cubicBezTo>
                      <a:pt x="344" y="189"/>
                      <a:pt x="334" y="237"/>
                      <a:pt x="319" y="254"/>
                    </a:cubicBezTo>
                    <a:cubicBezTo>
                      <a:pt x="304" y="272"/>
                      <a:pt x="312" y="277"/>
                      <a:pt x="310" y="305"/>
                    </a:cubicBezTo>
                    <a:cubicBezTo>
                      <a:pt x="308" y="334"/>
                      <a:pt x="299" y="383"/>
                      <a:pt x="305" y="405"/>
                    </a:cubicBezTo>
                    <a:cubicBezTo>
                      <a:pt x="310" y="426"/>
                      <a:pt x="298" y="439"/>
                      <a:pt x="296" y="463"/>
                    </a:cubicBezTo>
                    <a:cubicBezTo>
                      <a:pt x="294" y="488"/>
                      <a:pt x="283" y="515"/>
                      <a:pt x="273" y="533"/>
                    </a:cubicBezTo>
                    <a:cubicBezTo>
                      <a:pt x="263" y="551"/>
                      <a:pt x="269" y="571"/>
                      <a:pt x="246" y="592"/>
                    </a:cubicBezTo>
                    <a:cubicBezTo>
                      <a:pt x="224" y="614"/>
                      <a:pt x="219" y="641"/>
                      <a:pt x="225" y="660"/>
                    </a:cubicBezTo>
                    <a:cubicBezTo>
                      <a:pt x="230" y="680"/>
                      <a:pt x="237" y="714"/>
                      <a:pt x="234" y="738"/>
                    </a:cubicBezTo>
                    <a:cubicBezTo>
                      <a:pt x="231" y="761"/>
                      <a:pt x="245" y="770"/>
                      <a:pt x="221" y="769"/>
                    </a:cubicBezTo>
                    <a:cubicBezTo>
                      <a:pt x="196" y="768"/>
                      <a:pt x="187" y="754"/>
                      <a:pt x="185" y="725"/>
                    </a:cubicBezTo>
                    <a:cubicBezTo>
                      <a:pt x="183" y="695"/>
                      <a:pt x="155" y="676"/>
                      <a:pt x="135" y="667"/>
                    </a:cubicBezTo>
                    <a:cubicBezTo>
                      <a:pt x="116" y="658"/>
                      <a:pt x="123" y="651"/>
                      <a:pt x="127" y="628"/>
                    </a:cubicBezTo>
                    <a:cubicBezTo>
                      <a:pt x="131" y="606"/>
                      <a:pt x="119" y="612"/>
                      <a:pt x="115" y="628"/>
                    </a:cubicBezTo>
                    <a:cubicBezTo>
                      <a:pt x="111" y="645"/>
                      <a:pt x="101" y="654"/>
                      <a:pt x="83" y="627"/>
                    </a:cubicBezTo>
                    <a:cubicBezTo>
                      <a:pt x="66" y="601"/>
                      <a:pt x="60" y="552"/>
                      <a:pt x="30" y="546"/>
                    </a:cubicBezTo>
                    <a:cubicBezTo>
                      <a:pt x="0" y="540"/>
                      <a:pt x="14" y="516"/>
                      <a:pt x="24" y="500"/>
                    </a:cubicBezTo>
                    <a:cubicBezTo>
                      <a:pt x="34" y="485"/>
                      <a:pt x="31" y="447"/>
                      <a:pt x="25" y="435"/>
                    </a:cubicBezTo>
                    <a:cubicBezTo>
                      <a:pt x="19" y="422"/>
                      <a:pt x="20" y="397"/>
                      <a:pt x="26" y="387"/>
                    </a:cubicBezTo>
                    <a:cubicBezTo>
                      <a:pt x="32" y="378"/>
                      <a:pt x="45" y="355"/>
                      <a:pt x="45" y="355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2" name="Freeform 35"/>
              <p:cNvSpPr/>
              <p:nvPr/>
            </p:nvSpPr>
            <p:spPr bwMode="auto">
              <a:xfrm>
                <a:off x="5668541" y="3603327"/>
                <a:ext cx="187325" cy="192087"/>
              </a:xfrm>
              <a:custGeom>
                <a:avLst/>
                <a:gdLst>
                  <a:gd name="T0" fmla="*/ 314 w 333"/>
                  <a:gd name="T1" fmla="*/ 55 h 343"/>
                  <a:gd name="T2" fmla="*/ 188 w 333"/>
                  <a:gd name="T3" fmla="*/ 26 h 343"/>
                  <a:gd name="T4" fmla="*/ 132 w 333"/>
                  <a:gd name="T5" fmla="*/ 41 h 343"/>
                  <a:gd name="T6" fmla="*/ 131 w 333"/>
                  <a:gd name="T7" fmla="*/ 69 h 343"/>
                  <a:gd name="T8" fmla="*/ 95 w 333"/>
                  <a:gd name="T9" fmla="*/ 99 h 343"/>
                  <a:gd name="T10" fmla="*/ 103 w 333"/>
                  <a:gd name="T11" fmla="*/ 150 h 343"/>
                  <a:gd name="T12" fmla="*/ 96 w 333"/>
                  <a:gd name="T13" fmla="*/ 163 h 343"/>
                  <a:gd name="T14" fmla="*/ 65 w 333"/>
                  <a:gd name="T15" fmla="*/ 157 h 343"/>
                  <a:gd name="T16" fmla="*/ 38 w 333"/>
                  <a:gd name="T17" fmla="*/ 203 h 343"/>
                  <a:gd name="T18" fmla="*/ 4 w 333"/>
                  <a:gd name="T19" fmla="*/ 261 h 343"/>
                  <a:gd name="T20" fmla="*/ 30 w 333"/>
                  <a:gd name="T21" fmla="*/ 332 h 343"/>
                  <a:gd name="T22" fmla="*/ 92 w 333"/>
                  <a:gd name="T23" fmla="*/ 332 h 343"/>
                  <a:gd name="T24" fmla="*/ 134 w 333"/>
                  <a:gd name="T25" fmla="*/ 302 h 343"/>
                  <a:gd name="T26" fmla="*/ 159 w 333"/>
                  <a:gd name="T27" fmla="*/ 326 h 343"/>
                  <a:gd name="T28" fmla="*/ 201 w 333"/>
                  <a:gd name="T29" fmla="*/ 302 h 343"/>
                  <a:gd name="T30" fmla="*/ 251 w 333"/>
                  <a:gd name="T31" fmla="*/ 284 h 343"/>
                  <a:gd name="T32" fmla="*/ 236 w 333"/>
                  <a:gd name="T33" fmla="*/ 241 h 343"/>
                  <a:gd name="T34" fmla="*/ 244 w 333"/>
                  <a:gd name="T35" fmla="*/ 206 h 343"/>
                  <a:gd name="T36" fmla="*/ 301 w 333"/>
                  <a:gd name="T37" fmla="*/ 168 h 343"/>
                  <a:gd name="T38" fmla="*/ 286 w 333"/>
                  <a:gd name="T39" fmla="*/ 104 h 343"/>
                  <a:gd name="T40" fmla="*/ 314 w 333"/>
                  <a:gd name="T41" fmla="*/ 55 h 3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33" h="343">
                    <a:moveTo>
                      <a:pt x="314" y="55"/>
                    </a:moveTo>
                    <a:cubicBezTo>
                      <a:pt x="314" y="55"/>
                      <a:pt x="208" y="51"/>
                      <a:pt x="188" y="26"/>
                    </a:cubicBezTo>
                    <a:cubicBezTo>
                      <a:pt x="169" y="0"/>
                      <a:pt x="125" y="20"/>
                      <a:pt x="132" y="41"/>
                    </a:cubicBezTo>
                    <a:cubicBezTo>
                      <a:pt x="139" y="62"/>
                      <a:pt x="149" y="72"/>
                      <a:pt x="131" y="69"/>
                    </a:cubicBezTo>
                    <a:cubicBezTo>
                      <a:pt x="113" y="66"/>
                      <a:pt x="96" y="79"/>
                      <a:pt x="95" y="99"/>
                    </a:cubicBezTo>
                    <a:cubicBezTo>
                      <a:pt x="94" y="118"/>
                      <a:pt x="83" y="125"/>
                      <a:pt x="103" y="150"/>
                    </a:cubicBezTo>
                    <a:cubicBezTo>
                      <a:pt x="124" y="174"/>
                      <a:pt x="123" y="183"/>
                      <a:pt x="96" y="163"/>
                    </a:cubicBezTo>
                    <a:cubicBezTo>
                      <a:pt x="69" y="144"/>
                      <a:pt x="63" y="136"/>
                      <a:pt x="65" y="157"/>
                    </a:cubicBezTo>
                    <a:cubicBezTo>
                      <a:pt x="67" y="178"/>
                      <a:pt x="47" y="195"/>
                      <a:pt x="38" y="203"/>
                    </a:cubicBezTo>
                    <a:cubicBezTo>
                      <a:pt x="28" y="211"/>
                      <a:pt x="0" y="223"/>
                      <a:pt x="4" y="261"/>
                    </a:cubicBezTo>
                    <a:cubicBezTo>
                      <a:pt x="8" y="300"/>
                      <a:pt x="3" y="331"/>
                      <a:pt x="30" y="332"/>
                    </a:cubicBezTo>
                    <a:cubicBezTo>
                      <a:pt x="58" y="333"/>
                      <a:pt x="83" y="343"/>
                      <a:pt x="92" y="332"/>
                    </a:cubicBezTo>
                    <a:cubicBezTo>
                      <a:pt x="101" y="321"/>
                      <a:pt x="127" y="285"/>
                      <a:pt x="134" y="302"/>
                    </a:cubicBezTo>
                    <a:cubicBezTo>
                      <a:pt x="141" y="320"/>
                      <a:pt x="134" y="338"/>
                      <a:pt x="159" y="326"/>
                    </a:cubicBezTo>
                    <a:cubicBezTo>
                      <a:pt x="184" y="315"/>
                      <a:pt x="183" y="299"/>
                      <a:pt x="201" y="302"/>
                    </a:cubicBezTo>
                    <a:cubicBezTo>
                      <a:pt x="218" y="306"/>
                      <a:pt x="251" y="301"/>
                      <a:pt x="251" y="284"/>
                    </a:cubicBezTo>
                    <a:cubicBezTo>
                      <a:pt x="251" y="267"/>
                      <a:pt x="251" y="250"/>
                      <a:pt x="236" y="241"/>
                    </a:cubicBezTo>
                    <a:cubicBezTo>
                      <a:pt x="222" y="232"/>
                      <a:pt x="217" y="215"/>
                      <a:pt x="244" y="206"/>
                    </a:cubicBezTo>
                    <a:cubicBezTo>
                      <a:pt x="270" y="197"/>
                      <a:pt x="299" y="187"/>
                      <a:pt x="301" y="168"/>
                    </a:cubicBezTo>
                    <a:cubicBezTo>
                      <a:pt x="303" y="150"/>
                      <a:pt x="273" y="120"/>
                      <a:pt x="286" y="104"/>
                    </a:cubicBezTo>
                    <a:cubicBezTo>
                      <a:pt x="298" y="87"/>
                      <a:pt x="333" y="70"/>
                      <a:pt x="314" y="55"/>
                    </a:cubicBezTo>
                    <a:close/>
                  </a:path>
                </a:pathLst>
              </a:custGeom>
              <a:grpFill/>
              <a:ln w="6350" cap="flat">
                <a:solidFill>
                  <a:srgbClr val="FCFCFC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3" name="Oval 36"/>
              <p:cNvSpPr>
                <a:spLocks noChangeArrowheads="1"/>
              </p:cNvSpPr>
              <p:nvPr/>
            </p:nvSpPr>
            <p:spPr bwMode="auto">
              <a:xfrm>
                <a:off x="4566816" y="4263727"/>
                <a:ext cx="28575" cy="269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4" name="Oval 37"/>
              <p:cNvSpPr>
                <a:spLocks noChangeArrowheads="1"/>
              </p:cNvSpPr>
              <p:nvPr/>
            </p:nvSpPr>
            <p:spPr bwMode="auto">
              <a:xfrm>
                <a:off x="3106316" y="3209627"/>
                <a:ext cx="26988" cy="269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5" name="Oval 38"/>
              <p:cNvSpPr>
                <a:spLocks noChangeArrowheads="1"/>
              </p:cNvSpPr>
              <p:nvPr/>
            </p:nvSpPr>
            <p:spPr bwMode="auto">
              <a:xfrm>
                <a:off x="3198391" y="4970165"/>
                <a:ext cx="26988" cy="269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6" name="Oval 39"/>
              <p:cNvSpPr>
                <a:spLocks noChangeArrowheads="1"/>
              </p:cNvSpPr>
              <p:nvPr/>
            </p:nvSpPr>
            <p:spPr bwMode="auto">
              <a:xfrm>
                <a:off x="4373141" y="4197052"/>
                <a:ext cx="26988" cy="269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7" name="Oval 40"/>
              <p:cNvSpPr>
                <a:spLocks noChangeArrowheads="1"/>
              </p:cNvSpPr>
              <p:nvPr/>
            </p:nvSpPr>
            <p:spPr bwMode="auto">
              <a:xfrm>
                <a:off x="5293891" y="3665240"/>
                <a:ext cx="26988" cy="269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8" name="Oval 41"/>
              <p:cNvSpPr>
                <a:spLocks noChangeArrowheads="1"/>
              </p:cNvSpPr>
              <p:nvPr/>
            </p:nvSpPr>
            <p:spPr bwMode="auto">
              <a:xfrm>
                <a:off x="5073229" y="4465340"/>
                <a:ext cx="33338" cy="3333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49" name="Oval 42"/>
              <p:cNvSpPr>
                <a:spLocks noChangeArrowheads="1"/>
              </p:cNvSpPr>
              <p:nvPr/>
            </p:nvSpPr>
            <p:spPr bwMode="auto">
              <a:xfrm>
                <a:off x="4582691" y="4922540"/>
                <a:ext cx="39688" cy="381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0" name="Oval 43"/>
              <p:cNvSpPr>
                <a:spLocks noChangeArrowheads="1"/>
              </p:cNvSpPr>
              <p:nvPr/>
            </p:nvSpPr>
            <p:spPr bwMode="auto">
              <a:xfrm>
                <a:off x="4831929" y="5036840"/>
                <a:ext cx="58738" cy="603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1" name="Oval 44"/>
              <p:cNvSpPr>
                <a:spLocks noChangeArrowheads="1"/>
              </p:cNvSpPr>
              <p:nvPr/>
            </p:nvSpPr>
            <p:spPr bwMode="auto">
              <a:xfrm>
                <a:off x="4433466" y="5600402"/>
                <a:ext cx="38100" cy="381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2" name="Oval 45"/>
              <p:cNvSpPr>
                <a:spLocks noChangeArrowheads="1"/>
              </p:cNvSpPr>
              <p:nvPr/>
            </p:nvSpPr>
            <p:spPr bwMode="auto">
              <a:xfrm>
                <a:off x="4858916" y="5409902"/>
                <a:ext cx="38100" cy="381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3" name="Oval 46"/>
              <p:cNvSpPr>
                <a:spLocks noChangeArrowheads="1"/>
              </p:cNvSpPr>
              <p:nvPr/>
            </p:nvSpPr>
            <p:spPr bwMode="auto">
              <a:xfrm>
                <a:off x="5063704" y="5868690"/>
                <a:ext cx="28575" cy="2857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4" name="Oval 47"/>
              <p:cNvSpPr>
                <a:spLocks noChangeArrowheads="1"/>
              </p:cNvSpPr>
              <p:nvPr/>
            </p:nvSpPr>
            <p:spPr bwMode="auto">
              <a:xfrm>
                <a:off x="5614566" y="5792490"/>
                <a:ext cx="46038" cy="4603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5" name="Oval 48"/>
              <p:cNvSpPr>
                <a:spLocks noChangeArrowheads="1"/>
              </p:cNvSpPr>
              <p:nvPr/>
            </p:nvSpPr>
            <p:spPr bwMode="auto">
              <a:xfrm>
                <a:off x="5541541" y="5194002"/>
                <a:ext cx="25400" cy="269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6" name="Oval 49"/>
              <p:cNvSpPr>
                <a:spLocks noChangeArrowheads="1"/>
              </p:cNvSpPr>
              <p:nvPr/>
            </p:nvSpPr>
            <p:spPr bwMode="auto">
              <a:xfrm>
                <a:off x="5847929" y="5103515"/>
                <a:ext cx="26988" cy="269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7" name="Oval 50"/>
              <p:cNvSpPr>
                <a:spLocks noChangeArrowheads="1"/>
              </p:cNvSpPr>
              <p:nvPr/>
            </p:nvSpPr>
            <p:spPr bwMode="auto">
              <a:xfrm>
                <a:off x="5649491" y="4868565"/>
                <a:ext cx="41275" cy="4127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8" name="Oval 51"/>
              <p:cNvSpPr>
                <a:spLocks noChangeArrowheads="1"/>
              </p:cNvSpPr>
              <p:nvPr/>
            </p:nvSpPr>
            <p:spPr bwMode="auto">
              <a:xfrm>
                <a:off x="6249566" y="5368627"/>
                <a:ext cx="26988" cy="269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59" name="Oval 52"/>
              <p:cNvSpPr>
                <a:spLocks noChangeArrowheads="1"/>
              </p:cNvSpPr>
              <p:nvPr/>
            </p:nvSpPr>
            <p:spPr bwMode="auto">
              <a:xfrm>
                <a:off x="6500391" y="5459115"/>
                <a:ext cx="36513" cy="3651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0" name="Oval 53"/>
              <p:cNvSpPr>
                <a:spLocks noChangeArrowheads="1"/>
              </p:cNvSpPr>
              <p:nvPr/>
            </p:nvSpPr>
            <p:spPr bwMode="auto">
              <a:xfrm>
                <a:off x="6247979" y="4862215"/>
                <a:ext cx="23813" cy="2381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1" name="Oval 54"/>
              <p:cNvSpPr>
                <a:spLocks noChangeArrowheads="1"/>
              </p:cNvSpPr>
              <p:nvPr/>
            </p:nvSpPr>
            <p:spPr bwMode="auto">
              <a:xfrm>
                <a:off x="6367041" y="4711402"/>
                <a:ext cx="57150" cy="571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2" name="Oval 55"/>
              <p:cNvSpPr>
                <a:spLocks noChangeArrowheads="1"/>
              </p:cNvSpPr>
              <p:nvPr/>
            </p:nvSpPr>
            <p:spPr bwMode="auto">
              <a:xfrm>
                <a:off x="5947941" y="4697115"/>
                <a:ext cx="19050" cy="190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3" name="Oval 56"/>
              <p:cNvSpPr>
                <a:spLocks noChangeArrowheads="1"/>
              </p:cNvSpPr>
              <p:nvPr/>
            </p:nvSpPr>
            <p:spPr bwMode="auto">
              <a:xfrm>
                <a:off x="6097166" y="4651077"/>
                <a:ext cx="26988" cy="254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4" name="Oval 57"/>
              <p:cNvSpPr>
                <a:spLocks noChangeArrowheads="1"/>
              </p:cNvSpPr>
              <p:nvPr/>
            </p:nvSpPr>
            <p:spPr bwMode="auto">
              <a:xfrm>
                <a:off x="5539954" y="4389140"/>
                <a:ext cx="26988" cy="254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5" name="Oval 58"/>
              <p:cNvSpPr>
                <a:spLocks noChangeArrowheads="1"/>
              </p:cNvSpPr>
              <p:nvPr/>
            </p:nvSpPr>
            <p:spPr bwMode="auto">
              <a:xfrm>
                <a:off x="5849516" y="4114502"/>
                <a:ext cx="26988" cy="269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6" name="Oval 59"/>
              <p:cNvSpPr>
                <a:spLocks noChangeArrowheads="1"/>
              </p:cNvSpPr>
              <p:nvPr/>
            </p:nvSpPr>
            <p:spPr bwMode="auto">
              <a:xfrm>
                <a:off x="5406604" y="4008140"/>
                <a:ext cx="25400" cy="269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7" name="Oval 60"/>
              <p:cNvSpPr>
                <a:spLocks noChangeArrowheads="1"/>
              </p:cNvSpPr>
              <p:nvPr/>
            </p:nvSpPr>
            <p:spPr bwMode="auto">
              <a:xfrm>
                <a:off x="5585991" y="3982740"/>
                <a:ext cx="26988" cy="254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8" name="Oval 61"/>
              <p:cNvSpPr>
                <a:spLocks noChangeArrowheads="1"/>
              </p:cNvSpPr>
              <p:nvPr/>
            </p:nvSpPr>
            <p:spPr bwMode="auto">
              <a:xfrm>
                <a:off x="5827291" y="3803352"/>
                <a:ext cx="36513" cy="3651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69" name="Oval 62"/>
              <p:cNvSpPr>
                <a:spLocks noChangeArrowheads="1"/>
              </p:cNvSpPr>
              <p:nvPr/>
            </p:nvSpPr>
            <p:spPr bwMode="auto">
              <a:xfrm>
                <a:off x="6363866" y="3393777"/>
                <a:ext cx="33338" cy="3333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70" name="Oval 63"/>
              <p:cNvSpPr>
                <a:spLocks noChangeArrowheads="1"/>
              </p:cNvSpPr>
              <p:nvPr/>
            </p:nvSpPr>
            <p:spPr bwMode="auto">
              <a:xfrm>
                <a:off x="6484516" y="3108027"/>
                <a:ext cx="30163" cy="317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71" name="Oval 64"/>
              <p:cNvSpPr>
                <a:spLocks noChangeArrowheads="1"/>
              </p:cNvSpPr>
              <p:nvPr/>
            </p:nvSpPr>
            <p:spPr bwMode="auto">
              <a:xfrm>
                <a:off x="6554366" y="2863552"/>
                <a:ext cx="31750" cy="317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72" name="Oval 65"/>
              <p:cNvSpPr>
                <a:spLocks noChangeArrowheads="1"/>
              </p:cNvSpPr>
              <p:nvPr/>
            </p:nvSpPr>
            <p:spPr bwMode="auto">
              <a:xfrm>
                <a:off x="4811291" y="3974802"/>
                <a:ext cx="19050" cy="1746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  <p:sp>
            <p:nvSpPr>
              <p:cNvPr id="73" name="Rectangle 66"/>
              <p:cNvSpPr>
                <a:spLocks noChangeArrowheads="1"/>
              </p:cNvSpPr>
              <p:nvPr/>
            </p:nvSpPr>
            <p:spPr bwMode="auto">
              <a:xfrm>
                <a:off x="5725691" y="3700165"/>
                <a:ext cx="65088" cy="6508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/>
              </a:p>
            </p:txBody>
          </p:sp>
        </p:grpSp>
        <p:sp>
          <p:nvSpPr>
            <p:cNvPr id="8" name="矩形 7"/>
            <p:cNvSpPr/>
            <p:nvPr/>
          </p:nvSpPr>
          <p:spPr>
            <a:xfrm>
              <a:off x="6883545" y="4189880"/>
              <a:ext cx="5136232" cy="21236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专业的团队，完善的售后，热情的服务，科学严谨的逻辑，一丝不苟的工作态度，定能使您的发展如虎添翼！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除了模板的发布与定制，我们还为您准备了使用教程，希望能够能够更好的使用该作品，授人以鱼不如授人以渔，希望您在下班之余，能够和我们一起进步，共同感受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巨大魅力与价值。我们诚祝您在工作中事事顺心，步步高升！最后让我们谨记：最重要的不是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是你。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TextBox 692"/>
            <p:cNvSpPr txBox="1"/>
            <p:nvPr/>
          </p:nvSpPr>
          <p:spPr bwMode="auto">
            <a:xfrm>
              <a:off x="6903086" y="3739280"/>
              <a:ext cx="1569660" cy="46166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400" b="1" spc="3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2400" b="1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pic>
          <p:nvPicPr>
            <p:cNvPr id="10" name="图片 9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0344472" y="3138142"/>
              <a:ext cx="840026" cy="840026"/>
            </a:xfrm>
            <a:prstGeom prst="rect">
              <a:avLst/>
            </a:prstGeom>
          </p:spPr>
        </p:pic>
        <p:pic>
          <p:nvPicPr>
            <p:cNvPr id="11" name="图片 10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1302912" y="2920274"/>
              <a:ext cx="499120" cy="499120"/>
            </a:xfrm>
            <a:prstGeom prst="rect">
              <a:avLst/>
            </a:prstGeom>
          </p:spPr>
        </p:pic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1339454" y="1622258"/>
            <a:ext cx="10512428" cy="4559896"/>
            <a:chOff x="1339454" y="1622258"/>
            <a:chExt cx="10512428" cy="4559896"/>
          </a:xfrm>
        </p:grpSpPr>
        <p:cxnSp>
          <p:nvCxnSpPr>
            <p:cNvPr id="7" name="直接连接符 6"/>
            <p:cNvCxnSpPr/>
            <p:nvPr/>
          </p:nvCxnSpPr>
          <p:spPr>
            <a:xfrm flipH="1">
              <a:off x="6884070" y="2647104"/>
              <a:ext cx="936104" cy="80427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连接符 7"/>
            <p:cNvCxnSpPr>
              <a:stCxn id="10" idx="4"/>
            </p:cNvCxnSpPr>
            <p:nvPr/>
          </p:nvCxnSpPr>
          <p:spPr>
            <a:xfrm flipH="1">
              <a:off x="4913842" y="3958947"/>
              <a:ext cx="1352239" cy="1139837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Freeform 172"/>
            <p:cNvSpPr>
              <a:spLocks noEditPoints="1"/>
            </p:cNvSpPr>
            <p:nvPr/>
          </p:nvSpPr>
          <p:spPr bwMode="auto">
            <a:xfrm>
              <a:off x="1483470" y="3370592"/>
              <a:ext cx="1416385" cy="990563"/>
            </a:xfrm>
            <a:custGeom>
              <a:avLst/>
              <a:gdLst>
                <a:gd name="T0" fmla="*/ 469 w 469"/>
                <a:gd name="T1" fmla="*/ 24 h 328"/>
                <a:gd name="T2" fmla="*/ 469 w 469"/>
                <a:gd name="T3" fmla="*/ 328 h 328"/>
                <a:gd name="T4" fmla="*/ 0 w 469"/>
                <a:gd name="T5" fmla="*/ 328 h 328"/>
                <a:gd name="T6" fmla="*/ 0 w 469"/>
                <a:gd name="T7" fmla="*/ 24 h 328"/>
                <a:gd name="T8" fmla="*/ 225 w 469"/>
                <a:gd name="T9" fmla="*/ 195 h 328"/>
                <a:gd name="T10" fmla="*/ 469 w 469"/>
                <a:gd name="T11" fmla="*/ 24 h 328"/>
                <a:gd name="T12" fmla="*/ 469 w 469"/>
                <a:gd name="T13" fmla="*/ 24 h 328"/>
                <a:gd name="T14" fmla="*/ 4 w 469"/>
                <a:gd name="T15" fmla="*/ 0 h 328"/>
                <a:gd name="T16" fmla="*/ 225 w 469"/>
                <a:gd name="T17" fmla="*/ 169 h 328"/>
                <a:gd name="T18" fmla="*/ 464 w 469"/>
                <a:gd name="T19" fmla="*/ 0 h 328"/>
                <a:gd name="T20" fmla="*/ 4 w 469"/>
                <a:gd name="T21" fmla="*/ 0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9" h="328">
                  <a:moveTo>
                    <a:pt x="469" y="24"/>
                  </a:moveTo>
                  <a:lnTo>
                    <a:pt x="469" y="328"/>
                  </a:lnTo>
                  <a:lnTo>
                    <a:pt x="0" y="328"/>
                  </a:lnTo>
                  <a:lnTo>
                    <a:pt x="0" y="24"/>
                  </a:lnTo>
                  <a:lnTo>
                    <a:pt x="225" y="195"/>
                  </a:lnTo>
                  <a:lnTo>
                    <a:pt x="469" y="24"/>
                  </a:lnTo>
                  <a:lnTo>
                    <a:pt x="469" y="24"/>
                  </a:lnTo>
                  <a:close/>
                  <a:moveTo>
                    <a:pt x="4" y="0"/>
                  </a:moveTo>
                  <a:lnTo>
                    <a:pt x="225" y="169"/>
                  </a:lnTo>
                  <a:lnTo>
                    <a:pt x="46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E3A7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" name="Freeform 174"/>
            <p:cNvSpPr>
              <a:spLocks noEditPoints="1"/>
            </p:cNvSpPr>
            <p:nvPr/>
          </p:nvSpPr>
          <p:spPr bwMode="auto">
            <a:xfrm>
              <a:off x="5587926" y="3373478"/>
              <a:ext cx="1419604" cy="984789"/>
            </a:xfrm>
            <a:custGeom>
              <a:avLst/>
              <a:gdLst>
                <a:gd name="T0" fmla="*/ 471 w 471"/>
                <a:gd name="T1" fmla="*/ 24 h 328"/>
                <a:gd name="T2" fmla="*/ 471 w 471"/>
                <a:gd name="T3" fmla="*/ 328 h 328"/>
                <a:gd name="T4" fmla="*/ 0 w 471"/>
                <a:gd name="T5" fmla="*/ 328 h 328"/>
                <a:gd name="T6" fmla="*/ 0 w 471"/>
                <a:gd name="T7" fmla="*/ 24 h 328"/>
                <a:gd name="T8" fmla="*/ 225 w 471"/>
                <a:gd name="T9" fmla="*/ 195 h 328"/>
                <a:gd name="T10" fmla="*/ 471 w 471"/>
                <a:gd name="T11" fmla="*/ 24 h 328"/>
                <a:gd name="T12" fmla="*/ 471 w 471"/>
                <a:gd name="T13" fmla="*/ 24 h 328"/>
                <a:gd name="T14" fmla="*/ 7 w 471"/>
                <a:gd name="T15" fmla="*/ 0 h 328"/>
                <a:gd name="T16" fmla="*/ 227 w 471"/>
                <a:gd name="T17" fmla="*/ 169 h 328"/>
                <a:gd name="T18" fmla="*/ 464 w 471"/>
                <a:gd name="T19" fmla="*/ 0 h 328"/>
                <a:gd name="T20" fmla="*/ 7 w 471"/>
                <a:gd name="T21" fmla="*/ 0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1" h="328">
                  <a:moveTo>
                    <a:pt x="471" y="24"/>
                  </a:moveTo>
                  <a:lnTo>
                    <a:pt x="471" y="328"/>
                  </a:lnTo>
                  <a:lnTo>
                    <a:pt x="0" y="328"/>
                  </a:lnTo>
                  <a:lnTo>
                    <a:pt x="0" y="24"/>
                  </a:lnTo>
                  <a:lnTo>
                    <a:pt x="225" y="195"/>
                  </a:lnTo>
                  <a:lnTo>
                    <a:pt x="471" y="24"/>
                  </a:lnTo>
                  <a:lnTo>
                    <a:pt x="471" y="24"/>
                  </a:lnTo>
                  <a:close/>
                  <a:moveTo>
                    <a:pt x="7" y="0"/>
                  </a:moveTo>
                  <a:lnTo>
                    <a:pt x="227" y="169"/>
                  </a:lnTo>
                  <a:lnTo>
                    <a:pt x="464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1AAD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" name="Freeform 173"/>
            <p:cNvSpPr>
              <a:spLocks noEditPoints="1"/>
            </p:cNvSpPr>
            <p:nvPr/>
          </p:nvSpPr>
          <p:spPr bwMode="auto">
            <a:xfrm>
              <a:off x="3499694" y="5098784"/>
              <a:ext cx="1414148" cy="990563"/>
            </a:xfrm>
            <a:custGeom>
              <a:avLst/>
              <a:gdLst>
                <a:gd name="T0" fmla="*/ 469 w 469"/>
                <a:gd name="T1" fmla="*/ 24 h 328"/>
                <a:gd name="T2" fmla="*/ 469 w 469"/>
                <a:gd name="T3" fmla="*/ 328 h 328"/>
                <a:gd name="T4" fmla="*/ 0 w 469"/>
                <a:gd name="T5" fmla="*/ 328 h 328"/>
                <a:gd name="T6" fmla="*/ 0 w 469"/>
                <a:gd name="T7" fmla="*/ 24 h 328"/>
                <a:gd name="T8" fmla="*/ 225 w 469"/>
                <a:gd name="T9" fmla="*/ 195 h 328"/>
                <a:gd name="T10" fmla="*/ 469 w 469"/>
                <a:gd name="T11" fmla="*/ 24 h 328"/>
                <a:gd name="T12" fmla="*/ 469 w 469"/>
                <a:gd name="T13" fmla="*/ 24 h 328"/>
                <a:gd name="T14" fmla="*/ 5 w 469"/>
                <a:gd name="T15" fmla="*/ 0 h 328"/>
                <a:gd name="T16" fmla="*/ 225 w 469"/>
                <a:gd name="T17" fmla="*/ 169 h 328"/>
                <a:gd name="T18" fmla="*/ 465 w 469"/>
                <a:gd name="T19" fmla="*/ 0 h 328"/>
                <a:gd name="T20" fmla="*/ 5 w 469"/>
                <a:gd name="T21" fmla="*/ 0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9" h="328">
                  <a:moveTo>
                    <a:pt x="469" y="24"/>
                  </a:moveTo>
                  <a:lnTo>
                    <a:pt x="469" y="328"/>
                  </a:lnTo>
                  <a:lnTo>
                    <a:pt x="0" y="328"/>
                  </a:lnTo>
                  <a:lnTo>
                    <a:pt x="0" y="24"/>
                  </a:lnTo>
                  <a:lnTo>
                    <a:pt x="225" y="195"/>
                  </a:lnTo>
                  <a:lnTo>
                    <a:pt x="469" y="24"/>
                  </a:lnTo>
                  <a:lnTo>
                    <a:pt x="469" y="24"/>
                  </a:lnTo>
                  <a:close/>
                  <a:moveTo>
                    <a:pt x="5" y="0"/>
                  </a:moveTo>
                  <a:lnTo>
                    <a:pt x="225" y="169"/>
                  </a:lnTo>
                  <a:lnTo>
                    <a:pt x="46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A4AC0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" name="Freeform 175"/>
            <p:cNvSpPr>
              <a:spLocks noEditPoints="1"/>
            </p:cNvSpPr>
            <p:nvPr/>
          </p:nvSpPr>
          <p:spPr bwMode="auto">
            <a:xfrm>
              <a:off x="7820174" y="1655982"/>
              <a:ext cx="1431564" cy="990563"/>
            </a:xfrm>
            <a:custGeom>
              <a:avLst/>
              <a:gdLst>
                <a:gd name="T0" fmla="*/ 472 w 472"/>
                <a:gd name="T1" fmla="*/ 24 h 328"/>
                <a:gd name="T2" fmla="*/ 472 w 472"/>
                <a:gd name="T3" fmla="*/ 328 h 328"/>
                <a:gd name="T4" fmla="*/ 0 w 472"/>
                <a:gd name="T5" fmla="*/ 328 h 328"/>
                <a:gd name="T6" fmla="*/ 0 w 472"/>
                <a:gd name="T7" fmla="*/ 24 h 328"/>
                <a:gd name="T8" fmla="*/ 225 w 472"/>
                <a:gd name="T9" fmla="*/ 195 h 328"/>
                <a:gd name="T10" fmla="*/ 472 w 472"/>
                <a:gd name="T11" fmla="*/ 24 h 328"/>
                <a:gd name="T12" fmla="*/ 472 w 472"/>
                <a:gd name="T13" fmla="*/ 24 h 328"/>
                <a:gd name="T14" fmla="*/ 7 w 472"/>
                <a:gd name="T15" fmla="*/ 0 h 328"/>
                <a:gd name="T16" fmla="*/ 225 w 472"/>
                <a:gd name="T17" fmla="*/ 169 h 328"/>
                <a:gd name="T18" fmla="*/ 464 w 472"/>
                <a:gd name="T19" fmla="*/ 0 h 328"/>
                <a:gd name="T20" fmla="*/ 7 w 472"/>
                <a:gd name="T21" fmla="*/ 0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2" h="328">
                  <a:moveTo>
                    <a:pt x="472" y="24"/>
                  </a:moveTo>
                  <a:lnTo>
                    <a:pt x="472" y="328"/>
                  </a:lnTo>
                  <a:lnTo>
                    <a:pt x="0" y="328"/>
                  </a:lnTo>
                  <a:lnTo>
                    <a:pt x="0" y="24"/>
                  </a:lnTo>
                  <a:lnTo>
                    <a:pt x="225" y="195"/>
                  </a:lnTo>
                  <a:lnTo>
                    <a:pt x="472" y="24"/>
                  </a:lnTo>
                  <a:lnTo>
                    <a:pt x="472" y="24"/>
                  </a:lnTo>
                  <a:close/>
                  <a:moveTo>
                    <a:pt x="7" y="0"/>
                  </a:moveTo>
                  <a:lnTo>
                    <a:pt x="225" y="169"/>
                  </a:lnTo>
                  <a:lnTo>
                    <a:pt x="464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54B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cxnSp>
          <p:nvCxnSpPr>
            <p:cNvPr id="13" name="直接连接符 12"/>
            <p:cNvCxnSpPr>
              <a:stCxn id="9" idx="1"/>
              <a:endCxn id="11" idx="7"/>
            </p:cNvCxnSpPr>
            <p:nvPr/>
          </p:nvCxnSpPr>
          <p:spPr>
            <a:xfrm>
              <a:off x="2899855" y="4361155"/>
              <a:ext cx="614915" cy="737629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文本框 13"/>
            <p:cNvSpPr txBox="1"/>
            <p:nvPr/>
          </p:nvSpPr>
          <p:spPr>
            <a:xfrm>
              <a:off x="1339454" y="2203586"/>
              <a:ext cx="22696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 smtClean="0">
                  <a:solidFill>
                    <a:srgbClr val="E3A72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400" b="1" dirty="0">
                <a:solidFill>
                  <a:srgbClr val="E3A72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文本框 14"/>
            <p:cNvSpPr txBox="1"/>
            <p:nvPr/>
          </p:nvSpPr>
          <p:spPr>
            <a:xfrm>
              <a:off x="1339454" y="2479132"/>
              <a:ext cx="149391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文本框 15"/>
            <p:cNvSpPr txBox="1"/>
            <p:nvPr/>
          </p:nvSpPr>
          <p:spPr>
            <a:xfrm>
              <a:off x="5227886" y="5075611"/>
              <a:ext cx="22696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 smtClean="0">
                  <a:solidFill>
                    <a:srgbClr val="A4AC07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400" b="1" dirty="0">
                <a:solidFill>
                  <a:srgbClr val="A4AC07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文本框 16"/>
            <p:cNvSpPr txBox="1"/>
            <p:nvPr/>
          </p:nvSpPr>
          <p:spPr>
            <a:xfrm>
              <a:off x="5227886" y="5351157"/>
              <a:ext cx="149391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文本框 17"/>
            <p:cNvSpPr txBox="1"/>
            <p:nvPr/>
          </p:nvSpPr>
          <p:spPr>
            <a:xfrm>
              <a:off x="7388018" y="3297470"/>
              <a:ext cx="22696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 smtClean="0">
                  <a:solidFill>
                    <a:srgbClr val="1AADA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400" b="1" dirty="0">
                <a:solidFill>
                  <a:srgbClr val="1AADA9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文本框 18"/>
            <p:cNvSpPr txBox="1"/>
            <p:nvPr/>
          </p:nvSpPr>
          <p:spPr>
            <a:xfrm>
              <a:off x="7388018" y="3573016"/>
              <a:ext cx="149391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文本框 19"/>
            <p:cNvSpPr txBox="1"/>
            <p:nvPr/>
          </p:nvSpPr>
          <p:spPr>
            <a:xfrm>
              <a:off x="9582255" y="1622258"/>
              <a:ext cx="226962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 smtClean="0">
                  <a:solidFill>
                    <a:srgbClr val="D54B1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400" b="1" dirty="0">
                <a:solidFill>
                  <a:srgbClr val="D54B19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文本框 20"/>
            <p:cNvSpPr txBox="1"/>
            <p:nvPr/>
          </p:nvSpPr>
          <p:spPr>
            <a:xfrm>
              <a:off x="9582255" y="1897804"/>
              <a:ext cx="149391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en-US" alt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1369214" y="1412776"/>
            <a:ext cx="4611541" cy="4608512"/>
            <a:chOff x="1487488" y="1556792"/>
            <a:chExt cx="4392488" cy="4389603"/>
          </a:xfrm>
        </p:grpSpPr>
        <p:grpSp>
          <p:nvGrpSpPr>
            <p:cNvPr id="7" name="组合 6"/>
            <p:cNvGrpSpPr/>
            <p:nvPr/>
          </p:nvGrpSpPr>
          <p:grpSpPr>
            <a:xfrm>
              <a:off x="1487488" y="1556792"/>
              <a:ext cx="4392488" cy="4389603"/>
              <a:chOff x="3042514" y="1441576"/>
              <a:chExt cx="4550815" cy="4547826"/>
            </a:xfrm>
          </p:grpSpPr>
          <p:sp>
            <p:nvSpPr>
              <p:cNvPr id="52" name="椭圆 51"/>
              <p:cNvSpPr/>
              <p:nvPr/>
            </p:nvSpPr>
            <p:spPr>
              <a:xfrm>
                <a:off x="3503712" y="2060848"/>
                <a:ext cx="3660345" cy="3660345"/>
              </a:xfrm>
              <a:prstGeom prst="ellipse">
                <a:avLst/>
              </a:prstGeom>
              <a:noFill/>
              <a:ln>
                <a:solidFill>
                  <a:srgbClr val="7CA51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3" name="椭圆 52"/>
              <p:cNvSpPr/>
              <p:nvPr/>
            </p:nvSpPr>
            <p:spPr>
              <a:xfrm>
                <a:off x="3720677" y="2232886"/>
                <a:ext cx="3258203" cy="3258203"/>
              </a:xfrm>
              <a:prstGeom prst="ellipse">
                <a:avLst/>
              </a:prstGeom>
              <a:noFill/>
              <a:ln w="6350">
                <a:solidFill>
                  <a:schemeClr val="accent5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54" name="组合 53"/>
              <p:cNvGrpSpPr/>
              <p:nvPr/>
            </p:nvGrpSpPr>
            <p:grpSpPr>
              <a:xfrm>
                <a:off x="4509095" y="1441576"/>
                <a:ext cx="1676307" cy="1676307"/>
                <a:chOff x="4113789" y="1425371"/>
                <a:chExt cx="1800200" cy="1800200"/>
              </a:xfrm>
            </p:grpSpPr>
            <p:sp>
              <p:nvSpPr>
                <p:cNvPr id="64" name="泪滴形 63"/>
                <p:cNvSpPr/>
                <p:nvPr/>
              </p:nvSpPr>
              <p:spPr>
                <a:xfrm rot="8160662">
                  <a:off x="4113789" y="1425371"/>
                  <a:ext cx="1800200" cy="1800200"/>
                </a:xfrm>
                <a:prstGeom prst="teardrop">
                  <a:avLst>
                    <a:gd name="adj" fmla="val 121709"/>
                  </a:avLst>
                </a:prstGeom>
                <a:solidFill>
                  <a:srgbClr val="DE401F"/>
                </a:solidFill>
                <a:ln w="6350">
                  <a:noFill/>
                </a:ln>
                <a:effectLst>
                  <a:outerShdw blurRad="57785" dist="33020" dir="3180000" algn="ctr">
                    <a:srgbClr val="000000">
                      <a:alpha val="30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rightRoom" dir="t">
                    <a:rot lat="0" lon="0" rev="600000"/>
                  </a:lightRig>
                </a:scene3d>
                <a:sp3d prstMaterial="metal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65" name="椭圆 64"/>
                <p:cNvSpPr/>
                <p:nvPr/>
              </p:nvSpPr>
              <p:spPr>
                <a:xfrm>
                  <a:off x="4221801" y="1514164"/>
                  <a:ext cx="1584176" cy="1584176"/>
                </a:xfrm>
                <a:prstGeom prst="ellipse">
                  <a:avLst/>
                </a:prstGeom>
                <a:solidFill>
                  <a:srgbClr val="F5F5E2"/>
                </a:solidFill>
                <a:ln>
                  <a:noFill/>
                </a:ln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noAutofit/>
                </a:bodyPr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55" name="泪滴形 54"/>
              <p:cNvSpPr/>
              <p:nvPr/>
            </p:nvSpPr>
            <p:spPr>
              <a:xfrm rot="13408299">
                <a:off x="5917022" y="2852252"/>
                <a:ext cx="1676307" cy="1676307"/>
              </a:xfrm>
              <a:prstGeom prst="teardrop">
                <a:avLst>
                  <a:gd name="adj" fmla="val 121709"/>
                </a:avLst>
              </a:prstGeom>
              <a:solidFill>
                <a:srgbClr val="9CB81F"/>
              </a:solidFill>
              <a:ln w="6350">
                <a:noFill/>
              </a:ln>
              <a:effectLst>
                <a:innerShdw blurRad="419100">
                  <a:srgbClr val="FFFF00"/>
                </a:innerShdw>
              </a:effectLst>
              <a:scene3d>
                <a:camera prst="orthographicFront">
                  <a:rot lat="0" lon="0" rev="0"/>
                </a:camera>
                <a:lightRig rig="brightRoom" dir="t">
                  <a:rot lat="0" lon="0" rev="600000"/>
                </a:lightRig>
              </a:scene3d>
              <a:sp3d prstMaterial="metal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6" name="椭圆 55"/>
              <p:cNvSpPr/>
              <p:nvPr/>
            </p:nvSpPr>
            <p:spPr>
              <a:xfrm rot="5247637">
                <a:off x="6035479" y="2952037"/>
                <a:ext cx="1475150" cy="1475150"/>
              </a:xfrm>
              <a:prstGeom prst="ellipse">
                <a:avLst/>
              </a:prstGeom>
              <a:solidFill>
                <a:srgbClr val="F5F5E2"/>
              </a:solidFill>
              <a:ln w="6350">
                <a:noFill/>
              </a:ln>
              <a:effectLst>
                <a:innerShdw blurRad="63500" dist="50800" dir="16200000">
                  <a:prstClr val="black">
                    <a:alpha val="50000"/>
                  </a:prstClr>
                </a:innerShdw>
              </a:effectLst>
              <a:scene3d>
                <a:camera prst="orthographicFront">
                  <a:rot lat="0" lon="0" rev="0"/>
                </a:camera>
                <a:lightRig rig="brightRoom" dir="t">
                  <a:rot lat="0" lon="0" rev="600000"/>
                </a:lightRig>
              </a:scene3d>
              <a:sp3d prstMaterial="metal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泪滴形 56"/>
              <p:cNvSpPr/>
              <p:nvPr/>
            </p:nvSpPr>
            <p:spPr>
              <a:xfrm rot="8039338" flipH="1">
                <a:off x="3042514" y="2904623"/>
                <a:ext cx="1676307" cy="1676307"/>
              </a:xfrm>
              <a:prstGeom prst="teardrop">
                <a:avLst>
                  <a:gd name="adj" fmla="val 121709"/>
                </a:avLst>
              </a:prstGeom>
              <a:solidFill>
                <a:srgbClr val="F79E1E"/>
              </a:solidFill>
              <a:ln w="6350">
                <a:noFill/>
              </a:ln>
              <a:effectLst>
                <a:innerShdw blurRad="419100">
                  <a:srgbClr val="FFFF00"/>
                </a:innerShdw>
              </a:effectLst>
              <a:scene3d>
                <a:camera prst="orthographicFront">
                  <a:rot lat="0" lon="0" rev="0"/>
                </a:camera>
                <a:lightRig rig="brightRoom" dir="t">
                  <a:rot lat="0" lon="0" rev="600000"/>
                </a:lightRig>
              </a:scene3d>
              <a:sp3d prstMaterial="metal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椭圆 57"/>
              <p:cNvSpPr/>
              <p:nvPr/>
            </p:nvSpPr>
            <p:spPr>
              <a:xfrm rot="16200000" flipH="1">
                <a:off x="3125196" y="3005202"/>
                <a:ext cx="1475150" cy="1475150"/>
              </a:xfrm>
              <a:prstGeom prst="ellipse">
                <a:avLst/>
              </a:prstGeom>
              <a:solidFill>
                <a:srgbClr val="F5F5E2"/>
              </a:solidFill>
              <a:ln w="6350">
                <a:noFill/>
              </a:ln>
              <a:effectLst>
                <a:innerShdw blurRad="63500" dist="50800" dir="16200000">
                  <a:prstClr val="black">
                    <a:alpha val="50000"/>
                  </a:prstClr>
                </a:innerShdw>
              </a:effectLst>
              <a:scene3d>
                <a:camera prst="orthographicFront">
                  <a:rot lat="0" lon="0" rev="0"/>
                </a:camera>
                <a:lightRig rig="brightRoom" dir="t">
                  <a:rot lat="0" lon="0" rev="600000"/>
                </a:lightRig>
              </a:scene3d>
              <a:sp3d prstMaterial="metal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59" name="组合 58"/>
              <p:cNvGrpSpPr/>
              <p:nvPr/>
            </p:nvGrpSpPr>
            <p:grpSpPr>
              <a:xfrm flipV="1">
                <a:off x="4511625" y="4313095"/>
                <a:ext cx="1676307" cy="1676307"/>
                <a:chOff x="4113789" y="1425371"/>
                <a:chExt cx="1800200" cy="1800200"/>
              </a:xfrm>
            </p:grpSpPr>
            <p:sp>
              <p:nvSpPr>
                <p:cNvPr id="62" name="泪滴形 61"/>
                <p:cNvSpPr/>
                <p:nvPr/>
              </p:nvSpPr>
              <p:spPr>
                <a:xfrm rot="8160662">
                  <a:off x="4113789" y="1425371"/>
                  <a:ext cx="1800200" cy="1800200"/>
                </a:xfrm>
                <a:prstGeom prst="teardrop">
                  <a:avLst>
                    <a:gd name="adj" fmla="val 121709"/>
                  </a:avLst>
                </a:prstGeom>
                <a:solidFill>
                  <a:srgbClr val="54B391"/>
                </a:solidFill>
                <a:ln w="6350">
                  <a:noFill/>
                </a:ln>
                <a:effectLst>
                  <a:outerShdw blurRad="57785" dist="33020" dir="3180000" algn="ctr">
                    <a:srgbClr val="000000">
                      <a:alpha val="30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rightRoom" dir="t">
                    <a:rot lat="0" lon="0" rev="600000"/>
                  </a:lightRig>
                </a:scene3d>
                <a:sp3d prstMaterial="metal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63" name="椭圆 62"/>
                <p:cNvSpPr/>
                <p:nvPr/>
              </p:nvSpPr>
              <p:spPr>
                <a:xfrm>
                  <a:off x="4221801" y="1514164"/>
                  <a:ext cx="1584176" cy="1584176"/>
                </a:xfrm>
                <a:prstGeom prst="ellipse">
                  <a:avLst/>
                </a:prstGeom>
                <a:solidFill>
                  <a:srgbClr val="F5F5E2"/>
                </a:solidFill>
                <a:ln>
                  <a:noFill/>
                </a:ln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noAutofit/>
                </a:bodyPr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60" name="椭圆 59"/>
              <p:cNvSpPr/>
              <p:nvPr/>
            </p:nvSpPr>
            <p:spPr>
              <a:xfrm>
                <a:off x="5097549" y="3508094"/>
                <a:ext cx="504458" cy="504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椭圆 60"/>
              <p:cNvSpPr/>
              <p:nvPr/>
            </p:nvSpPr>
            <p:spPr>
              <a:xfrm>
                <a:off x="5181501" y="3580094"/>
                <a:ext cx="360000" cy="360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5DD5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8" name="组合 7"/>
            <p:cNvGrpSpPr/>
            <p:nvPr/>
          </p:nvGrpSpPr>
          <p:grpSpPr>
            <a:xfrm>
              <a:off x="3367342" y="2039667"/>
              <a:ext cx="716905" cy="560002"/>
              <a:chOff x="626567" y="839887"/>
              <a:chExt cx="892175" cy="696912"/>
            </a:xfrm>
            <a:solidFill>
              <a:srgbClr val="DE401F"/>
            </a:solidFill>
          </p:grpSpPr>
          <p:sp>
            <p:nvSpPr>
              <p:cNvPr id="42" name="Freeform 5"/>
              <p:cNvSpPr>
                <a:spLocks noEditPoints="1"/>
              </p:cNvSpPr>
              <p:nvPr/>
            </p:nvSpPr>
            <p:spPr bwMode="auto">
              <a:xfrm>
                <a:off x="724992" y="1122462"/>
                <a:ext cx="617538" cy="414337"/>
              </a:xfrm>
              <a:custGeom>
                <a:avLst/>
                <a:gdLst>
                  <a:gd name="T0" fmla="*/ 211 w 389"/>
                  <a:gd name="T1" fmla="*/ 261 h 261"/>
                  <a:gd name="T2" fmla="*/ 211 w 389"/>
                  <a:gd name="T3" fmla="*/ 158 h 261"/>
                  <a:gd name="T4" fmla="*/ 159 w 389"/>
                  <a:gd name="T5" fmla="*/ 158 h 261"/>
                  <a:gd name="T6" fmla="*/ 159 w 389"/>
                  <a:gd name="T7" fmla="*/ 261 h 261"/>
                  <a:gd name="T8" fmla="*/ 0 w 389"/>
                  <a:gd name="T9" fmla="*/ 261 h 261"/>
                  <a:gd name="T10" fmla="*/ 0 w 389"/>
                  <a:gd name="T11" fmla="*/ 12 h 261"/>
                  <a:gd name="T12" fmla="*/ 0 w 389"/>
                  <a:gd name="T13" fmla="*/ 0 h 261"/>
                  <a:gd name="T14" fmla="*/ 389 w 389"/>
                  <a:gd name="T15" fmla="*/ 0 h 261"/>
                  <a:gd name="T16" fmla="*/ 389 w 389"/>
                  <a:gd name="T17" fmla="*/ 261 h 261"/>
                  <a:gd name="T18" fmla="*/ 211 w 389"/>
                  <a:gd name="T19" fmla="*/ 261 h 261"/>
                  <a:gd name="T20" fmla="*/ 211 w 389"/>
                  <a:gd name="T21" fmla="*/ 261 h 261"/>
                  <a:gd name="T22" fmla="*/ 230 w 389"/>
                  <a:gd name="T23" fmla="*/ 137 h 261"/>
                  <a:gd name="T24" fmla="*/ 230 w 389"/>
                  <a:gd name="T25" fmla="*/ 242 h 261"/>
                  <a:gd name="T26" fmla="*/ 368 w 389"/>
                  <a:gd name="T27" fmla="*/ 242 h 261"/>
                  <a:gd name="T28" fmla="*/ 368 w 389"/>
                  <a:gd name="T29" fmla="*/ 21 h 261"/>
                  <a:gd name="T30" fmla="*/ 19 w 389"/>
                  <a:gd name="T31" fmla="*/ 21 h 261"/>
                  <a:gd name="T32" fmla="*/ 19 w 389"/>
                  <a:gd name="T33" fmla="*/ 242 h 261"/>
                  <a:gd name="T34" fmla="*/ 140 w 389"/>
                  <a:gd name="T35" fmla="*/ 242 h 261"/>
                  <a:gd name="T36" fmla="*/ 140 w 389"/>
                  <a:gd name="T37" fmla="*/ 137 h 261"/>
                  <a:gd name="T38" fmla="*/ 230 w 389"/>
                  <a:gd name="T39" fmla="*/ 137 h 261"/>
                  <a:gd name="T40" fmla="*/ 230 w 389"/>
                  <a:gd name="T41" fmla="*/ 137 h 261"/>
                  <a:gd name="T42" fmla="*/ 9 w 389"/>
                  <a:gd name="T43" fmla="*/ 21 h 261"/>
                  <a:gd name="T44" fmla="*/ 9 w 389"/>
                  <a:gd name="T45" fmla="*/ 12 h 261"/>
                  <a:gd name="T46" fmla="*/ 9 w 389"/>
                  <a:gd name="T47" fmla="*/ 21 h 261"/>
                  <a:gd name="T48" fmla="*/ 9 w 389"/>
                  <a:gd name="T49" fmla="*/ 21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89" h="261">
                    <a:moveTo>
                      <a:pt x="211" y="261"/>
                    </a:moveTo>
                    <a:lnTo>
                      <a:pt x="211" y="158"/>
                    </a:lnTo>
                    <a:lnTo>
                      <a:pt x="159" y="158"/>
                    </a:lnTo>
                    <a:lnTo>
                      <a:pt x="159" y="261"/>
                    </a:lnTo>
                    <a:lnTo>
                      <a:pt x="0" y="261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89" y="0"/>
                    </a:lnTo>
                    <a:lnTo>
                      <a:pt x="389" y="261"/>
                    </a:lnTo>
                    <a:lnTo>
                      <a:pt x="211" y="261"/>
                    </a:lnTo>
                    <a:lnTo>
                      <a:pt x="211" y="261"/>
                    </a:lnTo>
                    <a:close/>
                    <a:moveTo>
                      <a:pt x="230" y="137"/>
                    </a:moveTo>
                    <a:lnTo>
                      <a:pt x="230" y="242"/>
                    </a:lnTo>
                    <a:lnTo>
                      <a:pt x="368" y="242"/>
                    </a:lnTo>
                    <a:lnTo>
                      <a:pt x="368" y="21"/>
                    </a:lnTo>
                    <a:lnTo>
                      <a:pt x="19" y="21"/>
                    </a:lnTo>
                    <a:lnTo>
                      <a:pt x="19" y="242"/>
                    </a:lnTo>
                    <a:lnTo>
                      <a:pt x="140" y="242"/>
                    </a:lnTo>
                    <a:lnTo>
                      <a:pt x="140" y="137"/>
                    </a:lnTo>
                    <a:lnTo>
                      <a:pt x="230" y="137"/>
                    </a:lnTo>
                    <a:lnTo>
                      <a:pt x="230" y="137"/>
                    </a:lnTo>
                    <a:close/>
                    <a:moveTo>
                      <a:pt x="9" y="21"/>
                    </a:moveTo>
                    <a:lnTo>
                      <a:pt x="9" y="12"/>
                    </a:lnTo>
                    <a:lnTo>
                      <a:pt x="9" y="21"/>
                    </a:lnTo>
                    <a:lnTo>
                      <a:pt x="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3" name="Freeform 6"/>
              <p:cNvSpPr/>
              <p:nvPr/>
            </p:nvSpPr>
            <p:spPr bwMode="auto">
              <a:xfrm>
                <a:off x="626567" y="839887"/>
                <a:ext cx="817563" cy="258762"/>
              </a:xfrm>
              <a:custGeom>
                <a:avLst/>
                <a:gdLst>
                  <a:gd name="T0" fmla="*/ 0 w 515"/>
                  <a:gd name="T1" fmla="*/ 163 h 163"/>
                  <a:gd name="T2" fmla="*/ 256 w 515"/>
                  <a:gd name="T3" fmla="*/ 15 h 163"/>
                  <a:gd name="T4" fmla="*/ 306 w 515"/>
                  <a:gd name="T5" fmla="*/ 41 h 163"/>
                  <a:gd name="T6" fmla="*/ 306 w 515"/>
                  <a:gd name="T7" fmla="*/ 0 h 163"/>
                  <a:gd name="T8" fmla="*/ 373 w 515"/>
                  <a:gd name="T9" fmla="*/ 0 h 163"/>
                  <a:gd name="T10" fmla="*/ 373 w 515"/>
                  <a:gd name="T11" fmla="*/ 82 h 163"/>
                  <a:gd name="T12" fmla="*/ 515 w 515"/>
                  <a:gd name="T13" fmla="*/ 163 h 163"/>
                  <a:gd name="T14" fmla="*/ 0 w 515"/>
                  <a:gd name="T15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5" h="163">
                    <a:moveTo>
                      <a:pt x="0" y="163"/>
                    </a:moveTo>
                    <a:lnTo>
                      <a:pt x="256" y="15"/>
                    </a:lnTo>
                    <a:lnTo>
                      <a:pt x="306" y="41"/>
                    </a:lnTo>
                    <a:lnTo>
                      <a:pt x="306" y="0"/>
                    </a:lnTo>
                    <a:lnTo>
                      <a:pt x="373" y="0"/>
                    </a:lnTo>
                    <a:lnTo>
                      <a:pt x="373" y="82"/>
                    </a:lnTo>
                    <a:lnTo>
                      <a:pt x="515" y="163"/>
                    </a:lnTo>
                    <a:lnTo>
                      <a:pt x="0" y="1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4" name="Freeform 7"/>
              <p:cNvSpPr/>
              <p:nvPr/>
            </p:nvSpPr>
            <p:spPr bwMode="auto">
              <a:xfrm>
                <a:off x="626567" y="839887"/>
                <a:ext cx="817563" cy="258762"/>
              </a:xfrm>
              <a:custGeom>
                <a:avLst/>
                <a:gdLst>
                  <a:gd name="T0" fmla="*/ 0 w 515"/>
                  <a:gd name="T1" fmla="*/ 163 h 163"/>
                  <a:gd name="T2" fmla="*/ 256 w 515"/>
                  <a:gd name="T3" fmla="*/ 15 h 163"/>
                  <a:gd name="T4" fmla="*/ 306 w 515"/>
                  <a:gd name="T5" fmla="*/ 41 h 163"/>
                  <a:gd name="T6" fmla="*/ 306 w 515"/>
                  <a:gd name="T7" fmla="*/ 0 h 163"/>
                  <a:gd name="T8" fmla="*/ 373 w 515"/>
                  <a:gd name="T9" fmla="*/ 0 h 163"/>
                  <a:gd name="T10" fmla="*/ 373 w 515"/>
                  <a:gd name="T11" fmla="*/ 82 h 163"/>
                  <a:gd name="T12" fmla="*/ 515 w 515"/>
                  <a:gd name="T13" fmla="*/ 163 h 163"/>
                  <a:gd name="T14" fmla="*/ 0 w 515"/>
                  <a:gd name="T15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5" h="163">
                    <a:moveTo>
                      <a:pt x="0" y="163"/>
                    </a:moveTo>
                    <a:lnTo>
                      <a:pt x="256" y="15"/>
                    </a:lnTo>
                    <a:lnTo>
                      <a:pt x="306" y="41"/>
                    </a:lnTo>
                    <a:lnTo>
                      <a:pt x="306" y="0"/>
                    </a:lnTo>
                    <a:lnTo>
                      <a:pt x="373" y="0"/>
                    </a:lnTo>
                    <a:lnTo>
                      <a:pt x="373" y="82"/>
                    </a:lnTo>
                    <a:lnTo>
                      <a:pt x="515" y="163"/>
                    </a:lnTo>
                    <a:lnTo>
                      <a:pt x="0" y="163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5" name="Freeform 8"/>
              <p:cNvSpPr/>
              <p:nvPr/>
            </p:nvSpPr>
            <p:spPr bwMode="auto">
              <a:xfrm>
                <a:off x="747217" y="870049"/>
                <a:ext cx="576263" cy="198437"/>
              </a:xfrm>
              <a:custGeom>
                <a:avLst/>
                <a:gdLst>
                  <a:gd name="T0" fmla="*/ 0 w 363"/>
                  <a:gd name="T1" fmla="*/ 125 h 125"/>
                  <a:gd name="T2" fmla="*/ 363 w 363"/>
                  <a:gd name="T3" fmla="*/ 125 h 125"/>
                  <a:gd name="T4" fmla="*/ 282 w 363"/>
                  <a:gd name="T5" fmla="*/ 77 h 125"/>
                  <a:gd name="T6" fmla="*/ 287 w 363"/>
                  <a:gd name="T7" fmla="*/ 68 h 125"/>
                  <a:gd name="T8" fmla="*/ 297 w 363"/>
                  <a:gd name="T9" fmla="*/ 68 h 125"/>
                  <a:gd name="T10" fmla="*/ 287 w 363"/>
                  <a:gd name="T11" fmla="*/ 68 h 125"/>
                  <a:gd name="T12" fmla="*/ 282 w 363"/>
                  <a:gd name="T13" fmla="*/ 77 h 125"/>
                  <a:gd name="T14" fmla="*/ 278 w 363"/>
                  <a:gd name="T15" fmla="*/ 75 h 125"/>
                  <a:gd name="T16" fmla="*/ 278 w 363"/>
                  <a:gd name="T17" fmla="*/ 0 h 125"/>
                  <a:gd name="T18" fmla="*/ 249 w 363"/>
                  <a:gd name="T19" fmla="*/ 0 h 125"/>
                  <a:gd name="T20" fmla="*/ 249 w 363"/>
                  <a:gd name="T21" fmla="*/ 58 h 125"/>
                  <a:gd name="T22" fmla="*/ 180 w 363"/>
                  <a:gd name="T23" fmla="*/ 17 h 125"/>
                  <a:gd name="T24" fmla="*/ 0 w 363"/>
                  <a:gd name="T25" fmla="*/ 125 h 125"/>
                  <a:gd name="T26" fmla="*/ 0 w 363"/>
                  <a:gd name="T27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3" h="125">
                    <a:moveTo>
                      <a:pt x="0" y="125"/>
                    </a:moveTo>
                    <a:lnTo>
                      <a:pt x="363" y="125"/>
                    </a:lnTo>
                    <a:lnTo>
                      <a:pt x="282" y="77"/>
                    </a:lnTo>
                    <a:lnTo>
                      <a:pt x="287" y="68"/>
                    </a:lnTo>
                    <a:lnTo>
                      <a:pt x="297" y="68"/>
                    </a:lnTo>
                    <a:lnTo>
                      <a:pt x="287" y="68"/>
                    </a:lnTo>
                    <a:lnTo>
                      <a:pt x="282" y="77"/>
                    </a:lnTo>
                    <a:lnTo>
                      <a:pt x="278" y="75"/>
                    </a:lnTo>
                    <a:lnTo>
                      <a:pt x="278" y="0"/>
                    </a:lnTo>
                    <a:lnTo>
                      <a:pt x="249" y="0"/>
                    </a:lnTo>
                    <a:lnTo>
                      <a:pt x="249" y="58"/>
                    </a:lnTo>
                    <a:lnTo>
                      <a:pt x="180" y="17"/>
                    </a:lnTo>
                    <a:lnTo>
                      <a:pt x="0" y="125"/>
                    </a:lnTo>
                    <a:lnTo>
                      <a:pt x="0" y="1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6" name="Rectangle 9"/>
              <p:cNvSpPr>
                <a:spLocks noChangeArrowheads="1"/>
              </p:cNvSpPr>
              <p:nvPr/>
            </p:nvSpPr>
            <p:spPr bwMode="auto">
              <a:xfrm>
                <a:off x="785317" y="1187549"/>
                <a:ext cx="120650" cy="1143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7" name="Rectangle 10"/>
              <p:cNvSpPr>
                <a:spLocks noChangeArrowheads="1"/>
              </p:cNvSpPr>
              <p:nvPr/>
            </p:nvSpPr>
            <p:spPr bwMode="auto">
              <a:xfrm>
                <a:off x="1128217" y="1187549"/>
                <a:ext cx="120650" cy="1143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Line 11"/>
              <p:cNvSpPr>
                <a:spLocks noChangeShapeType="1"/>
              </p:cNvSpPr>
              <p:nvPr/>
            </p:nvSpPr>
            <p:spPr bwMode="auto">
              <a:xfrm>
                <a:off x="626567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9" name="Line 12"/>
              <p:cNvSpPr>
                <a:spLocks noChangeShapeType="1"/>
              </p:cNvSpPr>
              <p:nvPr/>
            </p:nvSpPr>
            <p:spPr bwMode="auto">
              <a:xfrm>
                <a:off x="626567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Line 19"/>
              <p:cNvSpPr>
                <a:spLocks noChangeShapeType="1"/>
              </p:cNvSpPr>
              <p:nvPr/>
            </p:nvSpPr>
            <p:spPr bwMode="auto">
              <a:xfrm>
                <a:off x="1518742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Line 20"/>
              <p:cNvSpPr>
                <a:spLocks noChangeShapeType="1"/>
              </p:cNvSpPr>
              <p:nvPr/>
            </p:nvSpPr>
            <p:spPr bwMode="auto">
              <a:xfrm>
                <a:off x="1518742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4736260" y="3420935"/>
              <a:ext cx="716905" cy="560002"/>
              <a:chOff x="626567" y="839887"/>
              <a:chExt cx="892175" cy="696912"/>
            </a:xfrm>
            <a:solidFill>
              <a:srgbClr val="9CB81F"/>
            </a:solidFill>
          </p:grpSpPr>
          <p:sp>
            <p:nvSpPr>
              <p:cNvPr id="32" name="Freeform 5"/>
              <p:cNvSpPr>
                <a:spLocks noEditPoints="1"/>
              </p:cNvSpPr>
              <p:nvPr/>
            </p:nvSpPr>
            <p:spPr bwMode="auto">
              <a:xfrm>
                <a:off x="724992" y="1122462"/>
                <a:ext cx="617538" cy="414337"/>
              </a:xfrm>
              <a:custGeom>
                <a:avLst/>
                <a:gdLst>
                  <a:gd name="T0" fmla="*/ 211 w 389"/>
                  <a:gd name="T1" fmla="*/ 261 h 261"/>
                  <a:gd name="T2" fmla="*/ 211 w 389"/>
                  <a:gd name="T3" fmla="*/ 158 h 261"/>
                  <a:gd name="T4" fmla="*/ 159 w 389"/>
                  <a:gd name="T5" fmla="*/ 158 h 261"/>
                  <a:gd name="T6" fmla="*/ 159 w 389"/>
                  <a:gd name="T7" fmla="*/ 261 h 261"/>
                  <a:gd name="T8" fmla="*/ 0 w 389"/>
                  <a:gd name="T9" fmla="*/ 261 h 261"/>
                  <a:gd name="T10" fmla="*/ 0 w 389"/>
                  <a:gd name="T11" fmla="*/ 12 h 261"/>
                  <a:gd name="T12" fmla="*/ 0 w 389"/>
                  <a:gd name="T13" fmla="*/ 0 h 261"/>
                  <a:gd name="T14" fmla="*/ 389 w 389"/>
                  <a:gd name="T15" fmla="*/ 0 h 261"/>
                  <a:gd name="T16" fmla="*/ 389 w 389"/>
                  <a:gd name="T17" fmla="*/ 261 h 261"/>
                  <a:gd name="T18" fmla="*/ 211 w 389"/>
                  <a:gd name="T19" fmla="*/ 261 h 261"/>
                  <a:gd name="T20" fmla="*/ 211 w 389"/>
                  <a:gd name="T21" fmla="*/ 261 h 261"/>
                  <a:gd name="T22" fmla="*/ 230 w 389"/>
                  <a:gd name="T23" fmla="*/ 137 h 261"/>
                  <a:gd name="T24" fmla="*/ 230 w 389"/>
                  <a:gd name="T25" fmla="*/ 242 h 261"/>
                  <a:gd name="T26" fmla="*/ 368 w 389"/>
                  <a:gd name="T27" fmla="*/ 242 h 261"/>
                  <a:gd name="T28" fmla="*/ 368 w 389"/>
                  <a:gd name="T29" fmla="*/ 21 h 261"/>
                  <a:gd name="T30" fmla="*/ 19 w 389"/>
                  <a:gd name="T31" fmla="*/ 21 h 261"/>
                  <a:gd name="T32" fmla="*/ 19 w 389"/>
                  <a:gd name="T33" fmla="*/ 242 h 261"/>
                  <a:gd name="T34" fmla="*/ 140 w 389"/>
                  <a:gd name="T35" fmla="*/ 242 h 261"/>
                  <a:gd name="T36" fmla="*/ 140 w 389"/>
                  <a:gd name="T37" fmla="*/ 137 h 261"/>
                  <a:gd name="T38" fmla="*/ 230 w 389"/>
                  <a:gd name="T39" fmla="*/ 137 h 261"/>
                  <a:gd name="T40" fmla="*/ 230 w 389"/>
                  <a:gd name="T41" fmla="*/ 137 h 261"/>
                  <a:gd name="T42" fmla="*/ 9 w 389"/>
                  <a:gd name="T43" fmla="*/ 21 h 261"/>
                  <a:gd name="T44" fmla="*/ 9 w 389"/>
                  <a:gd name="T45" fmla="*/ 12 h 261"/>
                  <a:gd name="T46" fmla="*/ 9 w 389"/>
                  <a:gd name="T47" fmla="*/ 21 h 261"/>
                  <a:gd name="T48" fmla="*/ 9 w 389"/>
                  <a:gd name="T49" fmla="*/ 21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89" h="261">
                    <a:moveTo>
                      <a:pt x="211" y="261"/>
                    </a:moveTo>
                    <a:lnTo>
                      <a:pt x="211" y="158"/>
                    </a:lnTo>
                    <a:lnTo>
                      <a:pt x="159" y="158"/>
                    </a:lnTo>
                    <a:lnTo>
                      <a:pt x="159" y="261"/>
                    </a:lnTo>
                    <a:lnTo>
                      <a:pt x="0" y="261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89" y="0"/>
                    </a:lnTo>
                    <a:lnTo>
                      <a:pt x="389" y="261"/>
                    </a:lnTo>
                    <a:lnTo>
                      <a:pt x="211" y="261"/>
                    </a:lnTo>
                    <a:lnTo>
                      <a:pt x="211" y="261"/>
                    </a:lnTo>
                    <a:close/>
                    <a:moveTo>
                      <a:pt x="230" y="137"/>
                    </a:moveTo>
                    <a:lnTo>
                      <a:pt x="230" y="242"/>
                    </a:lnTo>
                    <a:lnTo>
                      <a:pt x="368" y="242"/>
                    </a:lnTo>
                    <a:lnTo>
                      <a:pt x="368" y="21"/>
                    </a:lnTo>
                    <a:lnTo>
                      <a:pt x="19" y="21"/>
                    </a:lnTo>
                    <a:lnTo>
                      <a:pt x="19" y="242"/>
                    </a:lnTo>
                    <a:lnTo>
                      <a:pt x="140" y="242"/>
                    </a:lnTo>
                    <a:lnTo>
                      <a:pt x="140" y="137"/>
                    </a:lnTo>
                    <a:lnTo>
                      <a:pt x="230" y="137"/>
                    </a:lnTo>
                    <a:lnTo>
                      <a:pt x="230" y="137"/>
                    </a:lnTo>
                    <a:close/>
                    <a:moveTo>
                      <a:pt x="9" y="21"/>
                    </a:moveTo>
                    <a:lnTo>
                      <a:pt x="9" y="12"/>
                    </a:lnTo>
                    <a:lnTo>
                      <a:pt x="9" y="21"/>
                    </a:lnTo>
                    <a:lnTo>
                      <a:pt x="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3" name="Freeform 6"/>
              <p:cNvSpPr/>
              <p:nvPr/>
            </p:nvSpPr>
            <p:spPr bwMode="auto">
              <a:xfrm>
                <a:off x="626567" y="839887"/>
                <a:ext cx="817563" cy="258762"/>
              </a:xfrm>
              <a:custGeom>
                <a:avLst/>
                <a:gdLst>
                  <a:gd name="T0" fmla="*/ 0 w 515"/>
                  <a:gd name="T1" fmla="*/ 163 h 163"/>
                  <a:gd name="T2" fmla="*/ 256 w 515"/>
                  <a:gd name="T3" fmla="*/ 15 h 163"/>
                  <a:gd name="T4" fmla="*/ 306 w 515"/>
                  <a:gd name="T5" fmla="*/ 41 h 163"/>
                  <a:gd name="T6" fmla="*/ 306 w 515"/>
                  <a:gd name="T7" fmla="*/ 0 h 163"/>
                  <a:gd name="T8" fmla="*/ 373 w 515"/>
                  <a:gd name="T9" fmla="*/ 0 h 163"/>
                  <a:gd name="T10" fmla="*/ 373 w 515"/>
                  <a:gd name="T11" fmla="*/ 82 h 163"/>
                  <a:gd name="T12" fmla="*/ 515 w 515"/>
                  <a:gd name="T13" fmla="*/ 163 h 163"/>
                  <a:gd name="T14" fmla="*/ 0 w 515"/>
                  <a:gd name="T15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5" h="163">
                    <a:moveTo>
                      <a:pt x="0" y="163"/>
                    </a:moveTo>
                    <a:lnTo>
                      <a:pt x="256" y="15"/>
                    </a:lnTo>
                    <a:lnTo>
                      <a:pt x="306" y="41"/>
                    </a:lnTo>
                    <a:lnTo>
                      <a:pt x="306" y="0"/>
                    </a:lnTo>
                    <a:lnTo>
                      <a:pt x="373" y="0"/>
                    </a:lnTo>
                    <a:lnTo>
                      <a:pt x="373" y="82"/>
                    </a:lnTo>
                    <a:lnTo>
                      <a:pt x="515" y="163"/>
                    </a:lnTo>
                    <a:lnTo>
                      <a:pt x="0" y="1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4" name="Freeform 7"/>
              <p:cNvSpPr/>
              <p:nvPr/>
            </p:nvSpPr>
            <p:spPr bwMode="auto">
              <a:xfrm>
                <a:off x="626567" y="839887"/>
                <a:ext cx="817563" cy="258762"/>
              </a:xfrm>
              <a:custGeom>
                <a:avLst/>
                <a:gdLst>
                  <a:gd name="T0" fmla="*/ 0 w 515"/>
                  <a:gd name="T1" fmla="*/ 163 h 163"/>
                  <a:gd name="T2" fmla="*/ 256 w 515"/>
                  <a:gd name="T3" fmla="*/ 15 h 163"/>
                  <a:gd name="T4" fmla="*/ 306 w 515"/>
                  <a:gd name="T5" fmla="*/ 41 h 163"/>
                  <a:gd name="T6" fmla="*/ 306 w 515"/>
                  <a:gd name="T7" fmla="*/ 0 h 163"/>
                  <a:gd name="T8" fmla="*/ 373 w 515"/>
                  <a:gd name="T9" fmla="*/ 0 h 163"/>
                  <a:gd name="T10" fmla="*/ 373 w 515"/>
                  <a:gd name="T11" fmla="*/ 82 h 163"/>
                  <a:gd name="T12" fmla="*/ 515 w 515"/>
                  <a:gd name="T13" fmla="*/ 163 h 163"/>
                  <a:gd name="T14" fmla="*/ 0 w 515"/>
                  <a:gd name="T15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5" h="163">
                    <a:moveTo>
                      <a:pt x="0" y="163"/>
                    </a:moveTo>
                    <a:lnTo>
                      <a:pt x="256" y="15"/>
                    </a:lnTo>
                    <a:lnTo>
                      <a:pt x="306" y="41"/>
                    </a:lnTo>
                    <a:lnTo>
                      <a:pt x="306" y="0"/>
                    </a:lnTo>
                    <a:lnTo>
                      <a:pt x="373" y="0"/>
                    </a:lnTo>
                    <a:lnTo>
                      <a:pt x="373" y="82"/>
                    </a:lnTo>
                    <a:lnTo>
                      <a:pt x="515" y="163"/>
                    </a:lnTo>
                    <a:lnTo>
                      <a:pt x="0" y="163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5" name="Freeform 8"/>
              <p:cNvSpPr/>
              <p:nvPr/>
            </p:nvSpPr>
            <p:spPr bwMode="auto">
              <a:xfrm>
                <a:off x="747217" y="870049"/>
                <a:ext cx="576263" cy="198437"/>
              </a:xfrm>
              <a:custGeom>
                <a:avLst/>
                <a:gdLst>
                  <a:gd name="T0" fmla="*/ 0 w 363"/>
                  <a:gd name="T1" fmla="*/ 125 h 125"/>
                  <a:gd name="T2" fmla="*/ 363 w 363"/>
                  <a:gd name="T3" fmla="*/ 125 h 125"/>
                  <a:gd name="T4" fmla="*/ 282 w 363"/>
                  <a:gd name="T5" fmla="*/ 77 h 125"/>
                  <a:gd name="T6" fmla="*/ 287 w 363"/>
                  <a:gd name="T7" fmla="*/ 68 h 125"/>
                  <a:gd name="T8" fmla="*/ 297 w 363"/>
                  <a:gd name="T9" fmla="*/ 68 h 125"/>
                  <a:gd name="T10" fmla="*/ 287 w 363"/>
                  <a:gd name="T11" fmla="*/ 68 h 125"/>
                  <a:gd name="T12" fmla="*/ 282 w 363"/>
                  <a:gd name="T13" fmla="*/ 77 h 125"/>
                  <a:gd name="T14" fmla="*/ 278 w 363"/>
                  <a:gd name="T15" fmla="*/ 75 h 125"/>
                  <a:gd name="T16" fmla="*/ 278 w 363"/>
                  <a:gd name="T17" fmla="*/ 0 h 125"/>
                  <a:gd name="T18" fmla="*/ 249 w 363"/>
                  <a:gd name="T19" fmla="*/ 0 h 125"/>
                  <a:gd name="T20" fmla="*/ 249 w 363"/>
                  <a:gd name="T21" fmla="*/ 58 h 125"/>
                  <a:gd name="T22" fmla="*/ 180 w 363"/>
                  <a:gd name="T23" fmla="*/ 17 h 125"/>
                  <a:gd name="T24" fmla="*/ 0 w 363"/>
                  <a:gd name="T25" fmla="*/ 125 h 125"/>
                  <a:gd name="T26" fmla="*/ 0 w 363"/>
                  <a:gd name="T27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3" h="125">
                    <a:moveTo>
                      <a:pt x="0" y="125"/>
                    </a:moveTo>
                    <a:lnTo>
                      <a:pt x="363" y="125"/>
                    </a:lnTo>
                    <a:lnTo>
                      <a:pt x="282" y="77"/>
                    </a:lnTo>
                    <a:lnTo>
                      <a:pt x="287" y="68"/>
                    </a:lnTo>
                    <a:lnTo>
                      <a:pt x="297" y="68"/>
                    </a:lnTo>
                    <a:lnTo>
                      <a:pt x="287" y="68"/>
                    </a:lnTo>
                    <a:lnTo>
                      <a:pt x="282" y="77"/>
                    </a:lnTo>
                    <a:lnTo>
                      <a:pt x="278" y="75"/>
                    </a:lnTo>
                    <a:lnTo>
                      <a:pt x="278" y="0"/>
                    </a:lnTo>
                    <a:lnTo>
                      <a:pt x="249" y="0"/>
                    </a:lnTo>
                    <a:lnTo>
                      <a:pt x="249" y="58"/>
                    </a:lnTo>
                    <a:lnTo>
                      <a:pt x="180" y="17"/>
                    </a:lnTo>
                    <a:lnTo>
                      <a:pt x="0" y="125"/>
                    </a:lnTo>
                    <a:lnTo>
                      <a:pt x="0" y="1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6" name="Rectangle 9"/>
              <p:cNvSpPr>
                <a:spLocks noChangeArrowheads="1"/>
              </p:cNvSpPr>
              <p:nvPr/>
            </p:nvSpPr>
            <p:spPr bwMode="auto">
              <a:xfrm>
                <a:off x="785317" y="1187549"/>
                <a:ext cx="120650" cy="1143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7" name="Rectangle 10"/>
              <p:cNvSpPr>
                <a:spLocks noChangeArrowheads="1"/>
              </p:cNvSpPr>
              <p:nvPr/>
            </p:nvSpPr>
            <p:spPr bwMode="auto">
              <a:xfrm>
                <a:off x="1128217" y="1187549"/>
                <a:ext cx="120650" cy="1143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8" name="Line 11"/>
              <p:cNvSpPr>
                <a:spLocks noChangeShapeType="1"/>
              </p:cNvSpPr>
              <p:nvPr/>
            </p:nvSpPr>
            <p:spPr bwMode="auto">
              <a:xfrm>
                <a:off x="626567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9" name="Line 12"/>
              <p:cNvSpPr>
                <a:spLocks noChangeShapeType="1"/>
              </p:cNvSpPr>
              <p:nvPr/>
            </p:nvSpPr>
            <p:spPr bwMode="auto">
              <a:xfrm>
                <a:off x="626567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0" name="Line 19"/>
              <p:cNvSpPr>
                <a:spLocks noChangeShapeType="1"/>
              </p:cNvSpPr>
              <p:nvPr/>
            </p:nvSpPr>
            <p:spPr bwMode="auto">
              <a:xfrm>
                <a:off x="1518742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1" name="Line 20"/>
              <p:cNvSpPr>
                <a:spLocks noChangeShapeType="1"/>
              </p:cNvSpPr>
              <p:nvPr/>
            </p:nvSpPr>
            <p:spPr bwMode="auto">
              <a:xfrm>
                <a:off x="1518742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3355717" y="4900850"/>
              <a:ext cx="716905" cy="560002"/>
              <a:chOff x="626567" y="839887"/>
              <a:chExt cx="892175" cy="696912"/>
            </a:xfrm>
            <a:solidFill>
              <a:srgbClr val="54B391"/>
            </a:solidFill>
          </p:grpSpPr>
          <p:sp>
            <p:nvSpPr>
              <p:cNvPr id="22" name="Freeform 5"/>
              <p:cNvSpPr>
                <a:spLocks noEditPoints="1"/>
              </p:cNvSpPr>
              <p:nvPr/>
            </p:nvSpPr>
            <p:spPr bwMode="auto">
              <a:xfrm>
                <a:off x="724992" y="1122462"/>
                <a:ext cx="617538" cy="414337"/>
              </a:xfrm>
              <a:custGeom>
                <a:avLst/>
                <a:gdLst>
                  <a:gd name="T0" fmla="*/ 211 w 389"/>
                  <a:gd name="T1" fmla="*/ 261 h 261"/>
                  <a:gd name="T2" fmla="*/ 211 w 389"/>
                  <a:gd name="T3" fmla="*/ 158 h 261"/>
                  <a:gd name="T4" fmla="*/ 159 w 389"/>
                  <a:gd name="T5" fmla="*/ 158 h 261"/>
                  <a:gd name="T6" fmla="*/ 159 w 389"/>
                  <a:gd name="T7" fmla="*/ 261 h 261"/>
                  <a:gd name="T8" fmla="*/ 0 w 389"/>
                  <a:gd name="T9" fmla="*/ 261 h 261"/>
                  <a:gd name="T10" fmla="*/ 0 w 389"/>
                  <a:gd name="T11" fmla="*/ 12 h 261"/>
                  <a:gd name="T12" fmla="*/ 0 w 389"/>
                  <a:gd name="T13" fmla="*/ 0 h 261"/>
                  <a:gd name="T14" fmla="*/ 389 w 389"/>
                  <a:gd name="T15" fmla="*/ 0 h 261"/>
                  <a:gd name="T16" fmla="*/ 389 w 389"/>
                  <a:gd name="T17" fmla="*/ 261 h 261"/>
                  <a:gd name="T18" fmla="*/ 211 w 389"/>
                  <a:gd name="T19" fmla="*/ 261 h 261"/>
                  <a:gd name="T20" fmla="*/ 211 w 389"/>
                  <a:gd name="T21" fmla="*/ 261 h 261"/>
                  <a:gd name="T22" fmla="*/ 230 w 389"/>
                  <a:gd name="T23" fmla="*/ 137 h 261"/>
                  <a:gd name="T24" fmla="*/ 230 w 389"/>
                  <a:gd name="T25" fmla="*/ 242 h 261"/>
                  <a:gd name="T26" fmla="*/ 368 w 389"/>
                  <a:gd name="T27" fmla="*/ 242 h 261"/>
                  <a:gd name="T28" fmla="*/ 368 w 389"/>
                  <a:gd name="T29" fmla="*/ 21 h 261"/>
                  <a:gd name="T30" fmla="*/ 19 w 389"/>
                  <a:gd name="T31" fmla="*/ 21 h 261"/>
                  <a:gd name="T32" fmla="*/ 19 w 389"/>
                  <a:gd name="T33" fmla="*/ 242 h 261"/>
                  <a:gd name="T34" fmla="*/ 140 w 389"/>
                  <a:gd name="T35" fmla="*/ 242 h 261"/>
                  <a:gd name="T36" fmla="*/ 140 w 389"/>
                  <a:gd name="T37" fmla="*/ 137 h 261"/>
                  <a:gd name="T38" fmla="*/ 230 w 389"/>
                  <a:gd name="T39" fmla="*/ 137 h 261"/>
                  <a:gd name="T40" fmla="*/ 230 w 389"/>
                  <a:gd name="T41" fmla="*/ 137 h 261"/>
                  <a:gd name="T42" fmla="*/ 9 w 389"/>
                  <a:gd name="T43" fmla="*/ 21 h 261"/>
                  <a:gd name="T44" fmla="*/ 9 w 389"/>
                  <a:gd name="T45" fmla="*/ 12 h 261"/>
                  <a:gd name="T46" fmla="*/ 9 w 389"/>
                  <a:gd name="T47" fmla="*/ 21 h 261"/>
                  <a:gd name="T48" fmla="*/ 9 w 389"/>
                  <a:gd name="T49" fmla="*/ 21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89" h="261">
                    <a:moveTo>
                      <a:pt x="211" y="261"/>
                    </a:moveTo>
                    <a:lnTo>
                      <a:pt x="211" y="158"/>
                    </a:lnTo>
                    <a:lnTo>
                      <a:pt x="159" y="158"/>
                    </a:lnTo>
                    <a:lnTo>
                      <a:pt x="159" y="261"/>
                    </a:lnTo>
                    <a:lnTo>
                      <a:pt x="0" y="261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89" y="0"/>
                    </a:lnTo>
                    <a:lnTo>
                      <a:pt x="389" y="261"/>
                    </a:lnTo>
                    <a:lnTo>
                      <a:pt x="211" y="261"/>
                    </a:lnTo>
                    <a:lnTo>
                      <a:pt x="211" y="261"/>
                    </a:lnTo>
                    <a:close/>
                    <a:moveTo>
                      <a:pt x="230" y="137"/>
                    </a:moveTo>
                    <a:lnTo>
                      <a:pt x="230" y="242"/>
                    </a:lnTo>
                    <a:lnTo>
                      <a:pt x="368" y="242"/>
                    </a:lnTo>
                    <a:lnTo>
                      <a:pt x="368" y="21"/>
                    </a:lnTo>
                    <a:lnTo>
                      <a:pt x="19" y="21"/>
                    </a:lnTo>
                    <a:lnTo>
                      <a:pt x="19" y="242"/>
                    </a:lnTo>
                    <a:lnTo>
                      <a:pt x="140" y="242"/>
                    </a:lnTo>
                    <a:lnTo>
                      <a:pt x="140" y="137"/>
                    </a:lnTo>
                    <a:lnTo>
                      <a:pt x="230" y="137"/>
                    </a:lnTo>
                    <a:lnTo>
                      <a:pt x="230" y="137"/>
                    </a:lnTo>
                    <a:close/>
                    <a:moveTo>
                      <a:pt x="9" y="21"/>
                    </a:moveTo>
                    <a:lnTo>
                      <a:pt x="9" y="12"/>
                    </a:lnTo>
                    <a:lnTo>
                      <a:pt x="9" y="21"/>
                    </a:lnTo>
                    <a:lnTo>
                      <a:pt x="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3" name="Freeform 6"/>
              <p:cNvSpPr/>
              <p:nvPr/>
            </p:nvSpPr>
            <p:spPr bwMode="auto">
              <a:xfrm>
                <a:off x="626567" y="839887"/>
                <a:ext cx="817563" cy="258762"/>
              </a:xfrm>
              <a:custGeom>
                <a:avLst/>
                <a:gdLst>
                  <a:gd name="T0" fmla="*/ 0 w 515"/>
                  <a:gd name="T1" fmla="*/ 163 h 163"/>
                  <a:gd name="T2" fmla="*/ 256 w 515"/>
                  <a:gd name="T3" fmla="*/ 15 h 163"/>
                  <a:gd name="T4" fmla="*/ 306 w 515"/>
                  <a:gd name="T5" fmla="*/ 41 h 163"/>
                  <a:gd name="T6" fmla="*/ 306 w 515"/>
                  <a:gd name="T7" fmla="*/ 0 h 163"/>
                  <a:gd name="T8" fmla="*/ 373 w 515"/>
                  <a:gd name="T9" fmla="*/ 0 h 163"/>
                  <a:gd name="T10" fmla="*/ 373 w 515"/>
                  <a:gd name="T11" fmla="*/ 82 h 163"/>
                  <a:gd name="T12" fmla="*/ 515 w 515"/>
                  <a:gd name="T13" fmla="*/ 163 h 163"/>
                  <a:gd name="T14" fmla="*/ 0 w 515"/>
                  <a:gd name="T15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5" h="163">
                    <a:moveTo>
                      <a:pt x="0" y="163"/>
                    </a:moveTo>
                    <a:lnTo>
                      <a:pt x="256" y="15"/>
                    </a:lnTo>
                    <a:lnTo>
                      <a:pt x="306" y="41"/>
                    </a:lnTo>
                    <a:lnTo>
                      <a:pt x="306" y="0"/>
                    </a:lnTo>
                    <a:lnTo>
                      <a:pt x="373" y="0"/>
                    </a:lnTo>
                    <a:lnTo>
                      <a:pt x="373" y="82"/>
                    </a:lnTo>
                    <a:lnTo>
                      <a:pt x="515" y="163"/>
                    </a:lnTo>
                    <a:lnTo>
                      <a:pt x="0" y="1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4" name="Freeform 7"/>
              <p:cNvSpPr/>
              <p:nvPr/>
            </p:nvSpPr>
            <p:spPr bwMode="auto">
              <a:xfrm>
                <a:off x="626567" y="839887"/>
                <a:ext cx="817563" cy="258762"/>
              </a:xfrm>
              <a:custGeom>
                <a:avLst/>
                <a:gdLst>
                  <a:gd name="T0" fmla="*/ 0 w 515"/>
                  <a:gd name="T1" fmla="*/ 163 h 163"/>
                  <a:gd name="T2" fmla="*/ 256 w 515"/>
                  <a:gd name="T3" fmla="*/ 15 h 163"/>
                  <a:gd name="T4" fmla="*/ 306 w 515"/>
                  <a:gd name="T5" fmla="*/ 41 h 163"/>
                  <a:gd name="T6" fmla="*/ 306 w 515"/>
                  <a:gd name="T7" fmla="*/ 0 h 163"/>
                  <a:gd name="T8" fmla="*/ 373 w 515"/>
                  <a:gd name="T9" fmla="*/ 0 h 163"/>
                  <a:gd name="T10" fmla="*/ 373 w 515"/>
                  <a:gd name="T11" fmla="*/ 82 h 163"/>
                  <a:gd name="T12" fmla="*/ 515 w 515"/>
                  <a:gd name="T13" fmla="*/ 163 h 163"/>
                  <a:gd name="T14" fmla="*/ 0 w 515"/>
                  <a:gd name="T15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5" h="163">
                    <a:moveTo>
                      <a:pt x="0" y="163"/>
                    </a:moveTo>
                    <a:lnTo>
                      <a:pt x="256" y="15"/>
                    </a:lnTo>
                    <a:lnTo>
                      <a:pt x="306" y="41"/>
                    </a:lnTo>
                    <a:lnTo>
                      <a:pt x="306" y="0"/>
                    </a:lnTo>
                    <a:lnTo>
                      <a:pt x="373" y="0"/>
                    </a:lnTo>
                    <a:lnTo>
                      <a:pt x="373" y="82"/>
                    </a:lnTo>
                    <a:lnTo>
                      <a:pt x="515" y="163"/>
                    </a:lnTo>
                    <a:lnTo>
                      <a:pt x="0" y="163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5" name="Freeform 8"/>
              <p:cNvSpPr/>
              <p:nvPr/>
            </p:nvSpPr>
            <p:spPr bwMode="auto">
              <a:xfrm>
                <a:off x="747217" y="870049"/>
                <a:ext cx="576263" cy="198437"/>
              </a:xfrm>
              <a:custGeom>
                <a:avLst/>
                <a:gdLst>
                  <a:gd name="T0" fmla="*/ 0 w 363"/>
                  <a:gd name="T1" fmla="*/ 125 h 125"/>
                  <a:gd name="T2" fmla="*/ 363 w 363"/>
                  <a:gd name="T3" fmla="*/ 125 h 125"/>
                  <a:gd name="T4" fmla="*/ 282 w 363"/>
                  <a:gd name="T5" fmla="*/ 77 h 125"/>
                  <a:gd name="T6" fmla="*/ 287 w 363"/>
                  <a:gd name="T7" fmla="*/ 68 h 125"/>
                  <a:gd name="T8" fmla="*/ 297 w 363"/>
                  <a:gd name="T9" fmla="*/ 68 h 125"/>
                  <a:gd name="T10" fmla="*/ 287 w 363"/>
                  <a:gd name="T11" fmla="*/ 68 h 125"/>
                  <a:gd name="T12" fmla="*/ 282 w 363"/>
                  <a:gd name="T13" fmla="*/ 77 h 125"/>
                  <a:gd name="T14" fmla="*/ 278 w 363"/>
                  <a:gd name="T15" fmla="*/ 75 h 125"/>
                  <a:gd name="T16" fmla="*/ 278 w 363"/>
                  <a:gd name="T17" fmla="*/ 0 h 125"/>
                  <a:gd name="T18" fmla="*/ 249 w 363"/>
                  <a:gd name="T19" fmla="*/ 0 h 125"/>
                  <a:gd name="T20" fmla="*/ 249 w 363"/>
                  <a:gd name="T21" fmla="*/ 58 h 125"/>
                  <a:gd name="T22" fmla="*/ 180 w 363"/>
                  <a:gd name="T23" fmla="*/ 17 h 125"/>
                  <a:gd name="T24" fmla="*/ 0 w 363"/>
                  <a:gd name="T25" fmla="*/ 125 h 125"/>
                  <a:gd name="T26" fmla="*/ 0 w 363"/>
                  <a:gd name="T27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3" h="125">
                    <a:moveTo>
                      <a:pt x="0" y="125"/>
                    </a:moveTo>
                    <a:lnTo>
                      <a:pt x="363" y="125"/>
                    </a:lnTo>
                    <a:lnTo>
                      <a:pt x="282" y="77"/>
                    </a:lnTo>
                    <a:lnTo>
                      <a:pt x="287" y="68"/>
                    </a:lnTo>
                    <a:lnTo>
                      <a:pt x="297" y="68"/>
                    </a:lnTo>
                    <a:lnTo>
                      <a:pt x="287" y="68"/>
                    </a:lnTo>
                    <a:lnTo>
                      <a:pt x="282" y="77"/>
                    </a:lnTo>
                    <a:lnTo>
                      <a:pt x="278" y="75"/>
                    </a:lnTo>
                    <a:lnTo>
                      <a:pt x="278" y="0"/>
                    </a:lnTo>
                    <a:lnTo>
                      <a:pt x="249" y="0"/>
                    </a:lnTo>
                    <a:lnTo>
                      <a:pt x="249" y="58"/>
                    </a:lnTo>
                    <a:lnTo>
                      <a:pt x="180" y="17"/>
                    </a:lnTo>
                    <a:lnTo>
                      <a:pt x="0" y="125"/>
                    </a:lnTo>
                    <a:lnTo>
                      <a:pt x="0" y="1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6" name="Rectangle 9"/>
              <p:cNvSpPr>
                <a:spLocks noChangeArrowheads="1"/>
              </p:cNvSpPr>
              <p:nvPr/>
            </p:nvSpPr>
            <p:spPr bwMode="auto">
              <a:xfrm>
                <a:off x="785317" y="1187549"/>
                <a:ext cx="120650" cy="1143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7" name="Rectangle 10"/>
              <p:cNvSpPr>
                <a:spLocks noChangeArrowheads="1"/>
              </p:cNvSpPr>
              <p:nvPr/>
            </p:nvSpPr>
            <p:spPr bwMode="auto">
              <a:xfrm>
                <a:off x="1128217" y="1187549"/>
                <a:ext cx="120650" cy="1143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8" name="Line 11"/>
              <p:cNvSpPr>
                <a:spLocks noChangeShapeType="1"/>
              </p:cNvSpPr>
              <p:nvPr/>
            </p:nvSpPr>
            <p:spPr bwMode="auto">
              <a:xfrm>
                <a:off x="626567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9" name="Line 12"/>
              <p:cNvSpPr>
                <a:spLocks noChangeShapeType="1"/>
              </p:cNvSpPr>
              <p:nvPr/>
            </p:nvSpPr>
            <p:spPr bwMode="auto">
              <a:xfrm>
                <a:off x="626567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Line 19"/>
              <p:cNvSpPr>
                <a:spLocks noChangeShapeType="1"/>
              </p:cNvSpPr>
              <p:nvPr/>
            </p:nvSpPr>
            <p:spPr bwMode="auto">
              <a:xfrm>
                <a:off x="1518742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1" name="Line 20"/>
              <p:cNvSpPr>
                <a:spLocks noChangeShapeType="1"/>
              </p:cNvSpPr>
              <p:nvPr/>
            </p:nvSpPr>
            <p:spPr bwMode="auto">
              <a:xfrm>
                <a:off x="1518742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1951979" y="3468447"/>
              <a:ext cx="716905" cy="560002"/>
              <a:chOff x="626567" y="839887"/>
              <a:chExt cx="892175" cy="696912"/>
            </a:xfrm>
            <a:solidFill>
              <a:srgbClr val="F79E1E"/>
            </a:solidFill>
          </p:grpSpPr>
          <p:sp>
            <p:nvSpPr>
              <p:cNvPr id="12" name="Freeform 5"/>
              <p:cNvSpPr>
                <a:spLocks noEditPoints="1"/>
              </p:cNvSpPr>
              <p:nvPr/>
            </p:nvSpPr>
            <p:spPr bwMode="auto">
              <a:xfrm>
                <a:off x="724992" y="1122462"/>
                <a:ext cx="617538" cy="414337"/>
              </a:xfrm>
              <a:custGeom>
                <a:avLst/>
                <a:gdLst>
                  <a:gd name="T0" fmla="*/ 211 w 389"/>
                  <a:gd name="T1" fmla="*/ 261 h 261"/>
                  <a:gd name="T2" fmla="*/ 211 w 389"/>
                  <a:gd name="T3" fmla="*/ 158 h 261"/>
                  <a:gd name="T4" fmla="*/ 159 w 389"/>
                  <a:gd name="T5" fmla="*/ 158 h 261"/>
                  <a:gd name="T6" fmla="*/ 159 w 389"/>
                  <a:gd name="T7" fmla="*/ 261 h 261"/>
                  <a:gd name="T8" fmla="*/ 0 w 389"/>
                  <a:gd name="T9" fmla="*/ 261 h 261"/>
                  <a:gd name="T10" fmla="*/ 0 w 389"/>
                  <a:gd name="T11" fmla="*/ 12 h 261"/>
                  <a:gd name="T12" fmla="*/ 0 w 389"/>
                  <a:gd name="T13" fmla="*/ 0 h 261"/>
                  <a:gd name="T14" fmla="*/ 389 w 389"/>
                  <a:gd name="T15" fmla="*/ 0 h 261"/>
                  <a:gd name="T16" fmla="*/ 389 w 389"/>
                  <a:gd name="T17" fmla="*/ 261 h 261"/>
                  <a:gd name="T18" fmla="*/ 211 w 389"/>
                  <a:gd name="T19" fmla="*/ 261 h 261"/>
                  <a:gd name="T20" fmla="*/ 211 w 389"/>
                  <a:gd name="T21" fmla="*/ 261 h 261"/>
                  <a:gd name="T22" fmla="*/ 230 w 389"/>
                  <a:gd name="T23" fmla="*/ 137 h 261"/>
                  <a:gd name="T24" fmla="*/ 230 w 389"/>
                  <a:gd name="T25" fmla="*/ 242 h 261"/>
                  <a:gd name="T26" fmla="*/ 368 w 389"/>
                  <a:gd name="T27" fmla="*/ 242 h 261"/>
                  <a:gd name="T28" fmla="*/ 368 w 389"/>
                  <a:gd name="T29" fmla="*/ 21 h 261"/>
                  <a:gd name="T30" fmla="*/ 19 w 389"/>
                  <a:gd name="T31" fmla="*/ 21 h 261"/>
                  <a:gd name="T32" fmla="*/ 19 w 389"/>
                  <a:gd name="T33" fmla="*/ 242 h 261"/>
                  <a:gd name="T34" fmla="*/ 140 w 389"/>
                  <a:gd name="T35" fmla="*/ 242 h 261"/>
                  <a:gd name="T36" fmla="*/ 140 w 389"/>
                  <a:gd name="T37" fmla="*/ 137 h 261"/>
                  <a:gd name="T38" fmla="*/ 230 w 389"/>
                  <a:gd name="T39" fmla="*/ 137 h 261"/>
                  <a:gd name="T40" fmla="*/ 230 w 389"/>
                  <a:gd name="T41" fmla="*/ 137 h 261"/>
                  <a:gd name="T42" fmla="*/ 9 w 389"/>
                  <a:gd name="T43" fmla="*/ 21 h 261"/>
                  <a:gd name="T44" fmla="*/ 9 w 389"/>
                  <a:gd name="T45" fmla="*/ 12 h 261"/>
                  <a:gd name="T46" fmla="*/ 9 w 389"/>
                  <a:gd name="T47" fmla="*/ 21 h 261"/>
                  <a:gd name="T48" fmla="*/ 9 w 389"/>
                  <a:gd name="T49" fmla="*/ 21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89" h="261">
                    <a:moveTo>
                      <a:pt x="211" y="261"/>
                    </a:moveTo>
                    <a:lnTo>
                      <a:pt x="211" y="158"/>
                    </a:lnTo>
                    <a:lnTo>
                      <a:pt x="159" y="158"/>
                    </a:lnTo>
                    <a:lnTo>
                      <a:pt x="159" y="261"/>
                    </a:lnTo>
                    <a:lnTo>
                      <a:pt x="0" y="261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89" y="0"/>
                    </a:lnTo>
                    <a:lnTo>
                      <a:pt x="389" y="261"/>
                    </a:lnTo>
                    <a:lnTo>
                      <a:pt x="211" y="261"/>
                    </a:lnTo>
                    <a:lnTo>
                      <a:pt x="211" y="261"/>
                    </a:lnTo>
                    <a:close/>
                    <a:moveTo>
                      <a:pt x="230" y="137"/>
                    </a:moveTo>
                    <a:lnTo>
                      <a:pt x="230" y="242"/>
                    </a:lnTo>
                    <a:lnTo>
                      <a:pt x="368" y="242"/>
                    </a:lnTo>
                    <a:lnTo>
                      <a:pt x="368" y="21"/>
                    </a:lnTo>
                    <a:lnTo>
                      <a:pt x="19" y="21"/>
                    </a:lnTo>
                    <a:lnTo>
                      <a:pt x="19" y="242"/>
                    </a:lnTo>
                    <a:lnTo>
                      <a:pt x="140" y="242"/>
                    </a:lnTo>
                    <a:lnTo>
                      <a:pt x="140" y="137"/>
                    </a:lnTo>
                    <a:lnTo>
                      <a:pt x="230" y="137"/>
                    </a:lnTo>
                    <a:lnTo>
                      <a:pt x="230" y="137"/>
                    </a:lnTo>
                    <a:close/>
                    <a:moveTo>
                      <a:pt x="9" y="21"/>
                    </a:moveTo>
                    <a:lnTo>
                      <a:pt x="9" y="12"/>
                    </a:lnTo>
                    <a:lnTo>
                      <a:pt x="9" y="21"/>
                    </a:lnTo>
                    <a:lnTo>
                      <a:pt x="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3" name="Freeform 6"/>
              <p:cNvSpPr/>
              <p:nvPr/>
            </p:nvSpPr>
            <p:spPr bwMode="auto">
              <a:xfrm>
                <a:off x="626567" y="839887"/>
                <a:ext cx="817563" cy="258762"/>
              </a:xfrm>
              <a:custGeom>
                <a:avLst/>
                <a:gdLst>
                  <a:gd name="T0" fmla="*/ 0 w 515"/>
                  <a:gd name="T1" fmla="*/ 163 h 163"/>
                  <a:gd name="T2" fmla="*/ 256 w 515"/>
                  <a:gd name="T3" fmla="*/ 15 h 163"/>
                  <a:gd name="T4" fmla="*/ 306 w 515"/>
                  <a:gd name="T5" fmla="*/ 41 h 163"/>
                  <a:gd name="T6" fmla="*/ 306 w 515"/>
                  <a:gd name="T7" fmla="*/ 0 h 163"/>
                  <a:gd name="T8" fmla="*/ 373 w 515"/>
                  <a:gd name="T9" fmla="*/ 0 h 163"/>
                  <a:gd name="T10" fmla="*/ 373 w 515"/>
                  <a:gd name="T11" fmla="*/ 82 h 163"/>
                  <a:gd name="T12" fmla="*/ 515 w 515"/>
                  <a:gd name="T13" fmla="*/ 163 h 163"/>
                  <a:gd name="T14" fmla="*/ 0 w 515"/>
                  <a:gd name="T15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5" h="163">
                    <a:moveTo>
                      <a:pt x="0" y="163"/>
                    </a:moveTo>
                    <a:lnTo>
                      <a:pt x="256" y="15"/>
                    </a:lnTo>
                    <a:lnTo>
                      <a:pt x="306" y="41"/>
                    </a:lnTo>
                    <a:lnTo>
                      <a:pt x="306" y="0"/>
                    </a:lnTo>
                    <a:lnTo>
                      <a:pt x="373" y="0"/>
                    </a:lnTo>
                    <a:lnTo>
                      <a:pt x="373" y="82"/>
                    </a:lnTo>
                    <a:lnTo>
                      <a:pt x="515" y="163"/>
                    </a:lnTo>
                    <a:lnTo>
                      <a:pt x="0" y="1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7"/>
              <p:cNvSpPr/>
              <p:nvPr/>
            </p:nvSpPr>
            <p:spPr bwMode="auto">
              <a:xfrm>
                <a:off x="626567" y="839887"/>
                <a:ext cx="817563" cy="258762"/>
              </a:xfrm>
              <a:custGeom>
                <a:avLst/>
                <a:gdLst>
                  <a:gd name="T0" fmla="*/ 0 w 515"/>
                  <a:gd name="T1" fmla="*/ 163 h 163"/>
                  <a:gd name="T2" fmla="*/ 256 w 515"/>
                  <a:gd name="T3" fmla="*/ 15 h 163"/>
                  <a:gd name="T4" fmla="*/ 306 w 515"/>
                  <a:gd name="T5" fmla="*/ 41 h 163"/>
                  <a:gd name="T6" fmla="*/ 306 w 515"/>
                  <a:gd name="T7" fmla="*/ 0 h 163"/>
                  <a:gd name="T8" fmla="*/ 373 w 515"/>
                  <a:gd name="T9" fmla="*/ 0 h 163"/>
                  <a:gd name="T10" fmla="*/ 373 w 515"/>
                  <a:gd name="T11" fmla="*/ 82 h 163"/>
                  <a:gd name="T12" fmla="*/ 515 w 515"/>
                  <a:gd name="T13" fmla="*/ 163 h 163"/>
                  <a:gd name="T14" fmla="*/ 0 w 515"/>
                  <a:gd name="T15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5" h="163">
                    <a:moveTo>
                      <a:pt x="0" y="163"/>
                    </a:moveTo>
                    <a:lnTo>
                      <a:pt x="256" y="15"/>
                    </a:lnTo>
                    <a:lnTo>
                      <a:pt x="306" y="41"/>
                    </a:lnTo>
                    <a:lnTo>
                      <a:pt x="306" y="0"/>
                    </a:lnTo>
                    <a:lnTo>
                      <a:pt x="373" y="0"/>
                    </a:lnTo>
                    <a:lnTo>
                      <a:pt x="373" y="82"/>
                    </a:lnTo>
                    <a:lnTo>
                      <a:pt x="515" y="163"/>
                    </a:lnTo>
                    <a:lnTo>
                      <a:pt x="0" y="163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5" name="Freeform 8"/>
              <p:cNvSpPr/>
              <p:nvPr/>
            </p:nvSpPr>
            <p:spPr bwMode="auto">
              <a:xfrm>
                <a:off x="747217" y="870049"/>
                <a:ext cx="576263" cy="198437"/>
              </a:xfrm>
              <a:custGeom>
                <a:avLst/>
                <a:gdLst>
                  <a:gd name="T0" fmla="*/ 0 w 363"/>
                  <a:gd name="T1" fmla="*/ 125 h 125"/>
                  <a:gd name="T2" fmla="*/ 363 w 363"/>
                  <a:gd name="T3" fmla="*/ 125 h 125"/>
                  <a:gd name="T4" fmla="*/ 282 w 363"/>
                  <a:gd name="T5" fmla="*/ 77 h 125"/>
                  <a:gd name="T6" fmla="*/ 287 w 363"/>
                  <a:gd name="T7" fmla="*/ 68 h 125"/>
                  <a:gd name="T8" fmla="*/ 297 w 363"/>
                  <a:gd name="T9" fmla="*/ 68 h 125"/>
                  <a:gd name="T10" fmla="*/ 287 w 363"/>
                  <a:gd name="T11" fmla="*/ 68 h 125"/>
                  <a:gd name="T12" fmla="*/ 282 w 363"/>
                  <a:gd name="T13" fmla="*/ 77 h 125"/>
                  <a:gd name="T14" fmla="*/ 278 w 363"/>
                  <a:gd name="T15" fmla="*/ 75 h 125"/>
                  <a:gd name="T16" fmla="*/ 278 w 363"/>
                  <a:gd name="T17" fmla="*/ 0 h 125"/>
                  <a:gd name="T18" fmla="*/ 249 w 363"/>
                  <a:gd name="T19" fmla="*/ 0 h 125"/>
                  <a:gd name="T20" fmla="*/ 249 w 363"/>
                  <a:gd name="T21" fmla="*/ 58 h 125"/>
                  <a:gd name="T22" fmla="*/ 180 w 363"/>
                  <a:gd name="T23" fmla="*/ 17 h 125"/>
                  <a:gd name="T24" fmla="*/ 0 w 363"/>
                  <a:gd name="T25" fmla="*/ 125 h 125"/>
                  <a:gd name="T26" fmla="*/ 0 w 363"/>
                  <a:gd name="T27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3" h="125">
                    <a:moveTo>
                      <a:pt x="0" y="125"/>
                    </a:moveTo>
                    <a:lnTo>
                      <a:pt x="363" y="125"/>
                    </a:lnTo>
                    <a:lnTo>
                      <a:pt x="282" y="77"/>
                    </a:lnTo>
                    <a:lnTo>
                      <a:pt x="287" y="68"/>
                    </a:lnTo>
                    <a:lnTo>
                      <a:pt x="297" y="68"/>
                    </a:lnTo>
                    <a:lnTo>
                      <a:pt x="287" y="68"/>
                    </a:lnTo>
                    <a:lnTo>
                      <a:pt x="282" y="77"/>
                    </a:lnTo>
                    <a:lnTo>
                      <a:pt x="278" y="75"/>
                    </a:lnTo>
                    <a:lnTo>
                      <a:pt x="278" y="0"/>
                    </a:lnTo>
                    <a:lnTo>
                      <a:pt x="249" y="0"/>
                    </a:lnTo>
                    <a:lnTo>
                      <a:pt x="249" y="58"/>
                    </a:lnTo>
                    <a:lnTo>
                      <a:pt x="180" y="17"/>
                    </a:lnTo>
                    <a:lnTo>
                      <a:pt x="0" y="125"/>
                    </a:lnTo>
                    <a:lnTo>
                      <a:pt x="0" y="1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Rectangle 9"/>
              <p:cNvSpPr>
                <a:spLocks noChangeArrowheads="1"/>
              </p:cNvSpPr>
              <p:nvPr/>
            </p:nvSpPr>
            <p:spPr bwMode="auto">
              <a:xfrm>
                <a:off x="785317" y="1187549"/>
                <a:ext cx="120650" cy="1143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7" name="Rectangle 10"/>
              <p:cNvSpPr>
                <a:spLocks noChangeArrowheads="1"/>
              </p:cNvSpPr>
              <p:nvPr/>
            </p:nvSpPr>
            <p:spPr bwMode="auto">
              <a:xfrm>
                <a:off x="1128217" y="1187549"/>
                <a:ext cx="120650" cy="1143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Line 11"/>
              <p:cNvSpPr>
                <a:spLocks noChangeShapeType="1"/>
              </p:cNvSpPr>
              <p:nvPr/>
            </p:nvSpPr>
            <p:spPr bwMode="auto">
              <a:xfrm>
                <a:off x="626567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Line 12"/>
              <p:cNvSpPr>
                <a:spLocks noChangeShapeType="1"/>
              </p:cNvSpPr>
              <p:nvPr/>
            </p:nvSpPr>
            <p:spPr bwMode="auto">
              <a:xfrm>
                <a:off x="626567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Line 19"/>
              <p:cNvSpPr>
                <a:spLocks noChangeShapeType="1"/>
              </p:cNvSpPr>
              <p:nvPr/>
            </p:nvSpPr>
            <p:spPr bwMode="auto">
              <a:xfrm>
                <a:off x="1518742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Line 20"/>
              <p:cNvSpPr>
                <a:spLocks noChangeShapeType="1"/>
              </p:cNvSpPr>
              <p:nvPr/>
            </p:nvSpPr>
            <p:spPr bwMode="auto">
              <a:xfrm>
                <a:off x="1518742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66" name="组合 65"/>
          <p:cNvGrpSpPr/>
          <p:nvPr/>
        </p:nvGrpSpPr>
        <p:grpSpPr>
          <a:xfrm>
            <a:off x="7075753" y="3865097"/>
            <a:ext cx="3907563" cy="1014271"/>
            <a:chOff x="7075753" y="3865097"/>
            <a:chExt cx="3907563" cy="1014271"/>
          </a:xfrm>
        </p:grpSpPr>
        <p:grpSp>
          <p:nvGrpSpPr>
            <p:cNvPr id="67" name="组合 66"/>
            <p:cNvGrpSpPr/>
            <p:nvPr/>
          </p:nvGrpSpPr>
          <p:grpSpPr>
            <a:xfrm>
              <a:off x="7075753" y="4036176"/>
              <a:ext cx="716905" cy="560002"/>
              <a:chOff x="626567" y="839887"/>
              <a:chExt cx="892175" cy="696912"/>
            </a:xfrm>
            <a:solidFill>
              <a:srgbClr val="54B391"/>
            </a:solidFill>
          </p:grpSpPr>
          <p:sp>
            <p:nvSpPr>
              <p:cNvPr id="71" name="Freeform 5"/>
              <p:cNvSpPr>
                <a:spLocks noEditPoints="1"/>
              </p:cNvSpPr>
              <p:nvPr/>
            </p:nvSpPr>
            <p:spPr bwMode="auto">
              <a:xfrm>
                <a:off x="724992" y="1122462"/>
                <a:ext cx="617538" cy="414337"/>
              </a:xfrm>
              <a:custGeom>
                <a:avLst/>
                <a:gdLst>
                  <a:gd name="T0" fmla="*/ 211 w 389"/>
                  <a:gd name="T1" fmla="*/ 261 h 261"/>
                  <a:gd name="T2" fmla="*/ 211 w 389"/>
                  <a:gd name="T3" fmla="*/ 158 h 261"/>
                  <a:gd name="T4" fmla="*/ 159 w 389"/>
                  <a:gd name="T5" fmla="*/ 158 h 261"/>
                  <a:gd name="T6" fmla="*/ 159 w 389"/>
                  <a:gd name="T7" fmla="*/ 261 h 261"/>
                  <a:gd name="T8" fmla="*/ 0 w 389"/>
                  <a:gd name="T9" fmla="*/ 261 h 261"/>
                  <a:gd name="T10" fmla="*/ 0 w 389"/>
                  <a:gd name="T11" fmla="*/ 12 h 261"/>
                  <a:gd name="T12" fmla="*/ 0 w 389"/>
                  <a:gd name="T13" fmla="*/ 0 h 261"/>
                  <a:gd name="T14" fmla="*/ 389 w 389"/>
                  <a:gd name="T15" fmla="*/ 0 h 261"/>
                  <a:gd name="T16" fmla="*/ 389 w 389"/>
                  <a:gd name="T17" fmla="*/ 261 h 261"/>
                  <a:gd name="T18" fmla="*/ 211 w 389"/>
                  <a:gd name="T19" fmla="*/ 261 h 261"/>
                  <a:gd name="T20" fmla="*/ 211 w 389"/>
                  <a:gd name="T21" fmla="*/ 261 h 261"/>
                  <a:gd name="T22" fmla="*/ 230 w 389"/>
                  <a:gd name="T23" fmla="*/ 137 h 261"/>
                  <a:gd name="T24" fmla="*/ 230 w 389"/>
                  <a:gd name="T25" fmla="*/ 242 h 261"/>
                  <a:gd name="T26" fmla="*/ 368 w 389"/>
                  <a:gd name="T27" fmla="*/ 242 h 261"/>
                  <a:gd name="T28" fmla="*/ 368 w 389"/>
                  <a:gd name="T29" fmla="*/ 21 h 261"/>
                  <a:gd name="T30" fmla="*/ 19 w 389"/>
                  <a:gd name="T31" fmla="*/ 21 h 261"/>
                  <a:gd name="T32" fmla="*/ 19 w 389"/>
                  <a:gd name="T33" fmla="*/ 242 h 261"/>
                  <a:gd name="T34" fmla="*/ 140 w 389"/>
                  <a:gd name="T35" fmla="*/ 242 h 261"/>
                  <a:gd name="T36" fmla="*/ 140 w 389"/>
                  <a:gd name="T37" fmla="*/ 137 h 261"/>
                  <a:gd name="T38" fmla="*/ 230 w 389"/>
                  <a:gd name="T39" fmla="*/ 137 h 261"/>
                  <a:gd name="T40" fmla="*/ 230 w 389"/>
                  <a:gd name="T41" fmla="*/ 137 h 261"/>
                  <a:gd name="T42" fmla="*/ 9 w 389"/>
                  <a:gd name="T43" fmla="*/ 21 h 261"/>
                  <a:gd name="T44" fmla="*/ 9 w 389"/>
                  <a:gd name="T45" fmla="*/ 12 h 261"/>
                  <a:gd name="T46" fmla="*/ 9 w 389"/>
                  <a:gd name="T47" fmla="*/ 21 h 261"/>
                  <a:gd name="T48" fmla="*/ 9 w 389"/>
                  <a:gd name="T49" fmla="*/ 21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89" h="261">
                    <a:moveTo>
                      <a:pt x="211" y="261"/>
                    </a:moveTo>
                    <a:lnTo>
                      <a:pt x="211" y="158"/>
                    </a:lnTo>
                    <a:lnTo>
                      <a:pt x="159" y="158"/>
                    </a:lnTo>
                    <a:lnTo>
                      <a:pt x="159" y="261"/>
                    </a:lnTo>
                    <a:lnTo>
                      <a:pt x="0" y="261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89" y="0"/>
                    </a:lnTo>
                    <a:lnTo>
                      <a:pt x="389" y="261"/>
                    </a:lnTo>
                    <a:lnTo>
                      <a:pt x="211" y="261"/>
                    </a:lnTo>
                    <a:lnTo>
                      <a:pt x="211" y="261"/>
                    </a:lnTo>
                    <a:close/>
                    <a:moveTo>
                      <a:pt x="230" y="137"/>
                    </a:moveTo>
                    <a:lnTo>
                      <a:pt x="230" y="242"/>
                    </a:lnTo>
                    <a:lnTo>
                      <a:pt x="368" y="242"/>
                    </a:lnTo>
                    <a:lnTo>
                      <a:pt x="368" y="21"/>
                    </a:lnTo>
                    <a:lnTo>
                      <a:pt x="19" y="21"/>
                    </a:lnTo>
                    <a:lnTo>
                      <a:pt x="19" y="242"/>
                    </a:lnTo>
                    <a:lnTo>
                      <a:pt x="140" y="242"/>
                    </a:lnTo>
                    <a:lnTo>
                      <a:pt x="140" y="137"/>
                    </a:lnTo>
                    <a:lnTo>
                      <a:pt x="230" y="137"/>
                    </a:lnTo>
                    <a:lnTo>
                      <a:pt x="230" y="137"/>
                    </a:lnTo>
                    <a:close/>
                    <a:moveTo>
                      <a:pt x="9" y="21"/>
                    </a:moveTo>
                    <a:lnTo>
                      <a:pt x="9" y="12"/>
                    </a:lnTo>
                    <a:lnTo>
                      <a:pt x="9" y="21"/>
                    </a:lnTo>
                    <a:lnTo>
                      <a:pt x="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2" name="Freeform 6"/>
              <p:cNvSpPr/>
              <p:nvPr/>
            </p:nvSpPr>
            <p:spPr bwMode="auto">
              <a:xfrm>
                <a:off x="626567" y="839887"/>
                <a:ext cx="817563" cy="258762"/>
              </a:xfrm>
              <a:custGeom>
                <a:avLst/>
                <a:gdLst>
                  <a:gd name="T0" fmla="*/ 0 w 515"/>
                  <a:gd name="T1" fmla="*/ 163 h 163"/>
                  <a:gd name="T2" fmla="*/ 256 w 515"/>
                  <a:gd name="T3" fmla="*/ 15 h 163"/>
                  <a:gd name="T4" fmla="*/ 306 w 515"/>
                  <a:gd name="T5" fmla="*/ 41 h 163"/>
                  <a:gd name="T6" fmla="*/ 306 w 515"/>
                  <a:gd name="T7" fmla="*/ 0 h 163"/>
                  <a:gd name="T8" fmla="*/ 373 w 515"/>
                  <a:gd name="T9" fmla="*/ 0 h 163"/>
                  <a:gd name="T10" fmla="*/ 373 w 515"/>
                  <a:gd name="T11" fmla="*/ 82 h 163"/>
                  <a:gd name="T12" fmla="*/ 515 w 515"/>
                  <a:gd name="T13" fmla="*/ 163 h 163"/>
                  <a:gd name="T14" fmla="*/ 0 w 515"/>
                  <a:gd name="T15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5" h="163">
                    <a:moveTo>
                      <a:pt x="0" y="163"/>
                    </a:moveTo>
                    <a:lnTo>
                      <a:pt x="256" y="15"/>
                    </a:lnTo>
                    <a:lnTo>
                      <a:pt x="306" y="41"/>
                    </a:lnTo>
                    <a:lnTo>
                      <a:pt x="306" y="0"/>
                    </a:lnTo>
                    <a:lnTo>
                      <a:pt x="373" y="0"/>
                    </a:lnTo>
                    <a:lnTo>
                      <a:pt x="373" y="82"/>
                    </a:lnTo>
                    <a:lnTo>
                      <a:pt x="515" y="163"/>
                    </a:lnTo>
                    <a:lnTo>
                      <a:pt x="0" y="1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Freeform 7"/>
              <p:cNvSpPr/>
              <p:nvPr/>
            </p:nvSpPr>
            <p:spPr bwMode="auto">
              <a:xfrm>
                <a:off x="626567" y="839887"/>
                <a:ext cx="817563" cy="258762"/>
              </a:xfrm>
              <a:custGeom>
                <a:avLst/>
                <a:gdLst>
                  <a:gd name="T0" fmla="*/ 0 w 515"/>
                  <a:gd name="T1" fmla="*/ 163 h 163"/>
                  <a:gd name="T2" fmla="*/ 256 w 515"/>
                  <a:gd name="T3" fmla="*/ 15 h 163"/>
                  <a:gd name="T4" fmla="*/ 306 w 515"/>
                  <a:gd name="T5" fmla="*/ 41 h 163"/>
                  <a:gd name="T6" fmla="*/ 306 w 515"/>
                  <a:gd name="T7" fmla="*/ 0 h 163"/>
                  <a:gd name="T8" fmla="*/ 373 w 515"/>
                  <a:gd name="T9" fmla="*/ 0 h 163"/>
                  <a:gd name="T10" fmla="*/ 373 w 515"/>
                  <a:gd name="T11" fmla="*/ 82 h 163"/>
                  <a:gd name="T12" fmla="*/ 515 w 515"/>
                  <a:gd name="T13" fmla="*/ 163 h 163"/>
                  <a:gd name="T14" fmla="*/ 0 w 515"/>
                  <a:gd name="T15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5" h="163">
                    <a:moveTo>
                      <a:pt x="0" y="163"/>
                    </a:moveTo>
                    <a:lnTo>
                      <a:pt x="256" y="15"/>
                    </a:lnTo>
                    <a:lnTo>
                      <a:pt x="306" y="41"/>
                    </a:lnTo>
                    <a:lnTo>
                      <a:pt x="306" y="0"/>
                    </a:lnTo>
                    <a:lnTo>
                      <a:pt x="373" y="0"/>
                    </a:lnTo>
                    <a:lnTo>
                      <a:pt x="373" y="82"/>
                    </a:lnTo>
                    <a:lnTo>
                      <a:pt x="515" y="163"/>
                    </a:lnTo>
                    <a:lnTo>
                      <a:pt x="0" y="163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4" name="Freeform 8"/>
              <p:cNvSpPr/>
              <p:nvPr/>
            </p:nvSpPr>
            <p:spPr bwMode="auto">
              <a:xfrm>
                <a:off x="747217" y="870049"/>
                <a:ext cx="576263" cy="198437"/>
              </a:xfrm>
              <a:custGeom>
                <a:avLst/>
                <a:gdLst>
                  <a:gd name="T0" fmla="*/ 0 w 363"/>
                  <a:gd name="T1" fmla="*/ 125 h 125"/>
                  <a:gd name="T2" fmla="*/ 363 w 363"/>
                  <a:gd name="T3" fmla="*/ 125 h 125"/>
                  <a:gd name="T4" fmla="*/ 282 w 363"/>
                  <a:gd name="T5" fmla="*/ 77 h 125"/>
                  <a:gd name="T6" fmla="*/ 287 w 363"/>
                  <a:gd name="T7" fmla="*/ 68 h 125"/>
                  <a:gd name="T8" fmla="*/ 297 w 363"/>
                  <a:gd name="T9" fmla="*/ 68 h 125"/>
                  <a:gd name="T10" fmla="*/ 287 w 363"/>
                  <a:gd name="T11" fmla="*/ 68 h 125"/>
                  <a:gd name="T12" fmla="*/ 282 w 363"/>
                  <a:gd name="T13" fmla="*/ 77 h 125"/>
                  <a:gd name="T14" fmla="*/ 278 w 363"/>
                  <a:gd name="T15" fmla="*/ 75 h 125"/>
                  <a:gd name="T16" fmla="*/ 278 w 363"/>
                  <a:gd name="T17" fmla="*/ 0 h 125"/>
                  <a:gd name="T18" fmla="*/ 249 w 363"/>
                  <a:gd name="T19" fmla="*/ 0 h 125"/>
                  <a:gd name="T20" fmla="*/ 249 w 363"/>
                  <a:gd name="T21" fmla="*/ 58 h 125"/>
                  <a:gd name="T22" fmla="*/ 180 w 363"/>
                  <a:gd name="T23" fmla="*/ 17 h 125"/>
                  <a:gd name="T24" fmla="*/ 0 w 363"/>
                  <a:gd name="T25" fmla="*/ 125 h 125"/>
                  <a:gd name="T26" fmla="*/ 0 w 363"/>
                  <a:gd name="T27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3" h="125">
                    <a:moveTo>
                      <a:pt x="0" y="125"/>
                    </a:moveTo>
                    <a:lnTo>
                      <a:pt x="363" y="125"/>
                    </a:lnTo>
                    <a:lnTo>
                      <a:pt x="282" y="77"/>
                    </a:lnTo>
                    <a:lnTo>
                      <a:pt x="287" y="68"/>
                    </a:lnTo>
                    <a:lnTo>
                      <a:pt x="297" y="68"/>
                    </a:lnTo>
                    <a:lnTo>
                      <a:pt x="287" y="68"/>
                    </a:lnTo>
                    <a:lnTo>
                      <a:pt x="282" y="77"/>
                    </a:lnTo>
                    <a:lnTo>
                      <a:pt x="278" y="75"/>
                    </a:lnTo>
                    <a:lnTo>
                      <a:pt x="278" y="0"/>
                    </a:lnTo>
                    <a:lnTo>
                      <a:pt x="249" y="0"/>
                    </a:lnTo>
                    <a:lnTo>
                      <a:pt x="249" y="58"/>
                    </a:lnTo>
                    <a:lnTo>
                      <a:pt x="180" y="17"/>
                    </a:lnTo>
                    <a:lnTo>
                      <a:pt x="0" y="125"/>
                    </a:lnTo>
                    <a:lnTo>
                      <a:pt x="0" y="1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5" name="Rectangle 9"/>
              <p:cNvSpPr>
                <a:spLocks noChangeArrowheads="1"/>
              </p:cNvSpPr>
              <p:nvPr/>
            </p:nvSpPr>
            <p:spPr bwMode="auto">
              <a:xfrm>
                <a:off x="785317" y="1187549"/>
                <a:ext cx="120650" cy="1143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6" name="Rectangle 10"/>
              <p:cNvSpPr>
                <a:spLocks noChangeArrowheads="1"/>
              </p:cNvSpPr>
              <p:nvPr/>
            </p:nvSpPr>
            <p:spPr bwMode="auto">
              <a:xfrm>
                <a:off x="1128217" y="1187549"/>
                <a:ext cx="120650" cy="1143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7" name="Line 11"/>
              <p:cNvSpPr>
                <a:spLocks noChangeShapeType="1"/>
              </p:cNvSpPr>
              <p:nvPr/>
            </p:nvSpPr>
            <p:spPr bwMode="auto">
              <a:xfrm>
                <a:off x="626567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8" name="Line 12"/>
              <p:cNvSpPr>
                <a:spLocks noChangeShapeType="1"/>
              </p:cNvSpPr>
              <p:nvPr/>
            </p:nvSpPr>
            <p:spPr bwMode="auto">
              <a:xfrm>
                <a:off x="626567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Line 19"/>
              <p:cNvSpPr>
                <a:spLocks noChangeShapeType="1"/>
              </p:cNvSpPr>
              <p:nvPr/>
            </p:nvSpPr>
            <p:spPr bwMode="auto">
              <a:xfrm>
                <a:off x="1518742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Line 20"/>
              <p:cNvSpPr>
                <a:spLocks noChangeShapeType="1"/>
              </p:cNvSpPr>
              <p:nvPr/>
            </p:nvSpPr>
            <p:spPr bwMode="auto">
              <a:xfrm>
                <a:off x="1518742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cxnSp>
          <p:nvCxnSpPr>
            <p:cNvPr id="68" name="直接连接符 67"/>
            <p:cNvCxnSpPr/>
            <p:nvPr/>
          </p:nvCxnSpPr>
          <p:spPr>
            <a:xfrm>
              <a:off x="7203316" y="4879368"/>
              <a:ext cx="3780000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文本框 68"/>
            <p:cNvSpPr txBox="1"/>
            <p:nvPr/>
          </p:nvSpPr>
          <p:spPr>
            <a:xfrm>
              <a:off x="8124143" y="3865097"/>
              <a:ext cx="226962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 smtClean="0">
                  <a:solidFill>
                    <a:srgbClr val="54B39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b="1" dirty="0">
                <a:solidFill>
                  <a:srgbClr val="54B39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0" name="文本框 69"/>
            <p:cNvSpPr txBox="1"/>
            <p:nvPr/>
          </p:nvSpPr>
          <p:spPr>
            <a:xfrm>
              <a:off x="8129488" y="4173702"/>
              <a:ext cx="279006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单击此处添加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单击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1" name="组合 80"/>
          <p:cNvGrpSpPr/>
          <p:nvPr/>
        </p:nvGrpSpPr>
        <p:grpSpPr>
          <a:xfrm>
            <a:off x="7092633" y="5149738"/>
            <a:ext cx="3906257" cy="984666"/>
            <a:chOff x="7092633" y="5149738"/>
            <a:chExt cx="3906257" cy="984666"/>
          </a:xfrm>
        </p:grpSpPr>
        <p:grpSp>
          <p:nvGrpSpPr>
            <p:cNvPr id="82" name="组合 81"/>
            <p:cNvGrpSpPr/>
            <p:nvPr/>
          </p:nvGrpSpPr>
          <p:grpSpPr>
            <a:xfrm>
              <a:off x="7092633" y="5274652"/>
              <a:ext cx="716905" cy="560002"/>
              <a:chOff x="626567" y="839887"/>
              <a:chExt cx="892175" cy="696912"/>
            </a:xfrm>
            <a:solidFill>
              <a:srgbClr val="F79E1E"/>
            </a:solidFill>
          </p:grpSpPr>
          <p:sp>
            <p:nvSpPr>
              <p:cNvPr id="86" name="Freeform 5"/>
              <p:cNvSpPr>
                <a:spLocks noEditPoints="1"/>
              </p:cNvSpPr>
              <p:nvPr/>
            </p:nvSpPr>
            <p:spPr bwMode="auto">
              <a:xfrm>
                <a:off x="724992" y="1122462"/>
                <a:ext cx="617538" cy="414337"/>
              </a:xfrm>
              <a:custGeom>
                <a:avLst/>
                <a:gdLst>
                  <a:gd name="T0" fmla="*/ 211 w 389"/>
                  <a:gd name="T1" fmla="*/ 261 h 261"/>
                  <a:gd name="T2" fmla="*/ 211 w 389"/>
                  <a:gd name="T3" fmla="*/ 158 h 261"/>
                  <a:gd name="T4" fmla="*/ 159 w 389"/>
                  <a:gd name="T5" fmla="*/ 158 h 261"/>
                  <a:gd name="T6" fmla="*/ 159 w 389"/>
                  <a:gd name="T7" fmla="*/ 261 h 261"/>
                  <a:gd name="T8" fmla="*/ 0 w 389"/>
                  <a:gd name="T9" fmla="*/ 261 h 261"/>
                  <a:gd name="T10" fmla="*/ 0 w 389"/>
                  <a:gd name="T11" fmla="*/ 12 h 261"/>
                  <a:gd name="T12" fmla="*/ 0 w 389"/>
                  <a:gd name="T13" fmla="*/ 0 h 261"/>
                  <a:gd name="T14" fmla="*/ 389 w 389"/>
                  <a:gd name="T15" fmla="*/ 0 h 261"/>
                  <a:gd name="T16" fmla="*/ 389 w 389"/>
                  <a:gd name="T17" fmla="*/ 261 h 261"/>
                  <a:gd name="T18" fmla="*/ 211 w 389"/>
                  <a:gd name="T19" fmla="*/ 261 h 261"/>
                  <a:gd name="T20" fmla="*/ 211 w 389"/>
                  <a:gd name="T21" fmla="*/ 261 h 261"/>
                  <a:gd name="T22" fmla="*/ 230 w 389"/>
                  <a:gd name="T23" fmla="*/ 137 h 261"/>
                  <a:gd name="T24" fmla="*/ 230 w 389"/>
                  <a:gd name="T25" fmla="*/ 242 h 261"/>
                  <a:gd name="T26" fmla="*/ 368 w 389"/>
                  <a:gd name="T27" fmla="*/ 242 h 261"/>
                  <a:gd name="T28" fmla="*/ 368 w 389"/>
                  <a:gd name="T29" fmla="*/ 21 h 261"/>
                  <a:gd name="T30" fmla="*/ 19 w 389"/>
                  <a:gd name="T31" fmla="*/ 21 h 261"/>
                  <a:gd name="T32" fmla="*/ 19 w 389"/>
                  <a:gd name="T33" fmla="*/ 242 h 261"/>
                  <a:gd name="T34" fmla="*/ 140 w 389"/>
                  <a:gd name="T35" fmla="*/ 242 h 261"/>
                  <a:gd name="T36" fmla="*/ 140 w 389"/>
                  <a:gd name="T37" fmla="*/ 137 h 261"/>
                  <a:gd name="T38" fmla="*/ 230 w 389"/>
                  <a:gd name="T39" fmla="*/ 137 h 261"/>
                  <a:gd name="T40" fmla="*/ 230 w 389"/>
                  <a:gd name="T41" fmla="*/ 137 h 261"/>
                  <a:gd name="T42" fmla="*/ 9 w 389"/>
                  <a:gd name="T43" fmla="*/ 21 h 261"/>
                  <a:gd name="T44" fmla="*/ 9 w 389"/>
                  <a:gd name="T45" fmla="*/ 12 h 261"/>
                  <a:gd name="T46" fmla="*/ 9 w 389"/>
                  <a:gd name="T47" fmla="*/ 21 h 261"/>
                  <a:gd name="T48" fmla="*/ 9 w 389"/>
                  <a:gd name="T49" fmla="*/ 21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89" h="261">
                    <a:moveTo>
                      <a:pt x="211" y="261"/>
                    </a:moveTo>
                    <a:lnTo>
                      <a:pt x="211" y="158"/>
                    </a:lnTo>
                    <a:lnTo>
                      <a:pt x="159" y="158"/>
                    </a:lnTo>
                    <a:lnTo>
                      <a:pt x="159" y="261"/>
                    </a:lnTo>
                    <a:lnTo>
                      <a:pt x="0" y="261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89" y="0"/>
                    </a:lnTo>
                    <a:lnTo>
                      <a:pt x="389" y="261"/>
                    </a:lnTo>
                    <a:lnTo>
                      <a:pt x="211" y="261"/>
                    </a:lnTo>
                    <a:lnTo>
                      <a:pt x="211" y="261"/>
                    </a:lnTo>
                    <a:close/>
                    <a:moveTo>
                      <a:pt x="230" y="137"/>
                    </a:moveTo>
                    <a:lnTo>
                      <a:pt x="230" y="242"/>
                    </a:lnTo>
                    <a:lnTo>
                      <a:pt x="368" y="242"/>
                    </a:lnTo>
                    <a:lnTo>
                      <a:pt x="368" y="21"/>
                    </a:lnTo>
                    <a:lnTo>
                      <a:pt x="19" y="21"/>
                    </a:lnTo>
                    <a:lnTo>
                      <a:pt x="19" y="242"/>
                    </a:lnTo>
                    <a:lnTo>
                      <a:pt x="140" y="242"/>
                    </a:lnTo>
                    <a:lnTo>
                      <a:pt x="140" y="137"/>
                    </a:lnTo>
                    <a:lnTo>
                      <a:pt x="230" y="137"/>
                    </a:lnTo>
                    <a:lnTo>
                      <a:pt x="230" y="137"/>
                    </a:lnTo>
                    <a:close/>
                    <a:moveTo>
                      <a:pt x="9" y="21"/>
                    </a:moveTo>
                    <a:lnTo>
                      <a:pt x="9" y="12"/>
                    </a:lnTo>
                    <a:lnTo>
                      <a:pt x="9" y="21"/>
                    </a:lnTo>
                    <a:lnTo>
                      <a:pt x="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Freeform 6"/>
              <p:cNvSpPr/>
              <p:nvPr/>
            </p:nvSpPr>
            <p:spPr bwMode="auto">
              <a:xfrm>
                <a:off x="626567" y="839887"/>
                <a:ext cx="817563" cy="258762"/>
              </a:xfrm>
              <a:custGeom>
                <a:avLst/>
                <a:gdLst>
                  <a:gd name="T0" fmla="*/ 0 w 515"/>
                  <a:gd name="T1" fmla="*/ 163 h 163"/>
                  <a:gd name="T2" fmla="*/ 256 w 515"/>
                  <a:gd name="T3" fmla="*/ 15 h 163"/>
                  <a:gd name="T4" fmla="*/ 306 w 515"/>
                  <a:gd name="T5" fmla="*/ 41 h 163"/>
                  <a:gd name="T6" fmla="*/ 306 w 515"/>
                  <a:gd name="T7" fmla="*/ 0 h 163"/>
                  <a:gd name="T8" fmla="*/ 373 w 515"/>
                  <a:gd name="T9" fmla="*/ 0 h 163"/>
                  <a:gd name="T10" fmla="*/ 373 w 515"/>
                  <a:gd name="T11" fmla="*/ 82 h 163"/>
                  <a:gd name="T12" fmla="*/ 515 w 515"/>
                  <a:gd name="T13" fmla="*/ 163 h 163"/>
                  <a:gd name="T14" fmla="*/ 0 w 515"/>
                  <a:gd name="T15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5" h="163">
                    <a:moveTo>
                      <a:pt x="0" y="163"/>
                    </a:moveTo>
                    <a:lnTo>
                      <a:pt x="256" y="15"/>
                    </a:lnTo>
                    <a:lnTo>
                      <a:pt x="306" y="41"/>
                    </a:lnTo>
                    <a:lnTo>
                      <a:pt x="306" y="0"/>
                    </a:lnTo>
                    <a:lnTo>
                      <a:pt x="373" y="0"/>
                    </a:lnTo>
                    <a:lnTo>
                      <a:pt x="373" y="82"/>
                    </a:lnTo>
                    <a:lnTo>
                      <a:pt x="515" y="163"/>
                    </a:lnTo>
                    <a:lnTo>
                      <a:pt x="0" y="1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8" name="Freeform 7"/>
              <p:cNvSpPr/>
              <p:nvPr/>
            </p:nvSpPr>
            <p:spPr bwMode="auto">
              <a:xfrm>
                <a:off x="626567" y="839887"/>
                <a:ext cx="817563" cy="258762"/>
              </a:xfrm>
              <a:custGeom>
                <a:avLst/>
                <a:gdLst>
                  <a:gd name="T0" fmla="*/ 0 w 515"/>
                  <a:gd name="T1" fmla="*/ 163 h 163"/>
                  <a:gd name="T2" fmla="*/ 256 w 515"/>
                  <a:gd name="T3" fmla="*/ 15 h 163"/>
                  <a:gd name="T4" fmla="*/ 306 w 515"/>
                  <a:gd name="T5" fmla="*/ 41 h 163"/>
                  <a:gd name="T6" fmla="*/ 306 w 515"/>
                  <a:gd name="T7" fmla="*/ 0 h 163"/>
                  <a:gd name="T8" fmla="*/ 373 w 515"/>
                  <a:gd name="T9" fmla="*/ 0 h 163"/>
                  <a:gd name="T10" fmla="*/ 373 w 515"/>
                  <a:gd name="T11" fmla="*/ 82 h 163"/>
                  <a:gd name="T12" fmla="*/ 515 w 515"/>
                  <a:gd name="T13" fmla="*/ 163 h 163"/>
                  <a:gd name="T14" fmla="*/ 0 w 515"/>
                  <a:gd name="T15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5" h="163">
                    <a:moveTo>
                      <a:pt x="0" y="163"/>
                    </a:moveTo>
                    <a:lnTo>
                      <a:pt x="256" y="15"/>
                    </a:lnTo>
                    <a:lnTo>
                      <a:pt x="306" y="41"/>
                    </a:lnTo>
                    <a:lnTo>
                      <a:pt x="306" y="0"/>
                    </a:lnTo>
                    <a:lnTo>
                      <a:pt x="373" y="0"/>
                    </a:lnTo>
                    <a:lnTo>
                      <a:pt x="373" y="82"/>
                    </a:lnTo>
                    <a:lnTo>
                      <a:pt x="515" y="163"/>
                    </a:lnTo>
                    <a:lnTo>
                      <a:pt x="0" y="163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9" name="Freeform 8"/>
              <p:cNvSpPr/>
              <p:nvPr/>
            </p:nvSpPr>
            <p:spPr bwMode="auto">
              <a:xfrm>
                <a:off x="747217" y="870049"/>
                <a:ext cx="576263" cy="198437"/>
              </a:xfrm>
              <a:custGeom>
                <a:avLst/>
                <a:gdLst>
                  <a:gd name="T0" fmla="*/ 0 w 363"/>
                  <a:gd name="T1" fmla="*/ 125 h 125"/>
                  <a:gd name="T2" fmla="*/ 363 w 363"/>
                  <a:gd name="T3" fmla="*/ 125 h 125"/>
                  <a:gd name="T4" fmla="*/ 282 w 363"/>
                  <a:gd name="T5" fmla="*/ 77 h 125"/>
                  <a:gd name="T6" fmla="*/ 287 w 363"/>
                  <a:gd name="T7" fmla="*/ 68 h 125"/>
                  <a:gd name="T8" fmla="*/ 297 w 363"/>
                  <a:gd name="T9" fmla="*/ 68 h 125"/>
                  <a:gd name="T10" fmla="*/ 287 w 363"/>
                  <a:gd name="T11" fmla="*/ 68 h 125"/>
                  <a:gd name="T12" fmla="*/ 282 w 363"/>
                  <a:gd name="T13" fmla="*/ 77 h 125"/>
                  <a:gd name="T14" fmla="*/ 278 w 363"/>
                  <a:gd name="T15" fmla="*/ 75 h 125"/>
                  <a:gd name="T16" fmla="*/ 278 w 363"/>
                  <a:gd name="T17" fmla="*/ 0 h 125"/>
                  <a:gd name="T18" fmla="*/ 249 w 363"/>
                  <a:gd name="T19" fmla="*/ 0 h 125"/>
                  <a:gd name="T20" fmla="*/ 249 w 363"/>
                  <a:gd name="T21" fmla="*/ 58 h 125"/>
                  <a:gd name="T22" fmla="*/ 180 w 363"/>
                  <a:gd name="T23" fmla="*/ 17 h 125"/>
                  <a:gd name="T24" fmla="*/ 0 w 363"/>
                  <a:gd name="T25" fmla="*/ 125 h 125"/>
                  <a:gd name="T26" fmla="*/ 0 w 363"/>
                  <a:gd name="T27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3" h="125">
                    <a:moveTo>
                      <a:pt x="0" y="125"/>
                    </a:moveTo>
                    <a:lnTo>
                      <a:pt x="363" y="125"/>
                    </a:lnTo>
                    <a:lnTo>
                      <a:pt x="282" y="77"/>
                    </a:lnTo>
                    <a:lnTo>
                      <a:pt x="287" y="68"/>
                    </a:lnTo>
                    <a:lnTo>
                      <a:pt x="297" y="68"/>
                    </a:lnTo>
                    <a:lnTo>
                      <a:pt x="287" y="68"/>
                    </a:lnTo>
                    <a:lnTo>
                      <a:pt x="282" y="77"/>
                    </a:lnTo>
                    <a:lnTo>
                      <a:pt x="278" y="75"/>
                    </a:lnTo>
                    <a:lnTo>
                      <a:pt x="278" y="0"/>
                    </a:lnTo>
                    <a:lnTo>
                      <a:pt x="249" y="0"/>
                    </a:lnTo>
                    <a:lnTo>
                      <a:pt x="249" y="58"/>
                    </a:lnTo>
                    <a:lnTo>
                      <a:pt x="180" y="17"/>
                    </a:lnTo>
                    <a:lnTo>
                      <a:pt x="0" y="125"/>
                    </a:lnTo>
                    <a:lnTo>
                      <a:pt x="0" y="1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Rectangle 9"/>
              <p:cNvSpPr>
                <a:spLocks noChangeArrowheads="1"/>
              </p:cNvSpPr>
              <p:nvPr/>
            </p:nvSpPr>
            <p:spPr bwMode="auto">
              <a:xfrm>
                <a:off x="785317" y="1187549"/>
                <a:ext cx="120650" cy="1143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1" name="Rectangle 10"/>
              <p:cNvSpPr>
                <a:spLocks noChangeArrowheads="1"/>
              </p:cNvSpPr>
              <p:nvPr/>
            </p:nvSpPr>
            <p:spPr bwMode="auto">
              <a:xfrm>
                <a:off x="1128217" y="1187549"/>
                <a:ext cx="120650" cy="1143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2" name="Line 11"/>
              <p:cNvSpPr>
                <a:spLocks noChangeShapeType="1"/>
              </p:cNvSpPr>
              <p:nvPr/>
            </p:nvSpPr>
            <p:spPr bwMode="auto">
              <a:xfrm>
                <a:off x="626567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3" name="Line 12"/>
              <p:cNvSpPr>
                <a:spLocks noChangeShapeType="1"/>
              </p:cNvSpPr>
              <p:nvPr/>
            </p:nvSpPr>
            <p:spPr bwMode="auto">
              <a:xfrm>
                <a:off x="626567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4" name="Line 19"/>
              <p:cNvSpPr>
                <a:spLocks noChangeShapeType="1"/>
              </p:cNvSpPr>
              <p:nvPr/>
            </p:nvSpPr>
            <p:spPr bwMode="auto">
              <a:xfrm>
                <a:off x="1518742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5" name="Line 20"/>
              <p:cNvSpPr>
                <a:spLocks noChangeShapeType="1"/>
              </p:cNvSpPr>
              <p:nvPr/>
            </p:nvSpPr>
            <p:spPr bwMode="auto">
              <a:xfrm>
                <a:off x="1518742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cxnSp>
          <p:nvCxnSpPr>
            <p:cNvPr id="83" name="直接连接符 82"/>
            <p:cNvCxnSpPr/>
            <p:nvPr/>
          </p:nvCxnSpPr>
          <p:spPr>
            <a:xfrm>
              <a:off x="7218890" y="6134404"/>
              <a:ext cx="3780000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4" name="文本框 83"/>
            <p:cNvSpPr txBox="1"/>
            <p:nvPr/>
          </p:nvSpPr>
          <p:spPr>
            <a:xfrm>
              <a:off x="8124143" y="5149738"/>
              <a:ext cx="226962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 smtClean="0">
                  <a:solidFill>
                    <a:srgbClr val="F79E1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b="1" dirty="0">
                <a:solidFill>
                  <a:srgbClr val="F79E1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5" name="文本框 84"/>
            <p:cNvSpPr txBox="1"/>
            <p:nvPr/>
          </p:nvSpPr>
          <p:spPr>
            <a:xfrm>
              <a:off x="8129488" y="5458343"/>
              <a:ext cx="279006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单击此处添加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单击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96" name="组合 95"/>
          <p:cNvGrpSpPr/>
          <p:nvPr/>
        </p:nvGrpSpPr>
        <p:grpSpPr>
          <a:xfrm>
            <a:off x="7091327" y="2669396"/>
            <a:ext cx="3859089" cy="1047636"/>
            <a:chOff x="7091327" y="2669396"/>
            <a:chExt cx="3859089" cy="1047636"/>
          </a:xfrm>
        </p:grpSpPr>
        <p:grpSp>
          <p:nvGrpSpPr>
            <p:cNvPr id="97" name="组合 96"/>
            <p:cNvGrpSpPr/>
            <p:nvPr/>
          </p:nvGrpSpPr>
          <p:grpSpPr>
            <a:xfrm>
              <a:off x="7091327" y="2797700"/>
              <a:ext cx="716905" cy="560002"/>
              <a:chOff x="626567" y="839887"/>
              <a:chExt cx="892175" cy="696912"/>
            </a:xfrm>
            <a:solidFill>
              <a:srgbClr val="9CB81F"/>
            </a:solidFill>
          </p:grpSpPr>
          <p:sp>
            <p:nvSpPr>
              <p:cNvPr id="101" name="Freeform 5"/>
              <p:cNvSpPr>
                <a:spLocks noEditPoints="1"/>
              </p:cNvSpPr>
              <p:nvPr/>
            </p:nvSpPr>
            <p:spPr bwMode="auto">
              <a:xfrm>
                <a:off x="724992" y="1122462"/>
                <a:ext cx="617538" cy="414337"/>
              </a:xfrm>
              <a:custGeom>
                <a:avLst/>
                <a:gdLst>
                  <a:gd name="T0" fmla="*/ 211 w 389"/>
                  <a:gd name="T1" fmla="*/ 261 h 261"/>
                  <a:gd name="T2" fmla="*/ 211 w 389"/>
                  <a:gd name="T3" fmla="*/ 158 h 261"/>
                  <a:gd name="T4" fmla="*/ 159 w 389"/>
                  <a:gd name="T5" fmla="*/ 158 h 261"/>
                  <a:gd name="T6" fmla="*/ 159 w 389"/>
                  <a:gd name="T7" fmla="*/ 261 h 261"/>
                  <a:gd name="T8" fmla="*/ 0 w 389"/>
                  <a:gd name="T9" fmla="*/ 261 h 261"/>
                  <a:gd name="T10" fmla="*/ 0 w 389"/>
                  <a:gd name="T11" fmla="*/ 12 h 261"/>
                  <a:gd name="T12" fmla="*/ 0 w 389"/>
                  <a:gd name="T13" fmla="*/ 0 h 261"/>
                  <a:gd name="T14" fmla="*/ 389 w 389"/>
                  <a:gd name="T15" fmla="*/ 0 h 261"/>
                  <a:gd name="T16" fmla="*/ 389 w 389"/>
                  <a:gd name="T17" fmla="*/ 261 h 261"/>
                  <a:gd name="T18" fmla="*/ 211 w 389"/>
                  <a:gd name="T19" fmla="*/ 261 h 261"/>
                  <a:gd name="T20" fmla="*/ 211 w 389"/>
                  <a:gd name="T21" fmla="*/ 261 h 261"/>
                  <a:gd name="T22" fmla="*/ 230 w 389"/>
                  <a:gd name="T23" fmla="*/ 137 h 261"/>
                  <a:gd name="T24" fmla="*/ 230 w 389"/>
                  <a:gd name="T25" fmla="*/ 242 h 261"/>
                  <a:gd name="T26" fmla="*/ 368 w 389"/>
                  <a:gd name="T27" fmla="*/ 242 h 261"/>
                  <a:gd name="T28" fmla="*/ 368 w 389"/>
                  <a:gd name="T29" fmla="*/ 21 h 261"/>
                  <a:gd name="T30" fmla="*/ 19 w 389"/>
                  <a:gd name="T31" fmla="*/ 21 h 261"/>
                  <a:gd name="T32" fmla="*/ 19 w 389"/>
                  <a:gd name="T33" fmla="*/ 242 h 261"/>
                  <a:gd name="T34" fmla="*/ 140 w 389"/>
                  <a:gd name="T35" fmla="*/ 242 h 261"/>
                  <a:gd name="T36" fmla="*/ 140 w 389"/>
                  <a:gd name="T37" fmla="*/ 137 h 261"/>
                  <a:gd name="T38" fmla="*/ 230 w 389"/>
                  <a:gd name="T39" fmla="*/ 137 h 261"/>
                  <a:gd name="T40" fmla="*/ 230 w 389"/>
                  <a:gd name="T41" fmla="*/ 137 h 261"/>
                  <a:gd name="T42" fmla="*/ 9 w 389"/>
                  <a:gd name="T43" fmla="*/ 21 h 261"/>
                  <a:gd name="T44" fmla="*/ 9 w 389"/>
                  <a:gd name="T45" fmla="*/ 12 h 261"/>
                  <a:gd name="T46" fmla="*/ 9 w 389"/>
                  <a:gd name="T47" fmla="*/ 21 h 261"/>
                  <a:gd name="T48" fmla="*/ 9 w 389"/>
                  <a:gd name="T49" fmla="*/ 21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89" h="261">
                    <a:moveTo>
                      <a:pt x="211" y="261"/>
                    </a:moveTo>
                    <a:lnTo>
                      <a:pt x="211" y="158"/>
                    </a:lnTo>
                    <a:lnTo>
                      <a:pt x="159" y="158"/>
                    </a:lnTo>
                    <a:lnTo>
                      <a:pt x="159" y="261"/>
                    </a:lnTo>
                    <a:lnTo>
                      <a:pt x="0" y="261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89" y="0"/>
                    </a:lnTo>
                    <a:lnTo>
                      <a:pt x="389" y="261"/>
                    </a:lnTo>
                    <a:lnTo>
                      <a:pt x="211" y="261"/>
                    </a:lnTo>
                    <a:lnTo>
                      <a:pt x="211" y="261"/>
                    </a:lnTo>
                    <a:close/>
                    <a:moveTo>
                      <a:pt x="230" y="137"/>
                    </a:moveTo>
                    <a:lnTo>
                      <a:pt x="230" y="242"/>
                    </a:lnTo>
                    <a:lnTo>
                      <a:pt x="368" y="242"/>
                    </a:lnTo>
                    <a:lnTo>
                      <a:pt x="368" y="21"/>
                    </a:lnTo>
                    <a:lnTo>
                      <a:pt x="19" y="21"/>
                    </a:lnTo>
                    <a:lnTo>
                      <a:pt x="19" y="242"/>
                    </a:lnTo>
                    <a:lnTo>
                      <a:pt x="140" y="242"/>
                    </a:lnTo>
                    <a:lnTo>
                      <a:pt x="140" y="137"/>
                    </a:lnTo>
                    <a:lnTo>
                      <a:pt x="230" y="137"/>
                    </a:lnTo>
                    <a:lnTo>
                      <a:pt x="230" y="137"/>
                    </a:lnTo>
                    <a:close/>
                    <a:moveTo>
                      <a:pt x="9" y="21"/>
                    </a:moveTo>
                    <a:lnTo>
                      <a:pt x="9" y="12"/>
                    </a:lnTo>
                    <a:lnTo>
                      <a:pt x="9" y="21"/>
                    </a:lnTo>
                    <a:lnTo>
                      <a:pt x="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2" name="Freeform 6"/>
              <p:cNvSpPr/>
              <p:nvPr/>
            </p:nvSpPr>
            <p:spPr bwMode="auto">
              <a:xfrm>
                <a:off x="626567" y="839887"/>
                <a:ext cx="817563" cy="258762"/>
              </a:xfrm>
              <a:custGeom>
                <a:avLst/>
                <a:gdLst>
                  <a:gd name="T0" fmla="*/ 0 w 515"/>
                  <a:gd name="T1" fmla="*/ 163 h 163"/>
                  <a:gd name="T2" fmla="*/ 256 w 515"/>
                  <a:gd name="T3" fmla="*/ 15 h 163"/>
                  <a:gd name="T4" fmla="*/ 306 w 515"/>
                  <a:gd name="T5" fmla="*/ 41 h 163"/>
                  <a:gd name="T6" fmla="*/ 306 w 515"/>
                  <a:gd name="T7" fmla="*/ 0 h 163"/>
                  <a:gd name="T8" fmla="*/ 373 w 515"/>
                  <a:gd name="T9" fmla="*/ 0 h 163"/>
                  <a:gd name="T10" fmla="*/ 373 w 515"/>
                  <a:gd name="T11" fmla="*/ 82 h 163"/>
                  <a:gd name="T12" fmla="*/ 515 w 515"/>
                  <a:gd name="T13" fmla="*/ 163 h 163"/>
                  <a:gd name="T14" fmla="*/ 0 w 515"/>
                  <a:gd name="T15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5" h="163">
                    <a:moveTo>
                      <a:pt x="0" y="163"/>
                    </a:moveTo>
                    <a:lnTo>
                      <a:pt x="256" y="15"/>
                    </a:lnTo>
                    <a:lnTo>
                      <a:pt x="306" y="41"/>
                    </a:lnTo>
                    <a:lnTo>
                      <a:pt x="306" y="0"/>
                    </a:lnTo>
                    <a:lnTo>
                      <a:pt x="373" y="0"/>
                    </a:lnTo>
                    <a:lnTo>
                      <a:pt x="373" y="82"/>
                    </a:lnTo>
                    <a:lnTo>
                      <a:pt x="515" y="163"/>
                    </a:lnTo>
                    <a:lnTo>
                      <a:pt x="0" y="1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3" name="Freeform 7"/>
              <p:cNvSpPr/>
              <p:nvPr/>
            </p:nvSpPr>
            <p:spPr bwMode="auto">
              <a:xfrm>
                <a:off x="626567" y="839887"/>
                <a:ext cx="817563" cy="258762"/>
              </a:xfrm>
              <a:custGeom>
                <a:avLst/>
                <a:gdLst>
                  <a:gd name="T0" fmla="*/ 0 w 515"/>
                  <a:gd name="T1" fmla="*/ 163 h 163"/>
                  <a:gd name="T2" fmla="*/ 256 w 515"/>
                  <a:gd name="T3" fmla="*/ 15 h 163"/>
                  <a:gd name="T4" fmla="*/ 306 w 515"/>
                  <a:gd name="T5" fmla="*/ 41 h 163"/>
                  <a:gd name="T6" fmla="*/ 306 w 515"/>
                  <a:gd name="T7" fmla="*/ 0 h 163"/>
                  <a:gd name="T8" fmla="*/ 373 w 515"/>
                  <a:gd name="T9" fmla="*/ 0 h 163"/>
                  <a:gd name="T10" fmla="*/ 373 w 515"/>
                  <a:gd name="T11" fmla="*/ 82 h 163"/>
                  <a:gd name="T12" fmla="*/ 515 w 515"/>
                  <a:gd name="T13" fmla="*/ 163 h 163"/>
                  <a:gd name="T14" fmla="*/ 0 w 515"/>
                  <a:gd name="T15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5" h="163">
                    <a:moveTo>
                      <a:pt x="0" y="163"/>
                    </a:moveTo>
                    <a:lnTo>
                      <a:pt x="256" y="15"/>
                    </a:lnTo>
                    <a:lnTo>
                      <a:pt x="306" y="41"/>
                    </a:lnTo>
                    <a:lnTo>
                      <a:pt x="306" y="0"/>
                    </a:lnTo>
                    <a:lnTo>
                      <a:pt x="373" y="0"/>
                    </a:lnTo>
                    <a:lnTo>
                      <a:pt x="373" y="82"/>
                    </a:lnTo>
                    <a:lnTo>
                      <a:pt x="515" y="163"/>
                    </a:lnTo>
                    <a:lnTo>
                      <a:pt x="0" y="163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4" name="Freeform 8"/>
              <p:cNvSpPr/>
              <p:nvPr/>
            </p:nvSpPr>
            <p:spPr bwMode="auto">
              <a:xfrm>
                <a:off x="747217" y="870049"/>
                <a:ext cx="576263" cy="198437"/>
              </a:xfrm>
              <a:custGeom>
                <a:avLst/>
                <a:gdLst>
                  <a:gd name="T0" fmla="*/ 0 w 363"/>
                  <a:gd name="T1" fmla="*/ 125 h 125"/>
                  <a:gd name="T2" fmla="*/ 363 w 363"/>
                  <a:gd name="T3" fmla="*/ 125 h 125"/>
                  <a:gd name="T4" fmla="*/ 282 w 363"/>
                  <a:gd name="T5" fmla="*/ 77 h 125"/>
                  <a:gd name="T6" fmla="*/ 287 w 363"/>
                  <a:gd name="T7" fmla="*/ 68 h 125"/>
                  <a:gd name="T8" fmla="*/ 297 w 363"/>
                  <a:gd name="T9" fmla="*/ 68 h 125"/>
                  <a:gd name="T10" fmla="*/ 287 w 363"/>
                  <a:gd name="T11" fmla="*/ 68 h 125"/>
                  <a:gd name="T12" fmla="*/ 282 w 363"/>
                  <a:gd name="T13" fmla="*/ 77 h 125"/>
                  <a:gd name="T14" fmla="*/ 278 w 363"/>
                  <a:gd name="T15" fmla="*/ 75 h 125"/>
                  <a:gd name="T16" fmla="*/ 278 w 363"/>
                  <a:gd name="T17" fmla="*/ 0 h 125"/>
                  <a:gd name="T18" fmla="*/ 249 w 363"/>
                  <a:gd name="T19" fmla="*/ 0 h 125"/>
                  <a:gd name="T20" fmla="*/ 249 w 363"/>
                  <a:gd name="T21" fmla="*/ 58 h 125"/>
                  <a:gd name="T22" fmla="*/ 180 w 363"/>
                  <a:gd name="T23" fmla="*/ 17 h 125"/>
                  <a:gd name="T24" fmla="*/ 0 w 363"/>
                  <a:gd name="T25" fmla="*/ 125 h 125"/>
                  <a:gd name="T26" fmla="*/ 0 w 363"/>
                  <a:gd name="T27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3" h="125">
                    <a:moveTo>
                      <a:pt x="0" y="125"/>
                    </a:moveTo>
                    <a:lnTo>
                      <a:pt x="363" y="125"/>
                    </a:lnTo>
                    <a:lnTo>
                      <a:pt x="282" y="77"/>
                    </a:lnTo>
                    <a:lnTo>
                      <a:pt x="287" y="68"/>
                    </a:lnTo>
                    <a:lnTo>
                      <a:pt x="297" y="68"/>
                    </a:lnTo>
                    <a:lnTo>
                      <a:pt x="287" y="68"/>
                    </a:lnTo>
                    <a:lnTo>
                      <a:pt x="282" y="77"/>
                    </a:lnTo>
                    <a:lnTo>
                      <a:pt x="278" y="75"/>
                    </a:lnTo>
                    <a:lnTo>
                      <a:pt x="278" y="0"/>
                    </a:lnTo>
                    <a:lnTo>
                      <a:pt x="249" y="0"/>
                    </a:lnTo>
                    <a:lnTo>
                      <a:pt x="249" y="58"/>
                    </a:lnTo>
                    <a:lnTo>
                      <a:pt x="180" y="17"/>
                    </a:lnTo>
                    <a:lnTo>
                      <a:pt x="0" y="125"/>
                    </a:lnTo>
                    <a:lnTo>
                      <a:pt x="0" y="1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5" name="Rectangle 9"/>
              <p:cNvSpPr>
                <a:spLocks noChangeArrowheads="1"/>
              </p:cNvSpPr>
              <p:nvPr/>
            </p:nvSpPr>
            <p:spPr bwMode="auto">
              <a:xfrm>
                <a:off x="785317" y="1187549"/>
                <a:ext cx="120650" cy="1143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6" name="Rectangle 10"/>
              <p:cNvSpPr>
                <a:spLocks noChangeArrowheads="1"/>
              </p:cNvSpPr>
              <p:nvPr/>
            </p:nvSpPr>
            <p:spPr bwMode="auto">
              <a:xfrm>
                <a:off x="1128217" y="1187549"/>
                <a:ext cx="120650" cy="1143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7" name="Line 11"/>
              <p:cNvSpPr>
                <a:spLocks noChangeShapeType="1"/>
              </p:cNvSpPr>
              <p:nvPr/>
            </p:nvSpPr>
            <p:spPr bwMode="auto">
              <a:xfrm>
                <a:off x="626567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8" name="Line 12"/>
              <p:cNvSpPr>
                <a:spLocks noChangeShapeType="1"/>
              </p:cNvSpPr>
              <p:nvPr/>
            </p:nvSpPr>
            <p:spPr bwMode="auto">
              <a:xfrm>
                <a:off x="626567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9" name="Line 19"/>
              <p:cNvSpPr>
                <a:spLocks noChangeShapeType="1"/>
              </p:cNvSpPr>
              <p:nvPr/>
            </p:nvSpPr>
            <p:spPr bwMode="auto">
              <a:xfrm>
                <a:off x="1518742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Line 20"/>
              <p:cNvSpPr>
                <a:spLocks noChangeShapeType="1"/>
              </p:cNvSpPr>
              <p:nvPr/>
            </p:nvSpPr>
            <p:spPr bwMode="auto">
              <a:xfrm>
                <a:off x="1518742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cxnSp>
          <p:nvCxnSpPr>
            <p:cNvPr id="98" name="直接连接符 97"/>
            <p:cNvCxnSpPr/>
            <p:nvPr/>
          </p:nvCxnSpPr>
          <p:spPr>
            <a:xfrm>
              <a:off x="7170416" y="3717032"/>
              <a:ext cx="3780000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文本框 98"/>
            <p:cNvSpPr txBox="1"/>
            <p:nvPr/>
          </p:nvSpPr>
          <p:spPr>
            <a:xfrm>
              <a:off x="8110545" y="2669396"/>
              <a:ext cx="226962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 smtClean="0">
                  <a:solidFill>
                    <a:srgbClr val="9CB81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b="1" dirty="0">
                <a:solidFill>
                  <a:srgbClr val="9CB81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0" name="文本框 99"/>
            <p:cNvSpPr txBox="1"/>
            <p:nvPr/>
          </p:nvSpPr>
          <p:spPr>
            <a:xfrm>
              <a:off x="8115890" y="2978001"/>
              <a:ext cx="279006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单击此处添加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单击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11" name="组合 110"/>
          <p:cNvGrpSpPr/>
          <p:nvPr/>
        </p:nvGrpSpPr>
        <p:grpSpPr>
          <a:xfrm>
            <a:off x="7091327" y="1403361"/>
            <a:ext cx="3843515" cy="1058635"/>
            <a:chOff x="7091327" y="1403361"/>
            <a:chExt cx="3843515" cy="1058635"/>
          </a:xfrm>
        </p:grpSpPr>
        <p:grpSp>
          <p:nvGrpSpPr>
            <p:cNvPr id="112" name="组合 111"/>
            <p:cNvGrpSpPr/>
            <p:nvPr/>
          </p:nvGrpSpPr>
          <p:grpSpPr>
            <a:xfrm>
              <a:off x="7091327" y="1559224"/>
              <a:ext cx="716905" cy="560002"/>
              <a:chOff x="626567" y="839887"/>
              <a:chExt cx="892175" cy="696912"/>
            </a:xfrm>
            <a:solidFill>
              <a:srgbClr val="DE401F"/>
            </a:solidFill>
          </p:grpSpPr>
          <p:sp>
            <p:nvSpPr>
              <p:cNvPr id="116" name="Freeform 5"/>
              <p:cNvSpPr>
                <a:spLocks noEditPoints="1"/>
              </p:cNvSpPr>
              <p:nvPr/>
            </p:nvSpPr>
            <p:spPr bwMode="auto">
              <a:xfrm>
                <a:off x="724992" y="1122462"/>
                <a:ext cx="617538" cy="414337"/>
              </a:xfrm>
              <a:custGeom>
                <a:avLst/>
                <a:gdLst>
                  <a:gd name="T0" fmla="*/ 211 w 389"/>
                  <a:gd name="T1" fmla="*/ 261 h 261"/>
                  <a:gd name="T2" fmla="*/ 211 w 389"/>
                  <a:gd name="T3" fmla="*/ 158 h 261"/>
                  <a:gd name="T4" fmla="*/ 159 w 389"/>
                  <a:gd name="T5" fmla="*/ 158 h 261"/>
                  <a:gd name="T6" fmla="*/ 159 w 389"/>
                  <a:gd name="T7" fmla="*/ 261 h 261"/>
                  <a:gd name="T8" fmla="*/ 0 w 389"/>
                  <a:gd name="T9" fmla="*/ 261 h 261"/>
                  <a:gd name="T10" fmla="*/ 0 w 389"/>
                  <a:gd name="T11" fmla="*/ 12 h 261"/>
                  <a:gd name="T12" fmla="*/ 0 w 389"/>
                  <a:gd name="T13" fmla="*/ 0 h 261"/>
                  <a:gd name="T14" fmla="*/ 389 w 389"/>
                  <a:gd name="T15" fmla="*/ 0 h 261"/>
                  <a:gd name="T16" fmla="*/ 389 w 389"/>
                  <a:gd name="T17" fmla="*/ 261 h 261"/>
                  <a:gd name="T18" fmla="*/ 211 w 389"/>
                  <a:gd name="T19" fmla="*/ 261 h 261"/>
                  <a:gd name="T20" fmla="*/ 211 w 389"/>
                  <a:gd name="T21" fmla="*/ 261 h 261"/>
                  <a:gd name="T22" fmla="*/ 230 w 389"/>
                  <a:gd name="T23" fmla="*/ 137 h 261"/>
                  <a:gd name="T24" fmla="*/ 230 w 389"/>
                  <a:gd name="T25" fmla="*/ 242 h 261"/>
                  <a:gd name="T26" fmla="*/ 368 w 389"/>
                  <a:gd name="T27" fmla="*/ 242 h 261"/>
                  <a:gd name="T28" fmla="*/ 368 w 389"/>
                  <a:gd name="T29" fmla="*/ 21 h 261"/>
                  <a:gd name="T30" fmla="*/ 19 w 389"/>
                  <a:gd name="T31" fmla="*/ 21 h 261"/>
                  <a:gd name="T32" fmla="*/ 19 w 389"/>
                  <a:gd name="T33" fmla="*/ 242 h 261"/>
                  <a:gd name="T34" fmla="*/ 140 w 389"/>
                  <a:gd name="T35" fmla="*/ 242 h 261"/>
                  <a:gd name="T36" fmla="*/ 140 w 389"/>
                  <a:gd name="T37" fmla="*/ 137 h 261"/>
                  <a:gd name="T38" fmla="*/ 230 w 389"/>
                  <a:gd name="T39" fmla="*/ 137 h 261"/>
                  <a:gd name="T40" fmla="*/ 230 w 389"/>
                  <a:gd name="T41" fmla="*/ 137 h 261"/>
                  <a:gd name="T42" fmla="*/ 9 w 389"/>
                  <a:gd name="T43" fmla="*/ 21 h 261"/>
                  <a:gd name="T44" fmla="*/ 9 w 389"/>
                  <a:gd name="T45" fmla="*/ 12 h 261"/>
                  <a:gd name="T46" fmla="*/ 9 w 389"/>
                  <a:gd name="T47" fmla="*/ 21 h 261"/>
                  <a:gd name="T48" fmla="*/ 9 w 389"/>
                  <a:gd name="T49" fmla="*/ 21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89" h="261">
                    <a:moveTo>
                      <a:pt x="211" y="261"/>
                    </a:moveTo>
                    <a:lnTo>
                      <a:pt x="211" y="158"/>
                    </a:lnTo>
                    <a:lnTo>
                      <a:pt x="159" y="158"/>
                    </a:lnTo>
                    <a:lnTo>
                      <a:pt x="159" y="261"/>
                    </a:lnTo>
                    <a:lnTo>
                      <a:pt x="0" y="261"/>
                    </a:lnTo>
                    <a:lnTo>
                      <a:pt x="0" y="12"/>
                    </a:lnTo>
                    <a:lnTo>
                      <a:pt x="0" y="0"/>
                    </a:lnTo>
                    <a:lnTo>
                      <a:pt x="389" y="0"/>
                    </a:lnTo>
                    <a:lnTo>
                      <a:pt x="389" y="261"/>
                    </a:lnTo>
                    <a:lnTo>
                      <a:pt x="211" y="261"/>
                    </a:lnTo>
                    <a:lnTo>
                      <a:pt x="211" y="261"/>
                    </a:lnTo>
                    <a:close/>
                    <a:moveTo>
                      <a:pt x="230" y="137"/>
                    </a:moveTo>
                    <a:lnTo>
                      <a:pt x="230" y="242"/>
                    </a:lnTo>
                    <a:lnTo>
                      <a:pt x="368" y="242"/>
                    </a:lnTo>
                    <a:lnTo>
                      <a:pt x="368" y="21"/>
                    </a:lnTo>
                    <a:lnTo>
                      <a:pt x="19" y="21"/>
                    </a:lnTo>
                    <a:lnTo>
                      <a:pt x="19" y="242"/>
                    </a:lnTo>
                    <a:lnTo>
                      <a:pt x="140" y="242"/>
                    </a:lnTo>
                    <a:lnTo>
                      <a:pt x="140" y="137"/>
                    </a:lnTo>
                    <a:lnTo>
                      <a:pt x="230" y="137"/>
                    </a:lnTo>
                    <a:lnTo>
                      <a:pt x="230" y="137"/>
                    </a:lnTo>
                    <a:close/>
                    <a:moveTo>
                      <a:pt x="9" y="21"/>
                    </a:moveTo>
                    <a:lnTo>
                      <a:pt x="9" y="12"/>
                    </a:lnTo>
                    <a:lnTo>
                      <a:pt x="9" y="21"/>
                    </a:lnTo>
                    <a:lnTo>
                      <a:pt x="9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Freeform 6"/>
              <p:cNvSpPr/>
              <p:nvPr/>
            </p:nvSpPr>
            <p:spPr bwMode="auto">
              <a:xfrm>
                <a:off x="626567" y="839887"/>
                <a:ext cx="817563" cy="258762"/>
              </a:xfrm>
              <a:custGeom>
                <a:avLst/>
                <a:gdLst>
                  <a:gd name="T0" fmla="*/ 0 w 515"/>
                  <a:gd name="T1" fmla="*/ 163 h 163"/>
                  <a:gd name="T2" fmla="*/ 256 w 515"/>
                  <a:gd name="T3" fmla="*/ 15 h 163"/>
                  <a:gd name="T4" fmla="*/ 306 w 515"/>
                  <a:gd name="T5" fmla="*/ 41 h 163"/>
                  <a:gd name="T6" fmla="*/ 306 w 515"/>
                  <a:gd name="T7" fmla="*/ 0 h 163"/>
                  <a:gd name="T8" fmla="*/ 373 w 515"/>
                  <a:gd name="T9" fmla="*/ 0 h 163"/>
                  <a:gd name="T10" fmla="*/ 373 w 515"/>
                  <a:gd name="T11" fmla="*/ 82 h 163"/>
                  <a:gd name="T12" fmla="*/ 515 w 515"/>
                  <a:gd name="T13" fmla="*/ 163 h 163"/>
                  <a:gd name="T14" fmla="*/ 0 w 515"/>
                  <a:gd name="T15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5" h="163">
                    <a:moveTo>
                      <a:pt x="0" y="163"/>
                    </a:moveTo>
                    <a:lnTo>
                      <a:pt x="256" y="15"/>
                    </a:lnTo>
                    <a:lnTo>
                      <a:pt x="306" y="41"/>
                    </a:lnTo>
                    <a:lnTo>
                      <a:pt x="306" y="0"/>
                    </a:lnTo>
                    <a:lnTo>
                      <a:pt x="373" y="0"/>
                    </a:lnTo>
                    <a:lnTo>
                      <a:pt x="373" y="82"/>
                    </a:lnTo>
                    <a:lnTo>
                      <a:pt x="515" y="163"/>
                    </a:lnTo>
                    <a:lnTo>
                      <a:pt x="0" y="1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8" name="Freeform 7"/>
              <p:cNvSpPr/>
              <p:nvPr/>
            </p:nvSpPr>
            <p:spPr bwMode="auto">
              <a:xfrm>
                <a:off x="626567" y="839887"/>
                <a:ext cx="817563" cy="258762"/>
              </a:xfrm>
              <a:custGeom>
                <a:avLst/>
                <a:gdLst>
                  <a:gd name="T0" fmla="*/ 0 w 515"/>
                  <a:gd name="T1" fmla="*/ 163 h 163"/>
                  <a:gd name="T2" fmla="*/ 256 w 515"/>
                  <a:gd name="T3" fmla="*/ 15 h 163"/>
                  <a:gd name="T4" fmla="*/ 306 w 515"/>
                  <a:gd name="T5" fmla="*/ 41 h 163"/>
                  <a:gd name="T6" fmla="*/ 306 w 515"/>
                  <a:gd name="T7" fmla="*/ 0 h 163"/>
                  <a:gd name="T8" fmla="*/ 373 w 515"/>
                  <a:gd name="T9" fmla="*/ 0 h 163"/>
                  <a:gd name="T10" fmla="*/ 373 w 515"/>
                  <a:gd name="T11" fmla="*/ 82 h 163"/>
                  <a:gd name="T12" fmla="*/ 515 w 515"/>
                  <a:gd name="T13" fmla="*/ 163 h 163"/>
                  <a:gd name="T14" fmla="*/ 0 w 515"/>
                  <a:gd name="T15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5" h="163">
                    <a:moveTo>
                      <a:pt x="0" y="163"/>
                    </a:moveTo>
                    <a:lnTo>
                      <a:pt x="256" y="15"/>
                    </a:lnTo>
                    <a:lnTo>
                      <a:pt x="306" y="41"/>
                    </a:lnTo>
                    <a:lnTo>
                      <a:pt x="306" y="0"/>
                    </a:lnTo>
                    <a:lnTo>
                      <a:pt x="373" y="0"/>
                    </a:lnTo>
                    <a:lnTo>
                      <a:pt x="373" y="82"/>
                    </a:lnTo>
                    <a:lnTo>
                      <a:pt x="515" y="163"/>
                    </a:lnTo>
                    <a:lnTo>
                      <a:pt x="0" y="163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Freeform 8"/>
              <p:cNvSpPr/>
              <p:nvPr/>
            </p:nvSpPr>
            <p:spPr bwMode="auto">
              <a:xfrm>
                <a:off x="747217" y="870049"/>
                <a:ext cx="576263" cy="198437"/>
              </a:xfrm>
              <a:custGeom>
                <a:avLst/>
                <a:gdLst>
                  <a:gd name="T0" fmla="*/ 0 w 363"/>
                  <a:gd name="T1" fmla="*/ 125 h 125"/>
                  <a:gd name="T2" fmla="*/ 363 w 363"/>
                  <a:gd name="T3" fmla="*/ 125 h 125"/>
                  <a:gd name="T4" fmla="*/ 282 w 363"/>
                  <a:gd name="T5" fmla="*/ 77 h 125"/>
                  <a:gd name="T6" fmla="*/ 287 w 363"/>
                  <a:gd name="T7" fmla="*/ 68 h 125"/>
                  <a:gd name="T8" fmla="*/ 297 w 363"/>
                  <a:gd name="T9" fmla="*/ 68 h 125"/>
                  <a:gd name="T10" fmla="*/ 287 w 363"/>
                  <a:gd name="T11" fmla="*/ 68 h 125"/>
                  <a:gd name="T12" fmla="*/ 282 w 363"/>
                  <a:gd name="T13" fmla="*/ 77 h 125"/>
                  <a:gd name="T14" fmla="*/ 278 w 363"/>
                  <a:gd name="T15" fmla="*/ 75 h 125"/>
                  <a:gd name="T16" fmla="*/ 278 w 363"/>
                  <a:gd name="T17" fmla="*/ 0 h 125"/>
                  <a:gd name="T18" fmla="*/ 249 w 363"/>
                  <a:gd name="T19" fmla="*/ 0 h 125"/>
                  <a:gd name="T20" fmla="*/ 249 w 363"/>
                  <a:gd name="T21" fmla="*/ 58 h 125"/>
                  <a:gd name="T22" fmla="*/ 180 w 363"/>
                  <a:gd name="T23" fmla="*/ 17 h 125"/>
                  <a:gd name="T24" fmla="*/ 0 w 363"/>
                  <a:gd name="T25" fmla="*/ 125 h 125"/>
                  <a:gd name="T26" fmla="*/ 0 w 363"/>
                  <a:gd name="T27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3" h="125">
                    <a:moveTo>
                      <a:pt x="0" y="125"/>
                    </a:moveTo>
                    <a:lnTo>
                      <a:pt x="363" y="125"/>
                    </a:lnTo>
                    <a:lnTo>
                      <a:pt x="282" y="77"/>
                    </a:lnTo>
                    <a:lnTo>
                      <a:pt x="287" y="68"/>
                    </a:lnTo>
                    <a:lnTo>
                      <a:pt x="297" y="68"/>
                    </a:lnTo>
                    <a:lnTo>
                      <a:pt x="287" y="68"/>
                    </a:lnTo>
                    <a:lnTo>
                      <a:pt x="282" y="77"/>
                    </a:lnTo>
                    <a:lnTo>
                      <a:pt x="278" y="75"/>
                    </a:lnTo>
                    <a:lnTo>
                      <a:pt x="278" y="0"/>
                    </a:lnTo>
                    <a:lnTo>
                      <a:pt x="249" y="0"/>
                    </a:lnTo>
                    <a:lnTo>
                      <a:pt x="249" y="58"/>
                    </a:lnTo>
                    <a:lnTo>
                      <a:pt x="180" y="17"/>
                    </a:lnTo>
                    <a:lnTo>
                      <a:pt x="0" y="125"/>
                    </a:lnTo>
                    <a:lnTo>
                      <a:pt x="0" y="1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0" name="Rectangle 9"/>
              <p:cNvSpPr>
                <a:spLocks noChangeArrowheads="1"/>
              </p:cNvSpPr>
              <p:nvPr/>
            </p:nvSpPr>
            <p:spPr bwMode="auto">
              <a:xfrm>
                <a:off x="785317" y="1187549"/>
                <a:ext cx="120650" cy="1143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1" name="Rectangle 10"/>
              <p:cNvSpPr>
                <a:spLocks noChangeArrowheads="1"/>
              </p:cNvSpPr>
              <p:nvPr/>
            </p:nvSpPr>
            <p:spPr bwMode="auto">
              <a:xfrm>
                <a:off x="1128217" y="1187549"/>
                <a:ext cx="120650" cy="1143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Line 11"/>
              <p:cNvSpPr>
                <a:spLocks noChangeShapeType="1"/>
              </p:cNvSpPr>
              <p:nvPr/>
            </p:nvSpPr>
            <p:spPr bwMode="auto">
              <a:xfrm>
                <a:off x="626567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3" name="Line 12"/>
              <p:cNvSpPr>
                <a:spLocks noChangeShapeType="1"/>
              </p:cNvSpPr>
              <p:nvPr/>
            </p:nvSpPr>
            <p:spPr bwMode="auto">
              <a:xfrm>
                <a:off x="626567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4" name="Line 19"/>
              <p:cNvSpPr>
                <a:spLocks noChangeShapeType="1"/>
              </p:cNvSpPr>
              <p:nvPr/>
            </p:nvSpPr>
            <p:spPr bwMode="auto">
              <a:xfrm>
                <a:off x="1518742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Line 20"/>
              <p:cNvSpPr>
                <a:spLocks noChangeShapeType="1"/>
              </p:cNvSpPr>
              <p:nvPr/>
            </p:nvSpPr>
            <p:spPr bwMode="auto">
              <a:xfrm>
                <a:off x="1518742" y="1098649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cxnSp>
          <p:nvCxnSpPr>
            <p:cNvPr id="113" name="直接连接符 112"/>
            <p:cNvCxnSpPr/>
            <p:nvPr/>
          </p:nvCxnSpPr>
          <p:spPr>
            <a:xfrm>
              <a:off x="7154842" y="2461996"/>
              <a:ext cx="3780000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4" name="文本框 113"/>
            <p:cNvSpPr txBox="1"/>
            <p:nvPr/>
          </p:nvSpPr>
          <p:spPr>
            <a:xfrm>
              <a:off x="8127385" y="1403361"/>
              <a:ext cx="226962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 smtClean="0">
                  <a:solidFill>
                    <a:srgbClr val="DE401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b="1" dirty="0">
                <a:solidFill>
                  <a:srgbClr val="DE401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5" name="文本框 114"/>
            <p:cNvSpPr txBox="1"/>
            <p:nvPr/>
          </p:nvSpPr>
          <p:spPr>
            <a:xfrm>
              <a:off x="8132730" y="1711966"/>
              <a:ext cx="279006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单击此处添加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单击此处添加</a:t>
              </a:r>
              <a:r>
                <a:rPr lang="zh-CN" altLang="en-US" sz="12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</a:t>
              </a:r>
              <a:endPara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1343472" y="1484784"/>
            <a:ext cx="10635591" cy="3528392"/>
            <a:chOff x="1343472" y="1484784"/>
            <a:chExt cx="10635591" cy="3528392"/>
          </a:xfrm>
        </p:grpSpPr>
        <p:grpSp>
          <p:nvGrpSpPr>
            <p:cNvPr id="16" name="组合 15"/>
            <p:cNvGrpSpPr/>
            <p:nvPr/>
          </p:nvGrpSpPr>
          <p:grpSpPr>
            <a:xfrm>
              <a:off x="1343472" y="1484784"/>
              <a:ext cx="10635591" cy="3528392"/>
              <a:chOff x="2063552" y="1628800"/>
              <a:chExt cx="9984432" cy="3312368"/>
            </a:xfrm>
          </p:grpSpPr>
          <p:sp>
            <p:nvSpPr>
              <p:cNvPr id="19" name="矩形 18"/>
              <p:cNvSpPr/>
              <p:nvPr/>
            </p:nvSpPr>
            <p:spPr>
              <a:xfrm>
                <a:off x="5159896" y="3140968"/>
                <a:ext cx="6888088" cy="504056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20" name="组合 19"/>
              <p:cNvGrpSpPr/>
              <p:nvPr/>
            </p:nvGrpSpPr>
            <p:grpSpPr>
              <a:xfrm>
                <a:off x="2063552" y="1628800"/>
                <a:ext cx="3312368" cy="3312368"/>
                <a:chOff x="2567608" y="1916832"/>
                <a:chExt cx="2736304" cy="2736304"/>
              </a:xfrm>
            </p:grpSpPr>
            <p:sp>
              <p:nvSpPr>
                <p:cNvPr id="25" name="椭圆 24"/>
                <p:cNvSpPr/>
                <p:nvPr/>
              </p:nvSpPr>
              <p:spPr>
                <a:xfrm>
                  <a:off x="2567608" y="1916832"/>
                  <a:ext cx="2736304" cy="2736304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6" name="椭圆 25"/>
                <p:cNvSpPr/>
                <p:nvPr/>
              </p:nvSpPr>
              <p:spPr>
                <a:xfrm>
                  <a:off x="2819636" y="2186966"/>
                  <a:ext cx="2232248" cy="2232248"/>
                </a:xfrm>
                <a:prstGeom prst="ellipse">
                  <a:avLst/>
                </a:prstGeom>
                <a:solidFill>
                  <a:srgbClr val="FFC1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21" name="矩形 20"/>
              <p:cNvSpPr/>
              <p:nvPr/>
            </p:nvSpPr>
            <p:spPr>
              <a:xfrm>
                <a:off x="11640616" y="2636912"/>
                <a:ext cx="288032" cy="504056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2" name="矩形 21"/>
              <p:cNvSpPr/>
              <p:nvPr/>
            </p:nvSpPr>
            <p:spPr>
              <a:xfrm>
                <a:off x="11064552" y="2852936"/>
                <a:ext cx="451683" cy="288032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3" name="矩形 22"/>
              <p:cNvSpPr/>
              <p:nvPr/>
            </p:nvSpPr>
            <p:spPr>
              <a:xfrm>
                <a:off x="10488488" y="2780928"/>
                <a:ext cx="451683" cy="378192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4" name="矩形 23"/>
              <p:cNvSpPr/>
              <p:nvPr/>
            </p:nvSpPr>
            <p:spPr>
              <a:xfrm>
                <a:off x="9912424" y="2411812"/>
                <a:ext cx="451683" cy="738232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17" name="图片 1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24162" y="2688822"/>
              <a:ext cx="1167009" cy="1167009"/>
            </a:xfrm>
            <a:prstGeom prst="rect">
              <a:avLst/>
            </a:prstGeom>
          </p:spPr>
        </p:pic>
        <p:sp>
          <p:nvSpPr>
            <p:cNvPr id="18" name="文本框 17"/>
            <p:cNvSpPr txBox="1"/>
            <p:nvPr/>
          </p:nvSpPr>
          <p:spPr>
            <a:xfrm>
              <a:off x="5464760" y="2627051"/>
              <a:ext cx="367240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20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、单击此处添加您的目录标题</a:t>
              </a:r>
              <a:endPara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2135560" y="1412776"/>
            <a:ext cx="6873004" cy="4724969"/>
            <a:chOff x="2293036" y="1283270"/>
            <a:chExt cx="8203390" cy="5639566"/>
          </a:xfrm>
        </p:grpSpPr>
        <p:grpSp>
          <p:nvGrpSpPr>
            <p:cNvPr id="7" name="Group 14"/>
            <p:cNvGrpSpPr/>
            <p:nvPr/>
          </p:nvGrpSpPr>
          <p:grpSpPr bwMode="auto">
            <a:xfrm>
              <a:off x="5879976" y="3501008"/>
              <a:ext cx="4616450" cy="2894013"/>
              <a:chOff x="3217" y="2688"/>
              <a:chExt cx="2908" cy="1823"/>
            </a:xfrm>
            <a:solidFill>
              <a:srgbClr val="0070C0"/>
            </a:solidFill>
          </p:grpSpPr>
          <p:sp>
            <p:nvSpPr>
              <p:cNvPr id="42" name="Freeform 15"/>
              <p:cNvSpPr>
                <a:spLocks noChangeArrowheads="1"/>
              </p:cNvSpPr>
              <p:nvPr/>
            </p:nvSpPr>
            <p:spPr bwMode="auto">
              <a:xfrm>
                <a:off x="3217" y="3039"/>
                <a:ext cx="2908" cy="1472"/>
              </a:xfrm>
              <a:custGeom>
                <a:avLst/>
                <a:gdLst>
                  <a:gd name="T0" fmla="*/ 311 w 12822"/>
                  <a:gd name="T1" fmla="*/ 0 h 6490"/>
                  <a:gd name="T2" fmla="*/ 660 w 12822"/>
                  <a:gd name="T3" fmla="*/ 131 h 6490"/>
                  <a:gd name="T4" fmla="*/ 424 w 12822"/>
                  <a:gd name="T5" fmla="*/ 334 h 6490"/>
                  <a:gd name="T6" fmla="*/ 0 w 12822"/>
                  <a:gd name="T7" fmla="*/ 131 h 6490"/>
                  <a:gd name="T8" fmla="*/ 311 w 12822"/>
                  <a:gd name="T9" fmla="*/ 0 h 649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2822" h="6490">
                    <a:moveTo>
                      <a:pt x="6041" y="0"/>
                    </a:moveTo>
                    <a:lnTo>
                      <a:pt x="12821" y="2552"/>
                    </a:lnTo>
                    <a:lnTo>
                      <a:pt x="8237" y="6489"/>
                    </a:lnTo>
                    <a:lnTo>
                      <a:pt x="0" y="2546"/>
                    </a:lnTo>
                    <a:lnTo>
                      <a:pt x="6041" y="0"/>
                    </a:lnTo>
                  </a:path>
                </a:pathLst>
              </a:custGeom>
              <a:grpFill/>
              <a:ln w="9525">
                <a:solidFill>
                  <a:srgbClr val="2676FF">
                    <a:lumMod val="75000"/>
                  </a:srgbClr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3" name="Freeform 16"/>
              <p:cNvSpPr>
                <a:spLocks noChangeArrowheads="1"/>
              </p:cNvSpPr>
              <p:nvPr/>
            </p:nvSpPr>
            <p:spPr bwMode="auto">
              <a:xfrm>
                <a:off x="5004" y="3051"/>
                <a:ext cx="1112" cy="1459"/>
              </a:xfrm>
              <a:custGeom>
                <a:avLst/>
                <a:gdLst>
                  <a:gd name="T0" fmla="*/ 0 w 4904"/>
                  <a:gd name="T1" fmla="*/ 133 h 6434"/>
                  <a:gd name="T2" fmla="*/ 175 w 4904"/>
                  <a:gd name="T3" fmla="*/ 0 h 6434"/>
                  <a:gd name="T4" fmla="*/ 252 w 4904"/>
                  <a:gd name="T5" fmla="*/ 129 h 6434"/>
                  <a:gd name="T6" fmla="*/ 16 w 4904"/>
                  <a:gd name="T7" fmla="*/ 331 h 6434"/>
                  <a:gd name="T8" fmla="*/ 0 w 4904"/>
                  <a:gd name="T9" fmla="*/ 133 h 643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904" h="6434">
                    <a:moveTo>
                      <a:pt x="0" y="2581"/>
                    </a:moveTo>
                    <a:lnTo>
                      <a:pt x="3403" y="0"/>
                    </a:lnTo>
                    <a:lnTo>
                      <a:pt x="4903" y="2503"/>
                    </a:lnTo>
                    <a:lnTo>
                      <a:pt x="312" y="6433"/>
                    </a:lnTo>
                    <a:lnTo>
                      <a:pt x="0" y="2581"/>
                    </a:lnTo>
                  </a:path>
                </a:pathLst>
              </a:custGeom>
              <a:solidFill>
                <a:srgbClr val="54B391"/>
              </a:solidFill>
              <a:ln w="9525">
                <a:solidFill>
                  <a:schemeClr val="bg1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4" name="Freeform 17"/>
              <p:cNvSpPr>
                <a:spLocks noChangeArrowheads="1"/>
              </p:cNvSpPr>
              <p:nvPr/>
            </p:nvSpPr>
            <p:spPr bwMode="auto">
              <a:xfrm>
                <a:off x="3229" y="2688"/>
                <a:ext cx="1415" cy="918"/>
              </a:xfrm>
              <a:custGeom>
                <a:avLst/>
                <a:gdLst>
                  <a:gd name="T0" fmla="*/ 85 w 6241"/>
                  <a:gd name="T1" fmla="*/ 80 h 4046"/>
                  <a:gd name="T2" fmla="*/ 321 w 6241"/>
                  <a:gd name="T3" fmla="*/ 0 h 4046"/>
                  <a:gd name="T4" fmla="*/ 311 w 6241"/>
                  <a:gd name="T5" fmla="*/ 80 h 4046"/>
                  <a:gd name="T6" fmla="*/ 0 w 6241"/>
                  <a:gd name="T7" fmla="*/ 208 h 4046"/>
                  <a:gd name="T8" fmla="*/ 85 w 6241"/>
                  <a:gd name="T9" fmla="*/ 80 h 404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241" h="4046">
                    <a:moveTo>
                      <a:pt x="1647" y="1549"/>
                    </a:moveTo>
                    <a:lnTo>
                      <a:pt x="6240" y="0"/>
                    </a:lnTo>
                    <a:lnTo>
                      <a:pt x="6041" y="1549"/>
                    </a:lnTo>
                    <a:lnTo>
                      <a:pt x="0" y="4045"/>
                    </a:lnTo>
                    <a:lnTo>
                      <a:pt x="1647" y="1549"/>
                    </a:lnTo>
                  </a:path>
                </a:pathLst>
              </a:custGeom>
              <a:grpFill/>
              <a:ln w="9525">
                <a:solidFill>
                  <a:srgbClr val="2676FF">
                    <a:lumMod val="75000"/>
                  </a:srgbClr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5" name="Freeform 18"/>
              <p:cNvSpPr>
                <a:spLocks noChangeArrowheads="1"/>
              </p:cNvSpPr>
              <p:nvPr/>
            </p:nvSpPr>
            <p:spPr bwMode="auto">
              <a:xfrm>
                <a:off x="3614" y="2699"/>
                <a:ext cx="2162" cy="928"/>
              </a:xfrm>
              <a:custGeom>
                <a:avLst/>
                <a:gdLst>
                  <a:gd name="T0" fmla="*/ 231 w 9536"/>
                  <a:gd name="T1" fmla="*/ 0 h 4091"/>
                  <a:gd name="T2" fmla="*/ 490 w 9536"/>
                  <a:gd name="T3" fmla="*/ 82 h 4091"/>
                  <a:gd name="T4" fmla="*/ 315 w 9536"/>
                  <a:gd name="T5" fmla="*/ 211 h 4091"/>
                  <a:gd name="T6" fmla="*/ 0 w 9536"/>
                  <a:gd name="T7" fmla="*/ 77 h 4091"/>
                  <a:gd name="T8" fmla="*/ 231 w 9536"/>
                  <a:gd name="T9" fmla="*/ 0 h 409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536" h="4091">
                    <a:moveTo>
                      <a:pt x="4493" y="0"/>
                    </a:moveTo>
                    <a:lnTo>
                      <a:pt x="9535" y="1598"/>
                    </a:lnTo>
                    <a:lnTo>
                      <a:pt x="6132" y="4090"/>
                    </a:lnTo>
                    <a:lnTo>
                      <a:pt x="0" y="1499"/>
                    </a:lnTo>
                    <a:lnTo>
                      <a:pt x="4493" y="0"/>
                    </a:lnTo>
                  </a:path>
                </a:pathLst>
              </a:custGeom>
              <a:solidFill>
                <a:srgbClr val="54B391"/>
              </a:solidFill>
              <a:ln w="9525">
                <a:solidFill>
                  <a:schemeClr val="bg1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6" name="Freeform 19"/>
              <p:cNvSpPr>
                <a:spLocks noChangeArrowheads="1"/>
              </p:cNvSpPr>
              <p:nvPr/>
            </p:nvSpPr>
            <p:spPr bwMode="auto">
              <a:xfrm>
                <a:off x="3217" y="3039"/>
                <a:ext cx="1866" cy="1470"/>
              </a:xfrm>
              <a:custGeom>
                <a:avLst/>
                <a:gdLst>
                  <a:gd name="T0" fmla="*/ 87 w 8230"/>
                  <a:gd name="T1" fmla="*/ 0 h 6483"/>
                  <a:gd name="T2" fmla="*/ 403 w 8230"/>
                  <a:gd name="T3" fmla="*/ 133 h 6483"/>
                  <a:gd name="T4" fmla="*/ 423 w 8230"/>
                  <a:gd name="T5" fmla="*/ 333 h 6483"/>
                  <a:gd name="T6" fmla="*/ 0 w 8230"/>
                  <a:gd name="T7" fmla="*/ 131 h 6483"/>
                  <a:gd name="T8" fmla="*/ 87 w 8230"/>
                  <a:gd name="T9" fmla="*/ 0 h 648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8230" h="6483">
                    <a:moveTo>
                      <a:pt x="1697" y="0"/>
                    </a:moveTo>
                    <a:lnTo>
                      <a:pt x="7840" y="2591"/>
                    </a:lnTo>
                    <a:lnTo>
                      <a:pt x="8229" y="6482"/>
                    </a:lnTo>
                    <a:lnTo>
                      <a:pt x="0" y="2546"/>
                    </a:lnTo>
                    <a:lnTo>
                      <a:pt x="1697" y="0"/>
                    </a:lnTo>
                  </a:path>
                </a:pathLst>
              </a:custGeom>
              <a:solidFill>
                <a:srgbClr val="54B391"/>
              </a:solidFill>
              <a:ln w="9525">
                <a:solidFill>
                  <a:schemeClr val="bg1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8" name="组合 36"/>
            <p:cNvGrpSpPr/>
            <p:nvPr/>
          </p:nvGrpSpPr>
          <p:grpSpPr>
            <a:xfrm>
              <a:off x="2358057" y="4161184"/>
              <a:ext cx="3239914" cy="439086"/>
              <a:chOff x="635310" y="4234899"/>
              <a:chExt cx="3239914" cy="439086"/>
            </a:xfrm>
          </p:grpSpPr>
          <p:sp>
            <p:nvSpPr>
              <p:cNvPr id="40" name="Line 7"/>
              <p:cNvSpPr>
                <a:spLocks noChangeShapeType="1"/>
              </p:cNvSpPr>
              <p:nvPr/>
            </p:nvSpPr>
            <p:spPr bwMode="auto">
              <a:xfrm>
                <a:off x="639037" y="4634949"/>
                <a:ext cx="3181642" cy="1587"/>
              </a:xfrm>
              <a:prstGeom prst="line">
                <a:avLst/>
              </a:prstGeom>
              <a:noFill/>
              <a:ln w="9525">
                <a:solidFill>
                  <a:sysClr val="window" lastClr="FFFFFF">
                    <a:lumMod val="75000"/>
                  </a:sysClr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1" name="Text Box 13"/>
              <p:cNvSpPr txBox="1">
                <a:spLocks noChangeArrowheads="1"/>
              </p:cNvSpPr>
              <p:nvPr/>
            </p:nvSpPr>
            <p:spPr bwMode="auto">
              <a:xfrm>
                <a:off x="635310" y="4234899"/>
                <a:ext cx="3239914" cy="43908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0000" tIns="45000" rIns="90000" bIns="45000">
                <a:spAutoFit/>
              </a:bodyPr>
              <a:lstStyle>
                <a:defPPr>
                  <a:defRPr lang="zh-CN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 kumimoji="0" i="0" u="none" strike="noStrike" kern="0" cap="none" spc="0" normalizeH="0" baseline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eaLnBrk="0"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eaLnBrk="0"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eaLnBrk="0"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eaLnBrk="0"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defTabSz="448945" eaLnBrk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6" charset="0"/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defTabSz="448945" eaLnBrk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6" charset="0"/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defTabSz="448945" eaLnBrk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6" charset="0"/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defTabSz="448945" eaLnBrk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6" charset="0"/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>
                  <a:defRPr/>
                </a:pPr>
                <a:r>
                  <a:rPr lang="en-US" altLang="zh-CN" dirty="0">
                    <a:solidFill>
                      <a:schemeClr val="bg1"/>
                    </a:solidFill>
                  </a:rPr>
                  <a:t>4. </a:t>
                </a:r>
                <a:r>
                  <a:rPr lang="zh-CN" altLang="en-US" dirty="0">
                    <a:solidFill>
                      <a:schemeClr val="bg1"/>
                    </a:solidFill>
                  </a:rPr>
                  <a:t>点击输入文本</a:t>
                </a:r>
                <a:endParaRPr lang="en-US" altLang="zh-CN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9" name="Group 20"/>
            <p:cNvGrpSpPr/>
            <p:nvPr/>
          </p:nvGrpSpPr>
          <p:grpSpPr bwMode="auto">
            <a:xfrm>
              <a:off x="6603876" y="2800920"/>
              <a:ext cx="3216275" cy="1887537"/>
              <a:chOff x="3673" y="2247"/>
              <a:chExt cx="2026" cy="1189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36" name="Freeform 21"/>
              <p:cNvSpPr>
                <a:spLocks noChangeArrowheads="1"/>
              </p:cNvSpPr>
              <p:nvPr/>
            </p:nvSpPr>
            <p:spPr bwMode="auto">
              <a:xfrm>
                <a:off x="3681" y="2581"/>
                <a:ext cx="2018" cy="851"/>
              </a:xfrm>
              <a:custGeom>
                <a:avLst/>
                <a:gdLst>
                  <a:gd name="T0" fmla="*/ 208 w 8901"/>
                  <a:gd name="T1" fmla="*/ 0 h 3753"/>
                  <a:gd name="T2" fmla="*/ 458 w 8901"/>
                  <a:gd name="T3" fmla="*/ 79 h 3753"/>
                  <a:gd name="T4" fmla="*/ 294 w 8901"/>
                  <a:gd name="T5" fmla="*/ 193 h 3753"/>
                  <a:gd name="T6" fmla="*/ 0 w 8901"/>
                  <a:gd name="T7" fmla="*/ 74 h 3753"/>
                  <a:gd name="T8" fmla="*/ 208 w 8901"/>
                  <a:gd name="T9" fmla="*/ 0 h 375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8901" h="3753">
                    <a:moveTo>
                      <a:pt x="4041" y="0"/>
                    </a:moveTo>
                    <a:lnTo>
                      <a:pt x="8900" y="1539"/>
                    </a:lnTo>
                    <a:lnTo>
                      <a:pt x="5725" y="3752"/>
                    </a:lnTo>
                    <a:lnTo>
                      <a:pt x="0" y="1443"/>
                    </a:lnTo>
                    <a:lnTo>
                      <a:pt x="4041" y="0"/>
                    </a:lnTo>
                  </a:path>
                </a:pathLst>
              </a:custGeom>
              <a:grpFill/>
              <a:ln w="9525">
                <a:solidFill>
                  <a:srgbClr val="C0C0C0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7" name="Freeform 22"/>
              <p:cNvSpPr>
                <a:spLocks noChangeArrowheads="1"/>
              </p:cNvSpPr>
              <p:nvPr/>
            </p:nvSpPr>
            <p:spPr bwMode="auto">
              <a:xfrm>
                <a:off x="4014" y="2247"/>
                <a:ext cx="1434" cy="468"/>
              </a:xfrm>
              <a:custGeom>
                <a:avLst/>
                <a:gdLst>
                  <a:gd name="T0" fmla="*/ 134 w 6322"/>
                  <a:gd name="T1" fmla="*/ 0 h 2065"/>
                  <a:gd name="T2" fmla="*/ 325 w 6322"/>
                  <a:gd name="T3" fmla="*/ 51 h 2065"/>
                  <a:gd name="T4" fmla="*/ 207 w 6322"/>
                  <a:gd name="T5" fmla="*/ 106 h 2065"/>
                  <a:gd name="T6" fmla="*/ 0 w 6322"/>
                  <a:gd name="T7" fmla="*/ 41 h 2065"/>
                  <a:gd name="T8" fmla="*/ 134 w 6322"/>
                  <a:gd name="T9" fmla="*/ 0 h 206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322" h="2065">
                    <a:moveTo>
                      <a:pt x="2602" y="0"/>
                    </a:moveTo>
                    <a:lnTo>
                      <a:pt x="6321" y="1000"/>
                    </a:lnTo>
                    <a:lnTo>
                      <a:pt x="4019" y="2064"/>
                    </a:lnTo>
                    <a:lnTo>
                      <a:pt x="0" y="798"/>
                    </a:lnTo>
                    <a:lnTo>
                      <a:pt x="2602" y="0"/>
                    </a:lnTo>
                  </a:path>
                </a:pathLst>
              </a:custGeom>
              <a:solidFill>
                <a:srgbClr val="F79E1E"/>
              </a:solidFill>
              <a:ln w="9525">
                <a:solidFill>
                  <a:schemeClr val="bg1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8" name="Freeform 23"/>
              <p:cNvSpPr>
                <a:spLocks noChangeArrowheads="1"/>
              </p:cNvSpPr>
              <p:nvPr/>
            </p:nvSpPr>
            <p:spPr bwMode="auto">
              <a:xfrm>
                <a:off x="3673" y="2425"/>
                <a:ext cx="1310" cy="1012"/>
              </a:xfrm>
              <a:custGeom>
                <a:avLst/>
                <a:gdLst>
                  <a:gd name="T0" fmla="*/ 78 w 5776"/>
                  <a:gd name="T1" fmla="*/ 0 h 4462"/>
                  <a:gd name="T2" fmla="*/ 284 w 5776"/>
                  <a:gd name="T3" fmla="*/ 65 h 4462"/>
                  <a:gd name="T4" fmla="*/ 297 w 5776"/>
                  <a:gd name="T5" fmla="*/ 230 h 4462"/>
                  <a:gd name="T6" fmla="*/ 0 w 5776"/>
                  <a:gd name="T7" fmla="*/ 110 h 4462"/>
                  <a:gd name="T8" fmla="*/ 78 w 5776"/>
                  <a:gd name="T9" fmla="*/ 0 h 446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776" h="4462">
                    <a:moveTo>
                      <a:pt x="1509" y="0"/>
                    </a:moveTo>
                    <a:lnTo>
                      <a:pt x="5531" y="1260"/>
                    </a:lnTo>
                    <a:lnTo>
                      <a:pt x="5775" y="4461"/>
                    </a:lnTo>
                    <a:lnTo>
                      <a:pt x="0" y="2138"/>
                    </a:lnTo>
                    <a:lnTo>
                      <a:pt x="1509" y="0"/>
                    </a:lnTo>
                  </a:path>
                </a:pathLst>
              </a:custGeom>
              <a:solidFill>
                <a:srgbClr val="F79E1E"/>
              </a:solidFill>
              <a:ln w="9525">
                <a:solidFill>
                  <a:schemeClr val="bg1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9" name="Freeform 24"/>
              <p:cNvSpPr>
                <a:spLocks noChangeArrowheads="1"/>
              </p:cNvSpPr>
              <p:nvPr/>
            </p:nvSpPr>
            <p:spPr bwMode="auto">
              <a:xfrm>
                <a:off x="4925" y="2473"/>
                <a:ext cx="774" cy="960"/>
              </a:xfrm>
              <a:custGeom>
                <a:avLst/>
                <a:gdLst>
                  <a:gd name="T0" fmla="*/ 0 w 3414"/>
                  <a:gd name="T1" fmla="*/ 55 h 4233"/>
                  <a:gd name="T2" fmla="*/ 118 w 3414"/>
                  <a:gd name="T3" fmla="*/ 0 h 4233"/>
                  <a:gd name="T4" fmla="*/ 175 w 3414"/>
                  <a:gd name="T5" fmla="*/ 103 h 4233"/>
                  <a:gd name="T6" fmla="*/ 12 w 3414"/>
                  <a:gd name="T7" fmla="*/ 218 h 4233"/>
                  <a:gd name="T8" fmla="*/ 0 w 3414"/>
                  <a:gd name="T9" fmla="*/ 55 h 423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14" h="4233">
                    <a:moveTo>
                      <a:pt x="0" y="1064"/>
                    </a:moveTo>
                    <a:lnTo>
                      <a:pt x="2302" y="0"/>
                    </a:lnTo>
                    <a:lnTo>
                      <a:pt x="3413" y="2006"/>
                    </a:lnTo>
                    <a:lnTo>
                      <a:pt x="235" y="4232"/>
                    </a:lnTo>
                    <a:lnTo>
                      <a:pt x="0" y="1064"/>
                    </a:lnTo>
                  </a:path>
                </a:pathLst>
              </a:custGeom>
              <a:solidFill>
                <a:srgbClr val="F79E1E"/>
              </a:solidFill>
              <a:ln w="9525">
                <a:solidFill>
                  <a:schemeClr val="bg1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0" name="Group 25"/>
            <p:cNvGrpSpPr/>
            <p:nvPr/>
          </p:nvGrpSpPr>
          <p:grpSpPr bwMode="auto">
            <a:xfrm>
              <a:off x="7246819" y="2081783"/>
              <a:ext cx="2052639" cy="1192213"/>
              <a:chOff x="4078" y="1794"/>
              <a:chExt cx="1293" cy="751"/>
            </a:xfrm>
          </p:grpSpPr>
          <p:sp>
            <p:nvSpPr>
              <p:cNvPr id="30" name="Freeform 26"/>
              <p:cNvSpPr>
                <a:spLocks noChangeArrowheads="1"/>
              </p:cNvSpPr>
              <p:nvPr/>
            </p:nvSpPr>
            <p:spPr bwMode="auto">
              <a:xfrm>
                <a:off x="4656" y="1801"/>
                <a:ext cx="715" cy="534"/>
              </a:xfrm>
              <a:custGeom>
                <a:avLst/>
                <a:gdLst>
                  <a:gd name="T0" fmla="*/ 8 w 3154"/>
                  <a:gd name="T1" fmla="*/ 0 h 2354"/>
                  <a:gd name="T2" fmla="*/ 110 w 3154"/>
                  <a:gd name="T3" fmla="*/ 13 h 2354"/>
                  <a:gd name="T4" fmla="*/ 162 w 3154"/>
                  <a:gd name="T5" fmla="*/ 121 h 2354"/>
                  <a:gd name="T6" fmla="*/ 0 w 3154"/>
                  <a:gd name="T7" fmla="*/ 79 h 2354"/>
                  <a:gd name="T8" fmla="*/ 8 w 3154"/>
                  <a:gd name="T9" fmla="*/ 0 h 23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154" h="2354">
                    <a:moveTo>
                      <a:pt x="154" y="0"/>
                    </a:moveTo>
                    <a:lnTo>
                      <a:pt x="2135" y="261"/>
                    </a:lnTo>
                    <a:lnTo>
                      <a:pt x="3153" y="2353"/>
                    </a:lnTo>
                    <a:lnTo>
                      <a:pt x="0" y="1538"/>
                    </a:lnTo>
                    <a:lnTo>
                      <a:pt x="154" y="0"/>
                    </a:lnTo>
                  </a:path>
                </a:pathLst>
              </a:custGeom>
              <a:solidFill>
                <a:srgbClr val="EAEAEA">
                  <a:alpha val="80000"/>
                </a:srgbClr>
              </a:solidFill>
              <a:ln w="9525">
                <a:solidFill>
                  <a:srgbClr val="C0C0C0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1" name="Freeform 27"/>
              <p:cNvSpPr>
                <a:spLocks noChangeArrowheads="1"/>
              </p:cNvSpPr>
              <p:nvPr/>
            </p:nvSpPr>
            <p:spPr bwMode="auto">
              <a:xfrm>
                <a:off x="4078" y="2146"/>
                <a:ext cx="1291" cy="396"/>
              </a:xfrm>
              <a:custGeom>
                <a:avLst/>
                <a:gdLst>
                  <a:gd name="T0" fmla="*/ 128 w 5691"/>
                  <a:gd name="T1" fmla="*/ 0 h 1748"/>
                  <a:gd name="T2" fmla="*/ 293 w 5691"/>
                  <a:gd name="T3" fmla="*/ 41 h 1748"/>
                  <a:gd name="T4" fmla="*/ 188 w 5691"/>
                  <a:gd name="T5" fmla="*/ 90 h 1748"/>
                  <a:gd name="T6" fmla="*/ 0 w 5691"/>
                  <a:gd name="T7" fmla="*/ 38 h 1748"/>
                  <a:gd name="T8" fmla="*/ 128 w 5691"/>
                  <a:gd name="T9" fmla="*/ 0 h 17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691" h="1748">
                    <a:moveTo>
                      <a:pt x="2496" y="0"/>
                    </a:moveTo>
                    <a:lnTo>
                      <a:pt x="5690" y="801"/>
                    </a:lnTo>
                    <a:lnTo>
                      <a:pt x="3644" y="1747"/>
                    </a:lnTo>
                    <a:lnTo>
                      <a:pt x="0" y="748"/>
                    </a:lnTo>
                    <a:lnTo>
                      <a:pt x="2496" y="0"/>
                    </a:lnTo>
                  </a:path>
                </a:pathLst>
              </a:custGeom>
              <a:solidFill>
                <a:srgbClr val="C0C0C0">
                  <a:alpha val="80000"/>
                </a:srgbClr>
              </a:solidFill>
              <a:ln w="9525">
                <a:solidFill>
                  <a:srgbClr val="C0C0C0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2" name="Freeform 28"/>
              <p:cNvSpPr>
                <a:spLocks noChangeArrowheads="1"/>
              </p:cNvSpPr>
              <p:nvPr/>
            </p:nvSpPr>
            <p:spPr bwMode="auto">
              <a:xfrm>
                <a:off x="4854" y="1861"/>
                <a:ext cx="514" cy="684"/>
              </a:xfrm>
              <a:custGeom>
                <a:avLst/>
                <a:gdLst>
                  <a:gd name="T0" fmla="*/ 0 w 2266"/>
                  <a:gd name="T1" fmla="*/ 15 h 3015"/>
                  <a:gd name="T2" fmla="*/ 61 w 2266"/>
                  <a:gd name="T3" fmla="*/ 0 h 3015"/>
                  <a:gd name="T4" fmla="*/ 117 w 2266"/>
                  <a:gd name="T5" fmla="*/ 106 h 3015"/>
                  <a:gd name="T6" fmla="*/ 12 w 2266"/>
                  <a:gd name="T7" fmla="*/ 155 h 3015"/>
                  <a:gd name="T8" fmla="*/ 0 w 2266"/>
                  <a:gd name="T9" fmla="*/ 15 h 30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266" h="3015">
                    <a:moveTo>
                      <a:pt x="0" y="282"/>
                    </a:moveTo>
                    <a:lnTo>
                      <a:pt x="1193" y="0"/>
                    </a:lnTo>
                    <a:lnTo>
                      <a:pt x="2265" y="2059"/>
                    </a:lnTo>
                    <a:lnTo>
                      <a:pt x="239" y="3014"/>
                    </a:lnTo>
                    <a:lnTo>
                      <a:pt x="0" y="282"/>
                    </a:lnTo>
                  </a:path>
                </a:pathLst>
              </a:custGeom>
              <a:solidFill>
                <a:srgbClr val="A4AC07">
                  <a:alpha val="80000"/>
                </a:srgbClr>
              </a:solidFill>
              <a:ln w="9525">
                <a:solidFill>
                  <a:schemeClr val="bg1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3" name="Freeform 29"/>
              <p:cNvSpPr>
                <a:spLocks noChangeArrowheads="1"/>
              </p:cNvSpPr>
              <p:nvPr/>
            </p:nvSpPr>
            <p:spPr bwMode="auto">
              <a:xfrm>
                <a:off x="4078" y="1801"/>
                <a:ext cx="611" cy="520"/>
              </a:xfrm>
              <a:custGeom>
                <a:avLst/>
                <a:gdLst>
                  <a:gd name="T0" fmla="*/ 72 w 2693"/>
                  <a:gd name="T1" fmla="*/ 12 h 2292"/>
                  <a:gd name="T2" fmla="*/ 139 w 2693"/>
                  <a:gd name="T3" fmla="*/ 0 h 2292"/>
                  <a:gd name="T4" fmla="*/ 132 w 2693"/>
                  <a:gd name="T5" fmla="*/ 78 h 2292"/>
                  <a:gd name="T6" fmla="*/ 0 w 2693"/>
                  <a:gd name="T7" fmla="*/ 118 h 2292"/>
                  <a:gd name="T8" fmla="*/ 72 w 2693"/>
                  <a:gd name="T9" fmla="*/ 12 h 229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693" h="2292">
                    <a:moveTo>
                      <a:pt x="1400" y="223"/>
                    </a:moveTo>
                    <a:lnTo>
                      <a:pt x="2692" y="0"/>
                    </a:lnTo>
                    <a:lnTo>
                      <a:pt x="2564" y="1525"/>
                    </a:lnTo>
                    <a:lnTo>
                      <a:pt x="0" y="2291"/>
                    </a:lnTo>
                    <a:lnTo>
                      <a:pt x="1400" y="223"/>
                    </a:lnTo>
                  </a:path>
                </a:pathLst>
              </a:custGeom>
              <a:solidFill>
                <a:srgbClr val="EAEAEA">
                  <a:alpha val="80000"/>
                </a:srgbClr>
              </a:solidFill>
              <a:ln w="9525">
                <a:solidFill>
                  <a:srgbClr val="C0C0C0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4" name="Freeform 30"/>
              <p:cNvSpPr>
                <a:spLocks noChangeArrowheads="1"/>
              </p:cNvSpPr>
              <p:nvPr/>
            </p:nvSpPr>
            <p:spPr bwMode="auto">
              <a:xfrm>
                <a:off x="4082" y="1855"/>
                <a:ext cx="827" cy="689"/>
              </a:xfrm>
              <a:custGeom>
                <a:avLst/>
                <a:gdLst>
                  <a:gd name="T0" fmla="*/ 71 w 3645"/>
                  <a:gd name="T1" fmla="*/ 0 h 3037"/>
                  <a:gd name="T2" fmla="*/ 174 w 3645"/>
                  <a:gd name="T3" fmla="*/ 16 h 3037"/>
                  <a:gd name="T4" fmla="*/ 188 w 3645"/>
                  <a:gd name="T5" fmla="*/ 156 h 3037"/>
                  <a:gd name="T6" fmla="*/ 0 w 3645"/>
                  <a:gd name="T7" fmla="*/ 105 h 3037"/>
                  <a:gd name="T8" fmla="*/ 71 w 3645"/>
                  <a:gd name="T9" fmla="*/ 0 h 303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645" h="3037">
                    <a:moveTo>
                      <a:pt x="1388" y="0"/>
                    </a:moveTo>
                    <a:lnTo>
                      <a:pt x="3383" y="304"/>
                    </a:lnTo>
                    <a:lnTo>
                      <a:pt x="3644" y="3036"/>
                    </a:lnTo>
                    <a:lnTo>
                      <a:pt x="0" y="2040"/>
                    </a:lnTo>
                    <a:lnTo>
                      <a:pt x="1388" y="0"/>
                    </a:lnTo>
                  </a:path>
                </a:pathLst>
              </a:custGeom>
              <a:solidFill>
                <a:srgbClr val="A4AC07">
                  <a:alpha val="80000"/>
                </a:srgbClr>
              </a:solidFill>
              <a:ln w="9525">
                <a:solidFill>
                  <a:schemeClr val="bg1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5" name="Freeform 31"/>
              <p:cNvSpPr>
                <a:spLocks noChangeArrowheads="1"/>
              </p:cNvSpPr>
              <p:nvPr/>
            </p:nvSpPr>
            <p:spPr bwMode="auto">
              <a:xfrm>
                <a:off x="4391" y="1794"/>
                <a:ext cx="736" cy="129"/>
              </a:xfrm>
              <a:custGeom>
                <a:avLst/>
                <a:gdLst>
                  <a:gd name="T0" fmla="*/ 72 w 3247"/>
                  <a:gd name="T1" fmla="*/ 0 h 571"/>
                  <a:gd name="T2" fmla="*/ 167 w 3247"/>
                  <a:gd name="T3" fmla="*/ 14 h 571"/>
                  <a:gd name="T4" fmla="*/ 105 w 3247"/>
                  <a:gd name="T5" fmla="*/ 29 h 571"/>
                  <a:gd name="T6" fmla="*/ 0 w 3247"/>
                  <a:gd name="T7" fmla="*/ 12 h 571"/>
                  <a:gd name="T8" fmla="*/ 72 w 3247"/>
                  <a:gd name="T9" fmla="*/ 0 h 57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247" h="571">
                    <a:moveTo>
                      <a:pt x="1395" y="0"/>
                    </a:moveTo>
                    <a:lnTo>
                      <a:pt x="3246" y="275"/>
                    </a:lnTo>
                    <a:lnTo>
                      <a:pt x="2042" y="570"/>
                    </a:lnTo>
                    <a:lnTo>
                      <a:pt x="0" y="240"/>
                    </a:lnTo>
                    <a:lnTo>
                      <a:pt x="1395" y="0"/>
                    </a:lnTo>
                  </a:path>
                </a:pathLst>
              </a:custGeom>
              <a:solidFill>
                <a:srgbClr val="A4AC07">
                  <a:alpha val="80000"/>
                </a:srgbClr>
              </a:solidFill>
              <a:ln w="9525">
                <a:solidFill>
                  <a:schemeClr val="bg1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1" name="Group 32"/>
            <p:cNvGrpSpPr/>
            <p:nvPr/>
          </p:nvGrpSpPr>
          <p:grpSpPr bwMode="auto">
            <a:xfrm>
              <a:off x="7846888" y="1283270"/>
              <a:ext cx="974725" cy="817562"/>
              <a:chOff x="4456" y="1291"/>
              <a:chExt cx="614" cy="515"/>
            </a:xfrm>
          </p:grpSpPr>
          <p:sp>
            <p:nvSpPr>
              <p:cNvPr id="27" name="Freeform 33"/>
              <p:cNvSpPr>
                <a:spLocks noChangeArrowheads="1"/>
              </p:cNvSpPr>
              <p:nvPr/>
            </p:nvSpPr>
            <p:spPr bwMode="auto">
              <a:xfrm>
                <a:off x="4456" y="1699"/>
                <a:ext cx="615" cy="108"/>
              </a:xfrm>
              <a:custGeom>
                <a:avLst/>
                <a:gdLst>
                  <a:gd name="T0" fmla="*/ 65 w 2711"/>
                  <a:gd name="T1" fmla="*/ 0 h 478"/>
                  <a:gd name="T2" fmla="*/ 140 w 2711"/>
                  <a:gd name="T3" fmla="*/ 12 h 478"/>
                  <a:gd name="T4" fmla="*/ 87 w 2711"/>
                  <a:gd name="T5" fmla="*/ 24 h 478"/>
                  <a:gd name="T6" fmla="*/ 0 w 2711"/>
                  <a:gd name="T7" fmla="*/ 10 h 478"/>
                  <a:gd name="T8" fmla="*/ 65 w 2711"/>
                  <a:gd name="T9" fmla="*/ 0 h 47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711" h="478">
                    <a:moveTo>
                      <a:pt x="1257" y="0"/>
                    </a:moveTo>
                    <a:lnTo>
                      <a:pt x="2710" y="239"/>
                    </a:lnTo>
                    <a:lnTo>
                      <a:pt x="1691" y="477"/>
                    </a:lnTo>
                    <a:lnTo>
                      <a:pt x="0" y="195"/>
                    </a:lnTo>
                    <a:lnTo>
                      <a:pt x="1257" y="0"/>
                    </a:lnTo>
                  </a:path>
                </a:pathLst>
              </a:custGeom>
              <a:solidFill>
                <a:srgbClr val="C0C0C0">
                  <a:alpha val="80000"/>
                </a:srgbClr>
              </a:solidFill>
              <a:ln w="9525">
                <a:solidFill>
                  <a:srgbClr val="C0C0C0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8" name="Freeform 34"/>
              <p:cNvSpPr>
                <a:spLocks noChangeArrowheads="1"/>
              </p:cNvSpPr>
              <p:nvPr/>
            </p:nvSpPr>
            <p:spPr bwMode="auto">
              <a:xfrm>
                <a:off x="4456" y="1291"/>
                <a:ext cx="384" cy="517"/>
              </a:xfrm>
              <a:custGeom>
                <a:avLst/>
                <a:gdLst>
                  <a:gd name="T0" fmla="*/ 75 w 1692"/>
                  <a:gd name="T1" fmla="*/ 0 h 2278"/>
                  <a:gd name="T2" fmla="*/ 87 w 1692"/>
                  <a:gd name="T3" fmla="*/ 117 h 2278"/>
                  <a:gd name="T4" fmla="*/ 0 w 1692"/>
                  <a:gd name="T5" fmla="*/ 102 h 2278"/>
                  <a:gd name="T6" fmla="*/ 75 w 1692"/>
                  <a:gd name="T7" fmla="*/ 0 h 227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692" h="2278">
                    <a:moveTo>
                      <a:pt x="1449" y="0"/>
                    </a:moveTo>
                    <a:lnTo>
                      <a:pt x="1691" y="2277"/>
                    </a:lnTo>
                    <a:lnTo>
                      <a:pt x="0" y="1973"/>
                    </a:lnTo>
                    <a:lnTo>
                      <a:pt x="1449" y="0"/>
                    </a:lnTo>
                  </a:path>
                </a:pathLst>
              </a:custGeom>
              <a:solidFill>
                <a:srgbClr val="D54B19">
                  <a:alpha val="80000"/>
                </a:srgbClr>
              </a:solidFill>
              <a:ln w="9525">
                <a:solidFill>
                  <a:schemeClr val="bg1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 b="1" kern="0" dirty="0">
                  <a:ln w="18000">
                    <a:solidFill>
                      <a:srgbClr val="C0504D">
                        <a:satMod val="140000"/>
                      </a:srgbClr>
                    </a:solidFill>
                    <a:prstDash val="solid"/>
                    <a:miter lim="800000"/>
                  </a:ln>
                  <a:noFill/>
                  <a:effectLst>
                    <a:outerShdw blurRad="25500" dist="23000" dir="7020000" algn="tl">
                      <a:srgbClr val="000000">
                        <a:alpha val="50000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9" name="Freeform 35"/>
              <p:cNvSpPr>
                <a:spLocks noChangeArrowheads="1"/>
              </p:cNvSpPr>
              <p:nvPr/>
            </p:nvSpPr>
            <p:spPr bwMode="auto">
              <a:xfrm>
                <a:off x="4785" y="1291"/>
                <a:ext cx="286" cy="517"/>
              </a:xfrm>
              <a:custGeom>
                <a:avLst/>
                <a:gdLst>
                  <a:gd name="T0" fmla="*/ 0 w 1262"/>
                  <a:gd name="T1" fmla="*/ 0 h 2278"/>
                  <a:gd name="T2" fmla="*/ 65 w 1262"/>
                  <a:gd name="T3" fmla="*/ 104 h 2278"/>
                  <a:gd name="T4" fmla="*/ 12 w 1262"/>
                  <a:gd name="T5" fmla="*/ 117 h 2278"/>
                  <a:gd name="T6" fmla="*/ 0 w 1262"/>
                  <a:gd name="T7" fmla="*/ 0 h 227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262" h="2278">
                    <a:moveTo>
                      <a:pt x="0" y="0"/>
                    </a:moveTo>
                    <a:lnTo>
                      <a:pt x="1261" y="2017"/>
                    </a:lnTo>
                    <a:lnTo>
                      <a:pt x="242" y="2277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D54B19">
                  <a:alpha val="80000"/>
                </a:srgbClr>
              </a:solidFill>
              <a:ln w="9525">
                <a:solidFill>
                  <a:schemeClr val="bg1"/>
                </a:solidFill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2" name="组合 40"/>
            <p:cNvGrpSpPr/>
            <p:nvPr/>
          </p:nvGrpSpPr>
          <p:grpSpPr>
            <a:xfrm>
              <a:off x="2361784" y="3235217"/>
              <a:ext cx="3951469" cy="439086"/>
              <a:chOff x="-76245" y="4234899"/>
              <a:chExt cx="3951469" cy="439086"/>
            </a:xfrm>
          </p:grpSpPr>
          <p:sp>
            <p:nvSpPr>
              <p:cNvPr id="25" name="Line 7"/>
              <p:cNvSpPr>
                <a:spLocks noChangeShapeType="1"/>
              </p:cNvSpPr>
              <p:nvPr/>
            </p:nvSpPr>
            <p:spPr bwMode="auto">
              <a:xfrm>
                <a:off x="-76245" y="4636536"/>
                <a:ext cx="3896924" cy="0"/>
              </a:xfrm>
              <a:prstGeom prst="line">
                <a:avLst/>
              </a:prstGeom>
              <a:noFill/>
              <a:ln w="9525">
                <a:solidFill>
                  <a:sysClr val="window" lastClr="FFFFFF">
                    <a:lumMod val="75000"/>
                  </a:sysClr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" name="Text Box 13"/>
              <p:cNvSpPr txBox="1">
                <a:spLocks noChangeArrowheads="1"/>
              </p:cNvSpPr>
              <p:nvPr/>
            </p:nvSpPr>
            <p:spPr bwMode="auto">
              <a:xfrm>
                <a:off x="-76245" y="4234899"/>
                <a:ext cx="3951469" cy="43908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0000" tIns="45000" rIns="90000" bIns="45000">
                <a:spAutoFit/>
              </a:bodyPr>
              <a:lstStyle>
                <a:defPPr>
                  <a:defRPr lang="zh-CN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 kumimoji="0" i="0" u="none" strike="noStrike" kern="0" cap="none" spc="0" normalizeH="0" baseline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eaLnBrk="0"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eaLnBrk="0"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eaLnBrk="0"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eaLnBrk="0"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defTabSz="448945" eaLnBrk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6" charset="0"/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defTabSz="448945" eaLnBrk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6" charset="0"/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defTabSz="448945" eaLnBrk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6" charset="0"/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defTabSz="448945" eaLnBrk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6" charset="0"/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>
                  <a:defRPr/>
                </a:pPr>
                <a:r>
                  <a:rPr lang="en-US" altLang="zh-CN" dirty="0">
                    <a:solidFill>
                      <a:schemeClr val="bg1"/>
                    </a:solidFill>
                  </a:rPr>
                  <a:t>3. </a:t>
                </a:r>
                <a:r>
                  <a:rPr lang="zh-CN" altLang="en-US" dirty="0">
                    <a:solidFill>
                      <a:schemeClr val="bg1"/>
                    </a:solidFill>
                  </a:rPr>
                  <a:t>点击输入文本</a:t>
                </a:r>
                <a:endParaRPr lang="en-US" altLang="zh-CN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3" name="组合 43"/>
            <p:cNvGrpSpPr/>
            <p:nvPr/>
          </p:nvGrpSpPr>
          <p:grpSpPr>
            <a:xfrm>
              <a:off x="2361784" y="2309250"/>
              <a:ext cx="4600914" cy="439086"/>
              <a:chOff x="-725690" y="4234899"/>
              <a:chExt cx="4600914" cy="439086"/>
            </a:xfrm>
          </p:grpSpPr>
          <p:sp>
            <p:nvSpPr>
              <p:cNvPr id="23" name="Line 7"/>
              <p:cNvSpPr>
                <a:spLocks noChangeShapeType="1"/>
              </p:cNvSpPr>
              <p:nvPr/>
            </p:nvSpPr>
            <p:spPr bwMode="auto">
              <a:xfrm>
                <a:off x="-725690" y="4636536"/>
                <a:ext cx="4546369" cy="0"/>
              </a:xfrm>
              <a:prstGeom prst="line">
                <a:avLst/>
              </a:prstGeom>
              <a:noFill/>
              <a:ln w="9525">
                <a:solidFill>
                  <a:sysClr val="window" lastClr="FFFFFF">
                    <a:lumMod val="75000"/>
                  </a:sysClr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4" name="Text Box 13"/>
              <p:cNvSpPr txBox="1">
                <a:spLocks noChangeArrowheads="1"/>
              </p:cNvSpPr>
              <p:nvPr/>
            </p:nvSpPr>
            <p:spPr bwMode="auto">
              <a:xfrm>
                <a:off x="-725690" y="4234899"/>
                <a:ext cx="4600914" cy="43908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0000" tIns="45000" rIns="90000" bIns="45000">
                <a:spAutoFit/>
              </a:bodyPr>
              <a:lstStyle>
                <a:defPPr>
                  <a:defRPr lang="zh-CN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 kumimoji="0" i="0" u="none" strike="noStrike" kern="0" cap="none" spc="0" normalizeH="0" baseline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eaLnBrk="0"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eaLnBrk="0"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eaLnBrk="0"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eaLnBrk="0"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defTabSz="448945" eaLnBrk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6" charset="0"/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defTabSz="448945" eaLnBrk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6" charset="0"/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defTabSz="448945" eaLnBrk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6" charset="0"/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defTabSz="448945" eaLnBrk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6" charset="0"/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>
                  <a:defRPr/>
                </a:pPr>
                <a:r>
                  <a:rPr lang="en-US" altLang="zh-CN" dirty="0">
                    <a:solidFill>
                      <a:schemeClr val="bg1"/>
                    </a:solidFill>
                  </a:rPr>
                  <a:t>2. </a:t>
                </a:r>
                <a:r>
                  <a:rPr lang="zh-CN" altLang="en-US" dirty="0">
                    <a:solidFill>
                      <a:schemeClr val="bg1"/>
                    </a:solidFill>
                  </a:rPr>
                  <a:t>点击输入文本</a:t>
                </a:r>
                <a:endParaRPr lang="en-US" altLang="zh-CN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" name="组合 46"/>
            <p:cNvGrpSpPr/>
            <p:nvPr/>
          </p:nvGrpSpPr>
          <p:grpSpPr>
            <a:xfrm>
              <a:off x="2361784" y="1383283"/>
              <a:ext cx="5207264" cy="439086"/>
              <a:chOff x="-1332040" y="4234899"/>
              <a:chExt cx="5207264" cy="439086"/>
            </a:xfrm>
          </p:grpSpPr>
          <p:sp>
            <p:nvSpPr>
              <p:cNvPr id="21" name="Line 7"/>
              <p:cNvSpPr>
                <a:spLocks noChangeShapeType="1"/>
              </p:cNvSpPr>
              <p:nvPr/>
            </p:nvSpPr>
            <p:spPr bwMode="auto">
              <a:xfrm>
                <a:off x="-1332040" y="4636536"/>
                <a:ext cx="5152719" cy="0"/>
              </a:xfrm>
              <a:prstGeom prst="line">
                <a:avLst/>
              </a:prstGeom>
              <a:noFill/>
              <a:ln w="9525">
                <a:solidFill>
                  <a:sysClr val="window" lastClr="FFFFFF">
                    <a:lumMod val="75000"/>
                  </a:sysClr>
                </a:solidFill>
                <a:rou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 kern="0" dirty="0">
                  <a:solidFill>
                    <a:sysClr val="windowText" lastClr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" name="Text Box 13"/>
              <p:cNvSpPr txBox="1">
                <a:spLocks noChangeArrowheads="1"/>
              </p:cNvSpPr>
              <p:nvPr/>
            </p:nvSpPr>
            <p:spPr bwMode="auto">
              <a:xfrm>
                <a:off x="-1332040" y="4234899"/>
                <a:ext cx="5207264" cy="43908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90000" tIns="45000" rIns="90000" bIns="45000">
                <a:spAutoFit/>
              </a:bodyPr>
              <a:lstStyle>
                <a:defPPr>
                  <a:defRPr lang="zh-CN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 kumimoji="0" i="0" u="none" strike="noStrike" kern="0" cap="none" spc="0" normalizeH="0" baseline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defRPr>
                </a:lvl1pPr>
                <a:lvl2pPr eaLnBrk="0"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2pPr>
                <a:lvl3pPr eaLnBrk="0"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3pPr>
                <a:lvl4pPr eaLnBrk="0"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4pPr>
                <a:lvl5pPr eaLnBrk="0"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5pPr>
                <a:lvl6pPr marL="2514600" indent="-228600" defTabSz="448945" eaLnBrk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6" charset="0"/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6pPr>
                <a:lvl7pPr marL="2971800" indent="-228600" defTabSz="448945" eaLnBrk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6" charset="0"/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7pPr>
                <a:lvl8pPr marL="3429000" indent="-228600" defTabSz="448945" eaLnBrk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6" charset="0"/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8pPr>
                <a:lvl9pPr marL="3886200" indent="-228600" defTabSz="448945" eaLnBrk="0" fontAlgn="base" hangingPunct="0">
                  <a:lnSpc>
                    <a:spcPct val="93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anose="02020603050405020304" pitchFamily="16" charset="0"/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</a:tabLst>
                  <a:defRPr>
                    <a:latin typeface="Arial" panose="020B0604020202020204" pitchFamily="34" charset="0"/>
                    <a:ea typeface="宋体" panose="02010600030101010101" pitchFamily="2" charset="-122"/>
                  </a:defRPr>
                </a:lvl9pPr>
              </a:lstStyle>
              <a:p>
                <a:pPr>
                  <a:defRPr/>
                </a:pPr>
                <a:r>
                  <a:rPr lang="en-US" altLang="zh-CN" dirty="0" smtClean="0">
                    <a:solidFill>
                      <a:schemeClr val="bg1"/>
                    </a:solidFill>
                  </a:rPr>
                  <a:t>1. </a:t>
                </a:r>
                <a:r>
                  <a:rPr lang="zh-CN" altLang="en-US" dirty="0">
                    <a:solidFill>
                      <a:schemeClr val="bg1"/>
                    </a:solidFill>
                  </a:rPr>
                  <a:t>点击</a:t>
                </a:r>
                <a:r>
                  <a:rPr lang="zh-CN" altLang="en-US" dirty="0" smtClean="0">
                    <a:solidFill>
                      <a:schemeClr val="bg1"/>
                    </a:solidFill>
                  </a:rPr>
                  <a:t>输入文本</a:t>
                </a:r>
                <a:endParaRPr lang="en-US" altLang="zh-CN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5" name="组合 14"/>
            <p:cNvGrpSpPr/>
            <p:nvPr/>
          </p:nvGrpSpPr>
          <p:grpSpPr>
            <a:xfrm>
              <a:off x="2293036" y="4773827"/>
              <a:ext cx="3204295" cy="2149009"/>
              <a:chOff x="6209441" y="3644618"/>
              <a:chExt cx="3204295" cy="2149009"/>
            </a:xfrm>
          </p:grpSpPr>
          <p:sp>
            <p:nvSpPr>
              <p:cNvPr id="19" name="文本框 43"/>
              <p:cNvSpPr txBox="1"/>
              <p:nvPr/>
            </p:nvSpPr>
            <p:spPr>
              <a:xfrm>
                <a:off x="6215254" y="3644618"/>
                <a:ext cx="3198482" cy="214900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我们工作室致力于专业</a:t>
                </a:r>
                <a:r>
                  <a:rPr lang="en-US" altLang="zh-CN" sz="1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模板的发布，课件及汇报</a:t>
                </a:r>
                <a:r>
                  <a:rPr lang="en-US" altLang="zh-CN" sz="1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的美化，并为您提供专业的</a:t>
                </a:r>
                <a:r>
                  <a:rPr lang="en-US" altLang="zh-CN" sz="1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PT</a:t>
                </a:r>
                <a:r>
                  <a:rPr lang="zh-CN" altLang="en-US" sz="1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个性定制服务。我们秉承“给您演示的光和热”的理念，为您分担职场压力</a:t>
                </a:r>
                <a:r>
                  <a:rPr lang="en-US" altLang="zh-CN" sz="1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,</a:t>
                </a:r>
                <a:r>
                  <a:rPr lang="zh-CN" altLang="en-US" sz="11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让您的每一次亮相都信心澎湃。专业的团队，完善的售后，热情的服务，科学严谨的逻辑，一丝不苟的工作态度，定能使您的发展如虎添翼！</a:t>
                </a:r>
                <a:endParaRPr lang="en-US" altLang="zh-CN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endPara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endPara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0" name="文本框 46"/>
              <p:cNvSpPr txBox="1"/>
              <p:nvPr/>
            </p:nvSpPr>
            <p:spPr>
              <a:xfrm>
                <a:off x="6209441" y="4775380"/>
                <a:ext cx="251449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zh-CN" altLang="en-US" dirty="0">
                  <a:solidFill>
                    <a:srgbClr val="2B2E3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3702342" y="5588093"/>
              <a:ext cx="2530486" cy="732586"/>
              <a:chOff x="6193452" y="4458884"/>
              <a:chExt cx="2530486" cy="732586"/>
            </a:xfrm>
          </p:grpSpPr>
          <p:sp>
            <p:nvSpPr>
              <p:cNvPr id="17" name="文本框 50"/>
              <p:cNvSpPr txBox="1"/>
              <p:nvPr/>
            </p:nvSpPr>
            <p:spPr>
              <a:xfrm>
                <a:off x="6193452" y="4458884"/>
                <a:ext cx="251449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zh-CN" altLang="en-US" dirty="0">
                  <a:solidFill>
                    <a:srgbClr val="2B2E3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8" name="文本框 51"/>
              <p:cNvSpPr txBox="1"/>
              <p:nvPr/>
            </p:nvSpPr>
            <p:spPr>
              <a:xfrm>
                <a:off x="6209441" y="4822139"/>
                <a:ext cx="2514497" cy="369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zh-CN" altLang="en-US" dirty="0">
                  <a:solidFill>
                    <a:srgbClr val="2B2E3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47" name="组合 46"/>
          <p:cNvGrpSpPr/>
          <p:nvPr/>
        </p:nvGrpSpPr>
        <p:grpSpPr>
          <a:xfrm>
            <a:off x="9558648" y="3043241"/>
            <a:ext cx="1878012" cy="2897188"/>
            <a:chOff x="3763963" y="460375"/>
            <a:chExt cx="1878012" cy="2897188"/>
          </a:xfrm>
        </p:grpSpPr>
        <p:sp>
          <p:nvSpPr>
            <p:cNvPr id="48" name="AutoShape 69"/>
            <p:cNvSpPr>
              <a:spLocks noChangeAspect="1" noChangeArrowheads="1" noTextEdit="1"/>
            </p:cNvSpPr>
            <p:nvPr/>
          </p:nvSpPr>
          <p:spPr bwMode="auto">
            <a:xfrm>
              <a:off x="3779838" y="476250"/>
              <a:ext cx="1862137" cy="2881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9" name="Freeform 71"/>
            <p:cNvSpPr/>
            <p:nvPr/>
          </p:nvSpPr>
          <p:spPr bwMode="auto">
            <a:xfrm>
              <a:off x="4657725" y="776288"/>
              <a:ext cx="182562" cy="179388"/>
            </a:xfrm>
            <a:custGeom>
              <a:avLst/>
              <a:gdLst>
                <a:gd name="T0" fmla="*/ 0 w 12"/>
                <a:gd name="T1" fmla="*/ 1 h 12"/>
                <a:gd name="T2" fmla="*/ 0 w 12"/>
                <a:gd name="T3" fmla="*/ 6 h 12"/>
                <a:gd name="T4" fmla="*/ 4 w 12"/>
                <a:gd name="T5" fmla="*/ 12 h 12"/>
                <a:gd name="T6" fmla="*/ 10 w 12"/>
                <a:gd name="T7" fmla="*/ 10 h 12"/>
                <a:gd name="T8" fmla="*/ 12 w 12"/>
                <a:gd name="T9" fmla="*/ 6 h 12"/>
                <a:gd name="T10" fmla="*/ 12 w 12"/>
                <a:gd name="T11" fmla="*/ 1 h 12"/>
                <a:gd name="T12" fmla="*/ 0 w 12"/>
                <a:gd name="T1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0" y="1"/>
                  </a:moveTo>
                  <a:cubicBezTo>
                    <a:pt x="0" y="1"/>
                    <a:pt x="0" y="6"/>
                    <a:pt x="0" y="6"/>
                  </a:cubicBezTo>
                  <a:cubicBezTo>
                    <a:pt x="0" y="6"/>
                    <a:pt x="3" y="12"/>
                    <a:pt x="4" y="12"/>
                  </a:cubicBezTo>
                  <a:cubicBezTo>
                    <a:pt x="6" y="12"/>
                    <a:pt x="10" y="11"/>
                    <a:pt x="10" y="10"/>
                  </a:cubicBezTo>
                  <a:cubicBezTo>
                    <a:pt x="11" y="10"/>
                    <a:pt x="12" y="6"/>
                    <a:pt x="12" y="6"/>
                  </a:cubicBezTo>
                  <a:cubicBezTo>
                    <a:pt x="12" y="6"/>
                    <a:pt x="12" y="2"/>
                    <a:pt x="12" y="1"/>
                  </a:cubicBezTo>
                  <a:cubicBezTo>
                    <a:pt x="12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1B1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0" name="Freeform 72"/>
            <p:cNvSpPr/>
            <p:nvPr/>
          </p:nvSpPr>
          <p:spPr bwMode="auto">
            <a:xfrm>
              <a:off x="3779838" y="955675"/>
              <a:ext cx="120650" cy="104775"/>
            </a:xfrm>
            <a:custGeom>
              <a:avLst/>
              <a:gdLst>
                <a:gd name="T0" fmla="*/ 2 w 8"/>
                <a:gd name="T1" fmla="*/ 6 h 7"/>
                <a:gd name="T2" fmla="*/ 3 w 8"/>
                <a:gd name="T3" fmla="*/ 1 h 7"/>
                <a:gd name="T4" fmla="*/ 8 w 8"/>
                <a:gd name="T5" fmla="*/ 4 h 7"/>
                <a:gd name="T6" fmla="*/ 2 w 8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7">
                  <a:moveTo>
                    <a:pt x="2" y="6"/>
                  </a:moveTo>
                  <a:cubicBezTo>
                    <a:pt x="2" y="6"/>
                    <a:pt x="0" y="2"/>
                    <a:pt x="3" y="1"/>
                  </a:cubicBezTo>
                  <a:cubicBezTo>
                    <a:pt x="7" y="0"/>
                    <a:pt x="8" y="4"/>
                    <a:pt x="8" y="4"/>
                  </a:cubicBezTo>
                  <a:cubicBezTo>
                    <a:pt x="8" y="4"/>
                    <a:pt x="2" y="7"/>
                    <a:pt x="2" y="6"/>
                  </a:cubicBezTo>
                  <a:close/>
                </a:path>
              </a:pathLst>
            </a:custGeom>
            <a:solidFill>
              <a:srgbClr val="BABA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1" name="Freeform 73"/>
            <p:cNvSpPr/>
            <p:nvPr/>
          </p:nvSpPr>
          <p:spPr bwMode="auto">
            <a:xfrm>
              <a:off x="5505450" y="1016000"/>
              <a:ext cx="106362" cy="119063"/>
            </a:xfrm>
            <a:custGeom>
              <a:avLst/>
              <a:gdLst>
                <a:gd name="T0" fmla="*/ 0 w 7"/>
                <a:gd name="T1" fmla="*/ 4 h 8"/>
                <a:gd name="T2" fmla="*/ 3 w 7"/>
                <a:gd name="T3" fmla="*/ 8 h 8"/>
                <a:gd name="T4" fmla="*/ 7 w 7"/>
                <a:gd name="T5" fmla="*/ 6 h 8"/>
                <a:gd name="T6" fmla="*/ 5 w 7"/>
                <a:gd name="T7" fmla="*/ 1 h 8"/>
                <a:gd name="T8" fmla="*/ 0 w 7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8">
                  <a:moveTo>
                    <a:pt x="0" y="4"/>
                  </a:moveTo>
                  <a:cubicBezTo>
                    <a:pt x="0" y="4"/>
                    <a:pt x="1" y="8"/>
                    <a:pt x="3" y="8"/>
                  </a:cubicBezTo>
                  <a:cubicBezTo>
                    <a:pt x="4" y="8"/>
                    <a:pt x="7" y="7"/>
                    <a:pt x="7" y="6"/>
                  </a:cubicBezTo>
                  <a:cubicBezTo>
                    <a:pt x="7" y="5"/>
                    <a:pt x="7" y="3"/>
                    <a:pt x="5" y="1"/>
                  </a:cubicBezTo>
                  <a:cubicBezTo>
                    <a:pt x="4" y="0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BABA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2" name="Freeform 74"/>
            <p:cNvSpPr/>
            <p:nvPr/>
          </p:nvSpPr>
          <p:spPr bwMode="auto">
            <a:xfrm>
              <a:off x="4310063" y="1525588"/>
              <a:ext cx="877887" cy="434975"/>
            </a:xfrm>
            <a:custGeom>
              <a:avLst/>
              <a:gdLst>
                <a:gd name="T0" fmla="*/ 0 w 58"/>
                <a:gd name="T1" fmla="*/ 26 h 29"/>
                <a:gd name="T2" fmla="*/ 17 w 58"/>
                <a:gd name="T3" fmla="*/ 29 h 29"/>
                <a:gd name="T4" fmla="*/ 58 w 58"/>
                <a:gd name="T5" fmla="*/ 27 h 29"/>
                <a:gd name="T6" fmla="*/ 58 w 58"/>
                <a:gd name="T7" fmla="*/ 27 h 29"/>
                <a:gd name="T8" fmla="*/ 50 w 58"/>
                <a:gd name="T9" fmla="*/ 1 h 29"/>
                <a:gd name="T10" fmla="*/ 11 w 58"/>
                <a:gd name="T11" fmla="*/ 0 h 29"/>
                <a:gd name="T12" fmla="*/ 0 w 58"/>
                <a:gd name="T13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29">
                  <a:moveTo>
                    <a:pt x="0" y="26"/>
                  </a:moveTo>
                  <a:cubicBezTo>
                    <a:pt x="0" y="26"/>
                    <a:pt x="6" y="29"/>
                    <a:pt x="17" y="29"/>
                  </a:cubicBezTo>
                  <a:cubicBezTo>
                    <a:pt x="29" y="29"/>
                    <a:pt x="58" y="27"/>
                    <a:pt x="58" y="27"/>
                  </a:cubicBezTo>
                  <a:cubicBezTo>
                    <a:pt x="58" y="28"/>
                    <a:pt x="58" y="27"/>
                    <a:pt x="58" y="27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0" y="21"/>
                    <a:pt x="0" y="2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3" name="Freeform 75"/>
            <p:cNvSpPr/>
            <p:nvPr/>
          </p:nvSpPr>
          <p:spPr bwMode="auto">
            <a:xfrm>
              <a:off x="4446588" y="1601788"/>
              <a:ext cx="635000" cy="1604963"/>
            </a:xfrm>
            <a:custGeom>
              <a:avLst/>
              <a:gdLst>
                <a:gd name="T0" fmla="*/ 0 w 42"/>
                <a:gd name="T1" fmla="*/ 8 h 107"/>
                <a:gd name="T2" fmla="*/ 2 w 42"/>
                <a:gd name="T3" fmla="*/ 32 h 107"/>
                <a:gd name="T4" fmla="*/ 5 w 42"/>
                <a:gd name="T5" fmla="*/ 44 h 107"/>
                <a:gd name="T6" fmla="*/ 7 w 42"/>
                <a:gd name="T7" fmla="*/ 71 h 107"/>
                <a:gd name="T8" fmla="*/ 11 w 42"/>
                <a:gd name="T9" fmla="*/ 101 h 107"/>
                <a:gd name="T10" fmla="*/ 11 w 42"/>
                <a:gd name="T11" fmla="*/ 107 h 107"/>
                <a:gd name="T12" fmla="*/ 23 w 42"/>
                <a:gd name="T13" fmla="*/ 107 h 107"/>
                <a:gd name="T14" fmla="*/ 23 w 42"/>
                <a:gd name="T15" fmla="*/ 103 h 107"/>
                <a:gd name="T16" fmla="*/ 21 w 42"/>
                <a:gd name="T17" fmla="*/ 99 h 107"/>
                <a:gd name="T18" fmla="*/ 24 w 42"/>
                <a:gd name="T19" fmla="*/ 93 h 107"/>
                <a:gd name="T20" fmla="*/ 21 w 42"/>
                <a:gd name="T21" fmla="*/ 38 h 107"/>
                <a:gd name="T22" fmla="*/ 24 w 42"/>
                <a:gd name="T23" fmla="*/ 50 h 107"/>
                <a:gd name="T24" fmla="*/ 26 w 42"/>
                <a:gd name="T25" fmla="*/ 63 h 107"/>
                <a:gd name="T26" fmla="*/ 26 w 42"/>
                <a:gd name="T27" fmla="*/ 87 h 107"/>
                <a:gd name="T28" fmla="*/ 28 w 42"/>
                <a:gd name="T29" fmla="*/ 96 h 107"/>
                <a:gd name="T30" fmla="*/ 36 w 42"/>
                <a:gd name="T31" fmla="*/ 97 h 107"/>
                <a:gd name="T32" fmla="*/ 38 w 42"/>
                <a:gd name="T33" fmla="*/ 91 h 107"/>
                <a:gd name="T34" fmla="*/ 38 w 42"/>
                <a:gd name="T35" fmla="*/ 85 h 107"/>
                <a:gd name="T36" fmla="*/ 39 w 42"/>
                <a:gd name="T37" fmla="*/ 60 h 107"/>
                <a:gd name="T38" fmla="*/ 39 w 42"/>
                <a:gd name="T39" fmla="*/ 52 h 107"/>
                <a:gd name="T40" fmla="*/ 41 w 42"/>
                <a:gd name="T41" fmla="*/ 20 h 107"/>
                <a:gd name="T42" fmla="*/ 40 w 42"/>
                <a:gd name="T43" fmla="*/ 2 h 107"/>
                <a:gd name="T44" fmla="*/ 2 w 42"/>
                <a:gd name="T45" fmla="*/ 0 h 107"/>
                <a:gd name="T46" fmla="*/ 0 w 42"/>
                <a:gd name="T47" fmla="*/ 8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2" h="107">
                  <a:moveTo>
                    <a:pt x="0" y="8"/>
                  </a:moveTo>
                  <a:cubicBezTo>
                    <a:pt x="0" y="8"/>
                    <a:pt x="1" y="28"/>
                    <a:pt x="2" y="32"/>
                  </a:cubicBezTo>
                  <a:cubicBezTo>
                    <a:pt x="4" y="35"/>
                    <a:pt x="5" y="43"/>
                    <a:pt x="5" y="44"/>
                  </a:cubicBezTo>
                  <a:cubicBezTo>
                    <a:pt x="5" y="45"/>
                    <a:pt x="4" y="65"/>
                    <a:pt x="7" y="71"/>
                  </a:cubicBezTo>
                  <a:cubicBezTo>
                    <a:pt x="7" y="71"/>
                    <a:pt x="9" y="100"/>
                    <a:pt x="11" y="101"/>
                  </a:cubicBezTo>
                  <a:cubicBezTo>
                    <a:pt x="11" y="101"/>
                    <a:pt x="8" y="106"/>
                    <a:pt x="11" y="107"/>
                  </a:cubicBezTo>
                  <a:cubicBezTo>
                    <a:pt x="11" y="107"/>
                    <a:pt x="21" y="106"/>
                    <a:pt x="23" y="107"/>
                  </a:cubicBezTo>
                  <a:cubicBezTo>
                    <a:pt x="23" y="107"/>
                    <a:pt x="24" y="104"/>
                    <a:pt x="23" y="103"/>
                  </a:cubicBezTo>
                  <a:cubicBezTo>
                    <a:pt x="22" y="102"/>
                    <a:pt x="21" y="99"/>
                    <a:pt x="21" y="99"/>
                  </a:cubicBezTo>
                  <a:cubicBezTo>
                    <a:pt x="21" y="99"/>
                    <a:pt x="25" y="94"/>
                    <a:pt x="24" y="93"/>
                  </a:cubicBezTo>
                  <a:cubicBezTo>
                    <a:pt x="23" y="91"/>
                    <a:pt x="19" y="43"/>
                    <a:pt x="21" y="38"/>
                  </a:cubicBezTo>
                  <a:cubicBezTo>
                    <a:pt x="21" y="38"/>
                    <a:pt x="23" y="50"/>
                    <a:pt x="24" y="50"/>
                  </a:cubicBezTo>
                  <a:cubicBezTo>
                    <a:pt x="24" y="50"/>
                    <a:pt x="25" y="62"/>
                    <a:pt x="26" y="63"/>
                  </a:cubicBezTo>
                  <a:cubicBezTo>
                    <a:pt x="26" y="63"/>
                    <a:pt x="30" y="84"/>
                    <a:pt x="26" y="87"/>
                  </a:cubicBezTo>
                  <a:cubicBezTo>
                    <a:pt x="26" y="87"/>
                    <a:pt x="25" y="95"/>
                    <a:pt x="28" y="96"/>
                  </a:cubicBezTo>
                  <a:cubicBezTo>
                    <a:pt x="36" y="97"/>
                    <a:pt x="36" y="97"/>
                    <a:pt x="36" y="97"/>
                  </a:cubicBezTo>
                  <a:cubicBezTo>
                    <a:pt x="36" y="97"/>
                    <a:pt x="38" y="92"/>
                    <a:pt x="38" y="91"/>
                  </a:cubicBezTo>
                  <a:cubicBezTo>
                    <a:pt x="39" y="89"/>
                    <a:pt x="39" y="87"/>
                    <a:pt x="38" y="85"/>
                  </a:cubicBezTo>
                  <a:cubicBezTo>
                    <a:pt x="38" y="84"/>
                    <a:pt x="37" y="61"/>
                    <a:pt x="39" y="60"/>
                  </a:cubicBezTo>
                  <a:cubicBezTo>
                    <a:pt x="41" y="58"/>
                    <a:pt x="42" y="55"/>
                    <a:pt x="39" y="52"/>
                  </a:cubicBezTo>
                  <a:cubicBezTo>
                    <a:pt x="39" y="52"/>
                    <a:pt x="42" y="24"/>
                    <a:pt x="41" y="20"/>
                  </a:cubicBezTo>
                  <a:cubicBezTo>
                    <a:pt x="40" y="17"/>
                    <a:pt x="40" y="2"/>
                    <a:pt x="40" y="2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4" name="Freeform 76"/>
            <p:cNvSpPr/>
            <p:nvPr/>
          </p:nvSpPr>
          <p:spPr bwMode="auto">
            <a:xfrm>
              <a:off x="4446588" y="1601788"/>
              <a:ext cx="271462" cy="223838"/>
            </a:xfrm>
            <a:custGeom>
              <a:avLst/>
              <a:gdLst>
                <a:gd name="T0" fmla="*/ 2 w 18"/>
                <a:gd name="T1" fmla="*/ 2 h 15"/>
                <a:gd name="T2" fmla="*/ 0 w 18"/>
                <a:gd name="T3" fmla="*/ 8 h 15"/>
                <a:gd name="T4" fmla="*/ 0 w 18"/>
                <a:gd name="T5" fmla="*/ 15 h 15"/>
                <a:gd name="T6" fmla="*/ 4 w 18"/>
                <a:gd name="T7" fmla="*/ 11 h 15"/>
                <a:gd name="T8" fmla="*/ 7 w 18"/>
                <a:gd name="T9" fmla="*/ 7 h 15"/>
                <a:gd name="T10" fmla="*/ 18 w 18"/>
                <a:gd name="T11" fmla="*/ 10 h 15"/>
                <a:gd name="T12" fmla="*/ 5 w 18"/>
                <a:gd name="T13" fmla="*/ 0 h 15"/>
                <a:gd name="T14" fmla="*/ 4 w 18"/>
                <a:gd name="T15" fmla="*/ 0 h 15"/>
                <a:gd name="T16" fmla="*/ 2 w 18"/>
                <a:gd name="T1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5">
                  <a:moveTo>
                    <a:pt x="2" y="2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11"/>
                    <a:pt x="0" y="15"/>
                  </a:cubicBezTo>
                  <a:cubicBezTo>
                    <a:pt x="1" y="13"/>
                    <a:pt x="3" y="12"/>
                    <a:pt x="4" y="11"/>
                  </a:cubicBezTo>
                  <a:cubicBezTo>
                    <a:pt x="7" y="8"/>
                    <a:pt x="4" y="8"/>
                    <a:pt x="7" y="7"/>
                  </a:cubicBezTo>
                  <a:cubicBezTo>
                    <a:pt x="10" y="7"/>
                    <a:pt x="15" y="11"/>
                    <a:pt x="18" y="1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2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5" name="Freeform 77"/>
            <p:cNvSpPr/>
            <p:nvPr/>
          </p:nvSpPr>
          <p:spPr bwMode="auto">
            <a:xfrm>
              <a:off x="4551363" y="1616075"/>
              <a:ext cx="530225" cy="1590675"/>
            </a:xfrm>
            <a:custGeom>
              <a:avLst/>
              <a:gdLst>
                <a:gd name="T0" fmla="*/ 27 w 35"/>
                <a:gd name="T1" fmla="*/ 84 h 106"/>
                <a:gd name="T2" fmla="*/ 25 w 35"/>
                <a:gd name="T3" fmla="*/ 71 h 106"/>
                <a:gd name="T4" fmla="*/ 19 w 35"/>
                <a:gd name="T5" fmla="*/ 36 h 106"/>
                <a:gd name="T6" fmla="*/ 17 w 35"/>
                <a:gd name="T7" fmla="*/ 23 h 106"/>
                <a:gd name="T8" fmla="*/ 29 w 35"/>
                <a:gd name="T9" fmla="*/ 25 h 106"/>
                <a:gd name="T10" fmla="*/ 33 w 35"/>
                <a:gd name="T11" fmla="*/ 37 h 106"/>
                <a:gd name="T12" fmla="*/ 34 w 35"/>
                <a:gd name="T13" fmla="*/ 19 h 106"/>
                <a:gd name="T14" fmla="*/ 33 w 35"/>
                <a:gd name="T15" fmla="*/ 1 h 106"/>
                <a:gd name="T16" fmla="*/ 8 w 35"/>
                <a:gd name="T17" fmla="*/ 0 h 106"/>
                <a:gd name="T18" fmla="*/ 0 w 35"/>
                <a:gd name="T19" fmla="*/ 3 h 106"/>
                <a:gd name="T20" fmla="*/ 12 w 35"/>
                <a:gd name="T21" fmla="*/ 17 h 106"/>
                <a:gd name="T22" fmla="*/ 0 w 35"/>
                <a:gd name="T23" fmla="*/ 19 h 106"/>
                <a:gd name="T24" fmla="*/ 4 w 35"/>
                <a:gd name="T25" fmla="*/ 20 h 106"/>
                <a:gd name="T26" fmla="*/ 7 w 35"/>
                <a:gd name="T27" fmla="*/ 25 h 106"/>
                <a:gd name="T28" fmla="*/ 0 w 35"/>
                <a:gd name="T29" fmla="*/ 25 h 106"/>
                <a:gd name="T30" fmla="*/ 9 w 35"/>
                <a:gd name="T31" fmla="*/ 29 h 106"/>
                <a:gd name="T32" fmla="*/ 0 w 35"/>
                <a:gd name="T33" fmla="*/ 30 h 106"/>
                <a:gd name="T34" fmla="*/ 7 w 35"/>
                <a:gd name="T35" fmla="*/ 30 h 106"/>
                <a:gd name="T36" fmla="*/ 9 w 35"/>
                <a:gd name="T37" fmla="*/ 56 h 106"/>
                <a:gd name="T38" fmla="*/ 13 w 35"/>
                <a:gd name="T39" fmla="*/ 76 h 106"/>
                <a:gd name="T40" fmla="*/ 11 w 35"/>
                <a:gd name="T41" fmla="*/ 85 h 106"/>
                <a:gd name="T42" fmla="*/ 4 w 35"/>
                <a:gd name="T43" fmla="*/ 39 h 106"/>
                <a:gd name="T44" fmla="*/ 9 w 35"/>
                <a:gd name="T45" fmla="*/ 86 h 106"/>
                <a:gd name="T46" fmla="*/ 12 w 35"/>
                <a:gd name="T47" fmla="*/ 96 h 106"/>
                <a:gd name="T48" fmla="*/ 12 w 35"/>
                <a:gd name="T49" fmla="*/ 100 h 106"/>
                <a:gd name="T50" fmla="*/ 2 w 35"/>
                <a:gd name="T51" fmla="*/ 94 h 106"/>
                <a:gd name="T52" fmla="*/ 4 w 35"/>
                <a:gd name="T53" fmla="*/ 100 h 106"/>
                <a:gd name="T54" fmla="*/ 4 w 35"/>
                <a:gd name="T55" fmla="*/ 106 h 106"/>
                <a:gd name="T56" fmla="*/ 16 w 35"/>
                <a:gd name="T57" fmla="*/ 106 h 106"/>
                <a:gd name="T58" fmla="*/ 17 w 35"/>
                <a:gd name="T59" fmla="*/ 101 h 106"/>
                <a:gd name="T60" fmla="*/ 17 w 35"/>
                <a:gd name="T61" fmla="*/ 98 h 106"/>
                <a:gd name="T62" fmla="*/ 17 w 35"/>
                <a:gd name="T63" fmla="*/ 92 h 106"/>
                <a:gd name="T64" fmla="*/ 14 w 35"/>
                <a:gd name="T65" fmla="*/ 37 h 106"/>
                <a:gd name="T66" fmla="*/ 16 w 35"/>
                <a:gd name="T67" fmla="*/ 49 h 106"/>
                <a:gd name="T68" fmla="*/ 19 w 35"/>
                <a:gd name="T69" fmla="*/ 63 h 106"/>
                <a:gd name="T70" fmla="*/ 19 w 35"/>
                <a:gd name="T71" fmla="*/ 86 h 106"/>
                <a:gd name="T72" fmla="*/ 21 w 35"/>
                <a:gd name="T73" fmla="*/ 95 h 106"/>
                <a:gd name="T74" fmla="*/ 29 w 35"/>
                <a:gd name="T75" fmla="*/ 96 h 106"/>
                <a:gd name="T76" fmla="*/ 31 w 35"/>
                <a:gd name="T77" fmla="*/ 90 h 106"/>
                <a:gd name="T78" fmla="*/ 31 w 35"/>
                <a:gd name="T79" fmla="*/ 84 h 106"/>
                <a:gd name="T80" fmla="*/ 31 w 35"/>
                <a:gd name="T81" fmla="*/ 84 h 106"/>
                <a:gd name="T82" fmla="*/ 27 w 35"/>
                <a:gd name="T83" fmla="*/ 8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5" h="106">
                  <a:moveTo>
                    <a:pt x="27" y="84"/>
                  </a:moveTo>
                  <a:cubicBezTo>
                    <a:pt x="27" y="84"/>
                    <a:pt x="25" y="74"/>
                    <a:pt x="25" y="71"/>
                  </a:cubicBezTo>
                  <a:cubicBezTo>
                    <a:pt x="27" y="63"/>
                    <a:pt x="20" y="39"/>
                    <a:pt x="19" y="36"/>
                  </a:cubicBezTo>
                  <a:cubicBezTo>
                    <a:pt x="19" y="33"/>
                    <a:pt x="18" y="25"/>
                    <a:pt x="17" y="23"/>
                  </a:cubicBezTo>
                  <a:cubicBezTo>
                    <a:pt x="16" y="21"/>
                    <a:pt x="26" y="24"/>
                    <a:pt x="29" y="25"/>
                  </a:cubicBezTo>
                  <a:cubicBezTo>
                    <a:pt x="31" y="26"/>
                    <a:pt x="33" y="32"/>
                    <a:pt x="33" y="37"/>
                  </a:cubicBezTo>
                  <a:cubicBezTo>
                    <a:pt x="34" y="29"/>
                    <a:pt x="35" y="21"/>
                    <a:pt x="34" y="19"/>
                  </a:cubicBezTo>
                  <a:cubicBezTo>
                    <a:pt x="33" y="16"/>
                    <a:pt x="33" y="1"/>
                    <a:pt x="33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" y="5"/>
                    <a:pt x="16" y="14"/>
                    <a:pt x="12" y="17"/>
                  </a:cubicBezTo>
                  <a:cubicBezTo>
                    <a:pt x="9" y="21"/>
                    <a:pt x="0" y="19"/>
                    <a:pt x="0" y="19"/>
                  </a:cubicBezTo>
                  <a:cubicBezTo>
                    <a:pt x="0" y="19"/>
                    <a:pt x="0" y="19"/>
                    <a:pt x="4" y="20"/>
                  </a:cubicBezTo>
                  <a:cubicBezTo>
                    <a:pt x="8" y="22"/>
                    <a:pt x="7" y="25"/>
                    <a:pt x="7" y="25"/>
                  </a:cubicBezTo>
                  <a:cubicBezTo>
                    <a:pt x="1" y="23"/>
                    <a:pt x="0" y="25"/>
                    <a:pt x="0" y="25"/>
                  </a:cubicBezTo>
                  <a:cubicBezTo>
                    <a:pt x="5" y="26"/>
                    <a:pt x="9" y="29"/>
                    <a:pt x="9" y="29"/>
                  </a:cubicBezTo>
                  <a:cubicBezTo>
                    <a:pt x="3" y="26"/>
                    <a:pt x="0" y="30"/>
                    <a:pt x="0" y="30"/>
                  </a:cubicBezTo>
                  <a:cubicBezTo>
                    <a:pt x="0" y="30"/>
                    <a:pt x="5" y="27"/>
                    <a:pt x="7" y="30"/>
                  </a:cubicBezTo>
                  <a:cubicBezTo>
                    <a:pt x="8" y="34"/>
                    <a:pt x="9" y="53"/>
                    <a:pt x="9" y="56"/>
                  </a:cubicBezTo>
                  <a:cubicBezTo>
                    <a:pt x="9" y="59"/>
                    <a:pt x="12" y="74"/>
                    <a:pt x="13" y="76"/>
                  </a:cubicBezTo>
                  <a:cubicBezTo>
                    <a:pt x="14" y="78"/>
                    <a:pt x="13" y="87"/>
                    <a:pt x="11" y="85"/>
                  </a:cubicBezTo>
                  <a:cubicBezTo>
                    <a:pt x="10" y="83"/>
                    <a:pt x="4" y="39"/>
                    <a:pt x="4" y="39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9" y="86"/>
                    <a:pt x="10" y="93"/>
                    <a:pt x="12" y="96"/>
                  </a:cubicBezTo>
                  <a:cubicBezTo>
                    <a:pt x="14" y="99"/>
                    <a:pt x="12" y="100"/>
                    <a:pt x="12" y="100"/>
                  </a:cubicBezTo>
                  <a:cubicBezTo>
                    <a:pt x="11" y="100"/>
                    <a:pt x="6" y="97"/>
                    <a:pt x="2" y="94"/>
                  </a:cubicBezTo>
                  <a:cubicBezTo>
                    <a:pt x="3" y="98"/>
                    <a:pt x="3" y="100"/>
                    <a:pt x="4" y="100"/>
                  </a:cubicBezTo>
                  <a:cubicBezTo>
                    <a:pt x="4" y="100"/>
                    <a:pt x="1" y="105"/>
                    <a:pt x="4" y="106"/>
                  </a:cubicBezTo>
                  <a:cubicBezTo>
                    <a:pt x="4" y="106"/>
                    <a:pt x="14" y="105"/>
                    <a:pt x="16" y="106"/>
                  </a:cubicBezTo>
                  <a:cubicBezTo>
                    <a:pt x="16" y="106"/>
                    <a:pt x="18" y="102"/>
                    <a:pt x="17" y="101"/>
                  </a:cubicBezTo>
                  <a:cubicBezTo>
                    <a:pt x="16" y="100"/>
                    <a:pt x="17" y="98"/>
                    <a:pt x="17" y="98"/>
                  </a:cubicBezTo>
                  <a:cubicBezTo>
                    <a:pt x="17" y="98"/>
                    <a:pt x="18" y="93"/>
                    <a:pt x="17" y="92"/>
                  </a:cubicBezTo>
                  <a:cubicBezTo>
                    <a:pt x="16" y="90"/>
                    <a:pt x="12" y="42"/>
                    <a:pt x="14" y="37"/>
                  </a:cubicBezTo>
                  <a:cubicBezTo>
                    <a:pt x="14" y="37"/>
                    <a:pt x="15" y="49"/>
                    <a:pt x="16" y="49"/>
                  </a:cubicBezTo>
                  <a:cubicBezTo>
                    <a:pt x="16" y="49"/>
                    <a:pt x="17" y="62"/>
                    <a:pt x="19" y="63"/>
                  </a:cubicBezTo>
                  <a:cubicBezTo>
                    <a:pt x="19" y="63"/>
                    <a:pt x="21" y="83"/>
                    <a:pt x="19" y="86"/>
                  </a:cubicBezTo>
                  <a:cubicBezTo>
                    <a:pt x="19" y="86"/>
                    <a:pt x="18" y="94"/>
                    <a:pt x="21" y="95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9" y="96"/>
                    <a:pt x="31" y="91"/>
                    <a:pt x="31" y="90"/>
                  </a:cubicBezTo>
                  <a:cubicBezTo>
                    <a:pt x="32" y="88"/>
                    <a:pt x="32" y="86"/>
                    <a:pt x="31" y="84"/>
                  </a:cubicBezTo>
                  <a:cubicBezTo>
                    <a:pt x="31" y="84"/>
                    <a:pt x="31" y="84"/>
                    <a:pt x="31" y="84"/>
                  </a:cubicBezTo>
                  <a:cubicBezTo>
                    <a:pt x="29" y="84"/>
                    <a:pt x="27" y="84"/>
                    <a:pt x="27" y="8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6" name="Freeform 78"/>
            <p:cNvSpPr/>
            <p:nvPr/>
          </p:nvSpPr>
          <p:spPr bwMode="auto">
            <a:xfrm>
              <a:off x="4657725" y="790575"/>
              <a:ext cx="136525" cy="165100"/>
            </a:xfrm>
            <a:custGeom>
              <a:avLst/>
              <a:gdLst>
                <a:gd name="T0" fmla="*/ 0 w 9"/>
                <a:gd name="T1" fmla="*/ 0 h 11"/>
                <a:gd name="T2" fmla="*/ 0 w 9"/>
                <a:gd name="T3" fmla="*/ 5 h 11"/>
                <a:gd name="T4" fmla="*/ 4 w 9"/>
                <a:gd name="T5" fmla="*/ 11 h 11"/>
                <a:gd name="T6" fmla="*/ 5 w 9"/>
                <a:gd name="T7" fmla="*/ 11 h 11"/>
                <a:gd name="T8" fmla="*/ 6 w 9"/>
                <a:gd name="T9" fmla="*/ 9 h 11"/>
                <a:gd name="T10" fmla="*/ 6 w 9"/>
                <a:gd name="T11" fmla="*/ 7 h 11"/>
                <a:gd name="T12" fmla="*/ 8 w 9"/>
                <a:gd name="T13" fmla="*/ 6 h 11"/>
                <a:gd name="T14" fmla="*/ 9 w 9"/>
                <a:gd name="T15" fmla="*/ 4 h 11"/>
                <a:gd name="T16" fmla="*/ 2 w 9"/>
                <a:gd name="T17" fmla="*/ 0 h 11"/>
                <a:gd name="T18" fmla="*/ 0 w 9"/>
                <a:gd name="T1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11">
                  <a:moveTo>
                    <a:pt x="0" y="0"/>
                  </a:moveTo>
                  <a:cubicBezTo>
                    <a:pt x="0" y="0"/>
                    <a:pt x="0" y="5"/>
                    <a:pt x="0" y="5"/>
                  </a:cubicBezTo>
                  <a:cubicBezTo>
                    <a:pt x="0" y="5"/>
                    <a:pt x="3" y="11"/>
                    <a:pt x="4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0"/>
                    <a:pt x="5" y="9"/>
                    <a:pt x="6" y="9"/>
                  </a:cubicBezTo>
                  <a:cubicBezTo>
                    <a:pt x="7" y="8"/>
                    <a:pt x="6" y="7"/>
                    <a:pt x="6" y="7"/>
                  </a:cubicBezTo>
                  <a:cubicBezTo>
                    <a:pt x="6" y="7"/>
                    <a:pt x="8" y="7"/>
                    <a:pt x="8" y="6"/>
                  </a:cubicBezTo>
                  <a:cubicBezTo>
                    <a:pt x="8" y="5"/>
                    <a:pt x="9" y="4"/>
                    <a:pt x="9" y="4"/>
                  </a:cubicBezTo>
                  <a:cubicBezTo>
                    <a:pt x="9" y="4"/>
                    <a:pt x="5" y="2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081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7" name="Freeform 79"/>
            <p:cNvSpPr/>
            <p:nvPr/>
          </p:nvSpPr>
          <p:spPr bwMode="auto">
            <a:xfrm>
              <a:off x="4446588" y="865188"/>
              <a:ext cx="635000" cy="901700"/>
            </a:xfrm>
            <a:custGeom>
              <a:avLst/>
              <a:gdLst>
                <a:gd name="T0" fmla="*/ 0 w 42"/>
                <a:gd name="T1" fmla="*/ 49 h 60"/>
                <a:gd name="T2" fmla="*/ 21 w 42"/>
                <a:gd name="T3" fmla="*/ 59 h 60"/>
                <a:gd name="T4" fmla="*/ 41 w 42"/>
                <a:gd name="T5" fmla="*/ 49 h 60"/>
                <a:gd name="T6" fmla="*/ 35 w 42"/>
                <a:gd name="T7" fmla="*/ 12 h 60"/>
                <a:gd name="T8" fmla="*/ 26 w 42"/>
                <a:gd name="T9" fmla="*/ 0 h 60"/>
                <a:gd name="T10" fmla="*/ 21 w 42"/>
                <a:gd name="T11" fmla="*/ 4 h 60"/>
                <a:gd name="T12" fmla="*/ 18 w 42"/>
                <a:gd name="T13" fmla="*/ 3 h 60"/>
                <a:gd name="T14" fmla="*/ 15 w 42"/>
                <a:gd name="T15" fmla="*/ 0 h 60"/>
                <a:gd name="T16" fmla="*/ 13 w 42"/>
                <a:gd name="T17" fmla="*/ 0 h 60"/>
                <a:gd name="T18" fmla="*/ 5 w 42"/>
                <a:gd name="T19" fmla="*/ 20 h 60"/>
                <a:gd name="T20" fmla="*/ 0 w 42"/>
                <a:gd name="T21" fmla="*/ 4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60">
                  <a:moveTo>
                    <a:pt x="0" y="49"/>
                  </a:moveTo>
                  <a:cubicBezTo>
                    <a:pt x="0" y="49"/>
                    <a:pt x="13" y="60"/>
                    <a:pt x="21" y="59"/>
                  </a:cubicBezTo>
                  <a:cubicBezTo>
                    <a:pt x="28" y="59"/>
                    <a:pt x="41" y="53"/>
                    <a:pt x="41" y="49"/>
                  </a:cubicBezTo>
                  <a:cubicBezTo>
                    <a:pt x="42" y="45"/>
                    <a:pt x="35" y="12"/>
                    <a:pt x="35" y="12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5" y="20"/>
                    <a:pt x="5" y="20"/>
                    <a:pt x="5" y="20"/>
                  </a:cubicBezTo>
                  <a:lnTo>
                    <a:pt x="0" y="49"/>
                  </a:lnTo>
                  <a:close/>
                </a:path>
              </a:pathLst>
            </a:custGeom>
            <a:solidFill>
              <a:srgbClr val="F2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8" name="Freeform 80"/>
            <p:cNvSpPr/>
            <p:nvPr/>
          </p:nvSpPr>
          <p:spPr bwMode="auto">
            <a:xfrm>
              <a:off x="4446588" y="881063"/>
              <a:ext cx="241300" cy="749300"/>
            </a:xfrm>
            <a:custGeom>
              <a:avLst/>
              <a:gdLst>
                <a:gd name="T0" fmla="*/ 9 w 16"/>
                <a:gd name="T1" fmla="*/ 47 h 50"/>
                <a:gd name="T2" fmla="*/ 7 w 16"/>
                <a:gd name="T3" fmla="*/ 40 h 50"/>
                <a:gd name="T4" fmla="*/ 11 w 16"/>
                <a:gd name="T5" fmla="*/ 46 h 50"/>
                <a:gd name="T6" fmla="*/ 7 w 16"/>
                <a:gd name="T7" fmla="*/ 30 h 50"/>
                <a:gd name="T8" fmla="*/ 13 w 16"/>
                <a:gd name="T9" fmla="*/ 43 h 50"/>
                <a:gd name="T10" fmla="*/ 11 w 16"/>
                <a:gd name="T11" fmla="*/ 32 h 50"/>
                <a:gd name="T12" fmla="*/ 14 w 16"/>
                <a:gd name="T13" fmla="*/ 33 h 50"/>
                <a:gd name="T14" fmla="*/ 11 w 16"/>
                <a:gd name="T15" fmla="*/ 24 h 50"/>
                <a:gd name="T16" fmla="*/ 12 w 16"/>
                <a:gd name="T17" fmla="*/ 3 h 50"/>
                <a:gd name="T18" fmla="*/ 16 w 16"/>
                <a:gd name="T19" fmla="*/ 6 h 50"/>
                <a:gd name="T20" fmla="*/ 12 w 16"/>
                <a:gd name="T21" fmla="*/ 0 h 50"/>
                <a:gd name="T22" fmla="*/ 7 w 16"/>
                <a:gd name="T23" fmla="*/ 13 h 50"/>
                <a:gd name="T24" fmla="*/ 4 w 16"/>
                <a:gd name="T25" fmla="*/ 23 h 50"/>
                <a:gd name="T26" fmla="*/ 0 w 16"/>
                <a:gd name="T27" fmla="*/ 48 h 50"/>
                <a:gd name="T28" fmla="*/ 3 w 16"/>
                <a:gd name="T29" fmla="*/ 50 h 50"/>
                <a:gd name="T30" fmla="*/ 9 w 16"/>
                <a:gd name="T31" fmla="*/ 4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" h="50">
                  <a:moveTo>
                    <a:pt x="9" y="47"/>
                  </a:moveTo>
                  <a:cubicBezTo>
                    <a:pt x="9" y="47"/>
                    <a:pt x="5" y="46"/>
                    <a:pt x="7" y="40"/>
                  </a:cubicBezTo>
                  <a:cubicBezTo>
                    <a:pt x="7" y="40"/>
                    <a:pt x="7" y="45"/>
                    <a:pt x="11" y="46"/>
                  </a:cubicBezTo>
                  <a:cubicBezTo>
                    <a:pt x="11" y="46"/>
                    <a:pt x="6" y="42"/>
                    <a:pt x="7" y="30"/>
                  </a:cubicBezTo>
                  <a:cubicBezTo>
                    <a:pt x="7" y="30"/>
                    <a:pt x="8" y="41"/>
                    <a:pt x="13" y="43"/>
                  </a:cubicBezTo>
                  <a:cubicBezTo>
                    <a:pt x="13" y="43"/>
                    <a:pt x="7" y="36"/>
                    <a:pt x="11" y="32"/>
                  </a:cubicBezTo>
                  <a:cubicBezTo>
                    <a:pt x="11" y="32"/>
                    <a:pt x="11" y="35"/>
                    <a:pt x="14" y="33"/>
                  </a:cubicBezTo>
                  <a:cubicBezTo>
                    <a:pt x="14" y="33"/>
                    <a:pt x="9" y="32"/>
                    <a:pt x="11" y="24"/>
                  </a:cubicBezTo>
                  <a:cubicBezTo>
                    <a:pt x="12" y="16"/>
                    <a:pt x="12" y="3"/>
                    <a:pt x="12" y="3"/>
                  </a:cubicBezTo>
                  <a:cubicBezTo>
                    <a:pt x="12" y="3"/>
                    <a:pt x="14" y="6"/>
                    <a:pt x="16" y="6"/>
                  </a:cubicBezTo>
                  <a:cubicBezTo>
                    <a:pt x="16" y="6"/>
                    <a:pt x="12" y="5"/>
                    <a:pt x="12" y="0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6"/>
                    <a:pt x="5" y="19"/>
                    <a:pt x="4" y="23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1" y="49"/>
                    <a:pt x="3" y="50"/>
                  </a:cubicBezTo>
                  <a:cubicBezTo>
                    <a:pt x="4" y="49"/>
                    <a:pt x="6" y="46"/>
                    <a:pt x="9" y="47"/>
                  </a:cubicBezTo>
                  <a:close/>
                </a:path>
              </a:pathLst>
            </a:custGeom>
            <a:solidFill>
              <a:srgbClr val="BABA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9" name="Freeform 81"/>
            <p:cNvSpPr/>
            <p:nvPr/>
          </p:nvSpPr>
          <p:spPr bwMode="auto">
            <a:xfrm>
              <a:off x="4794250" y="895350"/>
              <a:ext cx="76200" cy="74613"/>
            </a:xfrm>
            <a:custGeom>
              <a:avLst/>
              <a:gdLst>
                <a:gd name="T0" fmla="*/ 5 w 5"/>
                <a:gd name="T1" fmla="*/ 0 h 5"/>
                <a:gd name="T2" fmla="*/ 0 w 5"/>
                <a:gd name="T3" fmla="*/ 5 h 5"/>
                <a:gd name="T4" fmla="*/ 5 w 5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5" y="0"/>
                  </a:moveTo>
                  <a:cubicBezTo>
                    <a:pt x="3" y="2"/>
                    <a:pt x="2" y="4"/>
                    <a:pt x="0" y="5"/>
                  </a:cubicBezTo>
                  <a:cubicBezTo>
                    <a:pt x="0" y="5"/>
                    <a:pt x="2" y="4"/>
                    <a:pt x="5" y="0"/>
                  </a:cubicBezTo>
                  <a:close/>
                </a:path>
              </a:pathLst>
            </a:custGeom>
            <a:solidFill>
              <a:srgbClr val="BABA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0" name="Freeform 82"/>
            <p:cNvSpPr/>
            <p:nvPr/>
          </p:nvSpPr>
          <p:spPr bwMode="auto">
            <a:xfrm>
              <a:off x="4840288" y="925513"/>
              <a:ext cx="241300" cy="750888"/>
            </a:xfrm>
            <a:custGeom>
              <a:avLst/>
              <a:gdLst>
                <a:gd name="T0" fmla="*/ 15 w 16"/>
                <a:gd name="T1" fmla="*/ 45 h 50"/>
                <a:gd name="T2" fmla="*/ 9 w 16"/>
                <a:gd name="T3" fmla="*/ 8 h 50"/>
                <a:gd name="T4" fmla="*/ 4 w 16"/>
                <a:gd name="T5" fmla="*/ 0 h 50"/>
                <a:gd name="T6" fmla="*/ 0 w 16"/>
                <a:gd name="T7" fmla="*/ 10 h 50"/>
                <a:gd name="T8" fmla="*/ 4 w 16"/>
                <a:gd name="T9" fmla="*/ 6 h 50"/>
                <a:gd name="T10" fmla="*/ 4 w 16"/>
                <a:gd name="T11" fmla="*/ 28 h 50"/>
                <a:gd name="T12" fmla="*/ 9 w 16"/>
                <a:gd name="T13" fmla="*/ 22 h 50"/>
                <a:gd name="T14" fmla="*/ 6 w 16"/>
                <a:gd name="T15" fmla="*/ 36 h 50"/>
                <a:gd name="T16" fmla="*/ 6 w 16"/>
                <a:gd name="T17" fmla="*/ 49 h 50"/>
                <a:gd name="T18" fmla="*/ 9 w 16"/>
                <a:gd name="T19" fmla="*/ 45 h 50"/>
                <a:gd name="T20" fmla="*/ 10 w 16"/>
                <a:gd name="T21" fmla="*/ 50 h 50"/>
                <a:gd name="T22" fmla="*/ 15 w 16"/>
                <a:gd name="T23" fmla="*/ 4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50">
                  <a:moveTo>
                    <a:pt x="15" y="45"/>
                  </a:moveTo>
                  <a:cubicBezTo>
                    <a:pt x="16" y="41"/>
                    <a:pt x="9" y="8"/>
                    <a:pt x="9" y="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4"/>
                    <a:pt x="3" y="8"/>
                    <a:pt x="0" y="10"/>
                  </a:cubicBezTo>
                  <a:cubicBezTo>
                    <a:pt x="1" y="9"/>
                    <a:pt x="3" y="8"/>
                    <a:pt x="4" y="6"/>
                  </a:cubicBezTo>
                  <a:cubicBezTo>
                    <a:pt x="4" y="6"/>
                    <a:pt x="7" y="20"/>
                    <a:pt x="4" y="28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2"/>
                    <a:pt x="11" y="34"/>
                    <a:pt x="6" y="36"/>
                  </a:cubicBezTo>
                  <a:cubicBezTo>
                    <a:pt x="6" y="36"/>
                    <a:pt x="7" y="46"/>
                    <a:pt x="6" y="49"/>
                  </a:cubicBezTo>
                  <a:cubicBezTo>
                    <a:pt x="6" y="49"/>
                    <a:pt x="8" y="43"/>
                    <a:pt x="9" y="45"/>
                  </a:cubicBezTo>
                  <a:cubicBezTo>
                    <a:pt x="10" y="46"/>
                    <a:pt x="11" y="48"/>
                    <a:pt x="10" y="50"/>
                  </a:cubicBezTo>
                  <a:cubicBezTo>
                    <a:pt x="13" y="48"/>
                    <a:pt x="15" y="47"/>
                    <a:pt x="15" y="45"/>
                  </a:cubicBezTo>
                  <a:close/>
                </a:path>
              </a:pathLst>
            </a:custGeom>
            <a:solidFill>
              <a:srgbClr val="BABA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1" name="Freeform 83"/>
            <p:cNvSpPr/>
            <p:nvPr/>
          </p:nvSpPr>
          <p:spPr bwMode="auto">
            <a:xfrm>
              <a:off x="5445125" y="955675"/>
              <a:ext cx="106362" cy="150813"/>
            </a:xfrm>
            <a:custGeom>
              <a:avLst/>
              <a:gdLst>
                <a:gd name="T0" fmla="*/ 0 w 7"/>
                <a:gd name="T1" fmla="*/ 1 h 10"/>
                <a:gd name="T2" fmla="*/ 1 w 7"/>
                <a:gd name="T3" fmla="*/ 3 h 10"/>
                <a:gd name="T4" fmla="*/ 7 w 7"/>
                <a:gd name="T5" fmla="*/ 10 h 10"/>
                <a:gd name="T6" fmla="*/ 7 w 7"/>
                <a:gd name="T7" fmla="*/ 9 h 10"/>
                <a:gd name="T8" fmla="*/ 7 w 7"/>
                <a:gd name="T9" fmla="*/ 8 h 10"/>
                <a:gd name="T10" fmla="*/ 7 w 7"/>
                <a:gd name="T11" fmla="*/ 7 h 10"/>
                <a:gd name="T12" fmla="*/ 5 w 7"/>
                <a:gd name="T13" fmla="*/ 4 h 10"/>
                <a:gd name="T14" fmla="*/ 4 w 7"/>
                <a:gd name="T15" fmla="*/ 2 h 10"/>
                <a:gd name="T16" fmla="*/ 3 w 7"/>
                <a:gd name="T17" fmla="*/ 1 h 10"/>
                <a:gd name="T18" fmla="*/ 0 w 7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0">
                  <a:moveTo>
                    <a:pt x="0" y="1"/>
                  </a:moveTo>
                  <a:cubicBezTo>
                    <a:pt x="1" y="2"/>
                    <a:pt x="1" y="3"/>
                    <a:pt x="1" y="3"/>
                  </a:cubicBezTo>
                  <a:cubicBezTo>
                    <a:pt x="2" y="5"/>
                    <a:pt x="7" y="10"/>
                    <a:pt x="7" y="10"/>
                  </a:cubicBezTo>
                  <a:cubicBezTo>
                    <a:pt x="7" y="10"/>
                    <a:pt x="7" y="9"/>
                    <a:pt x="7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7"/>
                    <a:pt x="7" y="7"/>
                  </a:cubicBezTo>
                  <a:cubicBezTo>
                    <a:pt x="7" y="6"/>
                    <a:pt x="6" y="4"/>
                    <a:pt x="5" y="4"/>
                  </a:cubicBezTo>
                  <a:cubicBezTo>
                    <a:pt x="5" y="4"/>
                    <a:pt x="5" y="2"/>
                    <a:pt x="4" y="2"/>
                  </a:cubicBezTo>
                  <a:cubicBezTo>
                    <a:pt x="4" y="2"/>
                    <a:pt x="4" y="0"/>
                    <a:pt x="3" y="1"/>
                  </a:cubicBezTo>
                  <a:cubicBezTo>
                    <a:pt x="2" y="2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D081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2" name="Freeform 84"/>
            <p:cNvSpPr/>
            <p:nvPr/>
          </p:nvSpPr>
          <p:spPr bwMode="auto">
            <a:xfrm>
              <a:off x="4597400" y="504825"/>
              <a:ext cx="303212" cy="376238"/>
            </a:xfrm>
            <a:custGeom>
              <a:avLst/>
              <a:gdLst>
                <a:gd name="T0" fmla="*/ 10 w 20"/>
                <a:gd name="T1" fmla="*/ 25 h 25"/>
                <a:gd name="T2" fmla="*/ 13 w 20"/>
                <a:gd name="T3" fmla="*/ 24 h 25"/>
                <a:gd name="T4" fmla="*/ 16 w 20"/>
                <a:gd name="T5" fmla="*/ 20 h 25"/>
                <a:gd name="T6" fmla="*/ 17 w 20"/>
                <a:gd name="T7" fmla="*/ 16 h 25"/>
                <a:gd name="T8" fmla="*/ 19 w 20"/>
                <a:gd name="T9" fmla="*/ 15 h 25"/>
                <a:gd name="T10" fmla="*/ 19 w 20"/>
                <a:gd name="T11" fmla="*/ 10 h 25"/>
                <a:gd name="T12" fmla="*/ 16 w 20"/>
                <a:gd name="T13" fmla="*/ 2 h 25"/>
                <a:gd name="T14" fmla="*/ 7 w 20"/>
                <a:gd name="T15" fmla="*/ 1 h 25"/>
                <a:gd name="T16" fmla="*/ 2 w 20"/>
                <a:gd name="T17" fmla="*/ 8 h 25"/>
                <a:gd name="T18" fmla="*/ 2 w 20"/>
                <a:gd name="T19" fmla="*/ 11 h 25"/>
                <a:gd name="T20" fmla="*/ 0 w 20"/>
                <a:gd name="T21" fmla="*/ 11 h 25"/>
                <a:gd name="T22" fmla="*/ 2 w 20"/>
                <a:gd name="T23" fmla="*/ 16 h 25"/>
                <a:gd name="T24" fmla="*/ 3 w 20"/>
                <a:gd name="T25" fmla="*/ 16 h 25"/>
                <a:gd name="T26" fmla="*/ 4 w 20"/>
                <a:gd name="T27" fmla="*/ 20 h 25"/>
                <a:gd name="T28" fmla="*/ 10 w 20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25">
                  <a:moveTo>
                    <a:pt x="10" y="25"/>
                  </a:moveTo>
                  <a:cubicBezTo>
                    <a:pt x="11" y="24"/>
                    <a:pt x="13" y="24"/>
                    <a:pt x="13" y="24"/>
                  </a:cubicBezTo>
                  <a:cubicBezTo>
                    <a:pt x="13" y="23"/>
                    <a:pt x="16" y="21"/>
                    <a:pt x="16" y="20"/>
                  </a:cubicBezTo>
                  <a:cubicBezTo>
                    <a:pt x="17" y="20"/>
                    <a:pt x="17" y="16"/>
                    <a:pt x="17" y="16"/>
                  </a:cubicBezTo>
                  <a:cubicBezTo>
                    <a:pt x="17" y="16"/>
                    <a:pt x="18" y="16"/>
                    <a:pt x="19" y="15"/>
                  </a:cubicBezTo>
                  <a:cubicBezTo>
                    <a:pt x="19" y="15"/>
                    <a:pt x="20" y="11"/>
                    <a:pt x="19" y="10"/>
                  </a:cubicBezTo>
                  <a:cubicBezTo>
                    <a:pt x="18" y="9"/>
                    <a:pt x="18" y="3"/>
                    <a:pt x="16" y="2"/>
                  </a:cubicBezTo>
                  <a:cubicBezTo>
                    <a:pt x="14" y="1"/>
                    <a:pt x="8" y="0"/>
                    <a:pt x="7" y="1"/>
                  </a:cubicBezTo>
                  <a:cubicBezTo>
                    <a:pt x="5" y="2"/>
                    <a:pt x="2" y="7"/>
                    <a:pt x="2" y="8"/>
                  </a:cubicBezTo>
                  <a:cubicBezTo>
                    <a:pt x="2" y="9"/>
                    <a:pt x="2" y="11"/>
                    <a:pt x="2" y="11"/>
                  </a:cubicBezTo>
                  <a:cubicBezTo>
                    <a:pt x="2" y="11"/>
                    <a:pt x="0" y="11"/>
                    <a:pt x="0" y="11"/>
                  </a:cubicBezTo>
                  <a:cubicBezTo>
                    <a:pt x="0" y="11"/>
                    <a:pt x="1" y="16"/>
                    <a:pt x="2" y="16"/>
                  </a:cubicBezTo>
                  <a:cubicBezTo>
                    <a:pt x="2" y="16"/>
                    <a:pt x="2" y="16"/>
                    <a:pt x="3" y="16"/>
                  </a:cubicBezTo>
                  <a:cubicBezTo>
                    <a:pt x="3" y="16"/>
                    <a:pt x="3" y="19"/>
                    <a:pt x="4" y="20"/>
                  </a:cubicBezTo>
                  <a:cubicBezTo>
                    <a:pt x="5" y="21"/>
                    <a:pt x="7" y="25"/>
                    <a:pt x="10" y="25"/>
                  </a:cubicBezTo>
                  <a:close/>
                </a:path>
              </a:pathLst>
            </a:custGeom>
            <a:solidFill>
              <a:srgbClr val="F1B1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3" name="Freeform 85"/>
            <p:cNvSpPr/>
            <p:nvPr/>
          </p:nvSpPr>
          <p:spPr bwMode="auto">
            <a:xfrm>
              <a:off x="5430838" y="865188"/>
              <a:ext cx="196850" cy="211138"/>
            </a:xfrm>
            <a:custGeom>
              <a:avLst/>
              <a:gdLst>
                <a:gd name="T0" fmla="*/ 0 w 13"/>
                <a:gd name="T1" fmla="*/ 4 h 14"/>
                <a:gd name="T2" fmla="*/ 0 w 13"/>
                <a:gd name="T3" fmla="*/ 4 h 14"/>
                <a:gd name="T4" fmla="*/ 0 w 13"/>
                <a:gd name="T5" fmla="*/ 4 h 14"/>
                <a:gd name="T6" fmla="*/ 0 w 13"/>
                <a:gd name="T7" fmla="*/ 4 h 14"/>
                <a:gd name="T8" fmla="*/ 0 w 13"/>
                <a:gd name="T9" fmla="*/ 5 h 14"/>
                <a:gd name="T10" fmla="*/ 1 w 13"/>
                <a:gd name="T11" fmla="*/ 5 h 14"/>
                <a:gd name="T12" fmla="*/ 1 w 13"/>
                <a:gd name="T13" fmla="*/ 7 h 14"/>
                <a:gd name="T14" fmla="*/ 1 w 13"/>
                <a:gd name="T15" fmla="*/ 7 h 14"/>
                <a:gd name="T16" fmla="*/ 4 w 13"/>
                <a:gd name="T17" fmla="*/ 7 h 14"/>
                <a:gd name="T18" fmla="*/ 5 w 13"/>
                <a:gd name="T19" fmla="*/ 8 h 14"/>
                <a:gd name="T20" fmla="*/ 6 w 13"/>
                <a:gd name="T21" fmla="*/ 10 h 14"/>
                <a:gd name="T22" fmla="*/ 8 w 13"/>
                <a:gd name="T23" fmla="*/ 13 h 14"/>
                <a:gd name="T24" fmla="*/ 8 w 13"/>
                <a:gd name="T25" fmla="*/ 14 h 14"/>
                <a:gd name="T26" fmla="*/ 8 w 13"/>
                <a:gd name="T27" fmla="*/ 14 h 14"/>
                <a:gd name="T28" fmla="*/ 9 w 13"/>
                <a:gd name="T29" fmla="*/ 14 h 14"/>
                <a:gd name="T30" fmla="*/ 9 w 13"/>
                <a:gd name="T31" fmla="*/ 14 h 14"/>
                <a:gd name="T32" fmla="*/ 9 w 13"/>
                <a:gd name="T33" fmla="*/ 14 h 14"/>
                <a:gd name="T34" fmla="*/ 9 w 13"/>
                <a:gd name="T35" fmla="*/ 14 h 14"/>
                <a:gd name="T36" fmla="*/ 10 w 13"/>
                <a:gd name="T37" fmla="*/ 13 h 14"/>
                <a:gd name="T38" fmla="*/ 11 w 13"/>
                <a:gd name="T39" fmla="*/ 12 h 14"/>
                <a:gd name="T40" fmla="*/ 11 w 13"/>
                <a:gd name="T41" fmla="*/ 12 h 14"/>
                <a:gd name="T42" fmla="*/ 11 w 13"/>
                <a:gd name="T43" fmla="*/ 12 h 14"/>
                <a:gd name="T44" fmla="*/ 11 w 13"/>
                <a:gd name="T45" fmla="*/ 12 h 14"/>
                <a:gd name="T46" fmla="*/ 11 w 13"/>
                <a:gd name="T47" fmla="*/ 12 h 14"/>
                <a:gd name="T48" fmla="*/ 11 w 13"/>
                <a:gd name="T49" fmla="*/ 12 h 14"/>
                <a:gd name="T50" fmla="*/ 11 w 13"/>
                <a:gd name="T51" fmla="*/ 12 h 14"/>
                <a:gd name="T52" fmla="*/ 11 w 13"/>
                <a:gd name="T53" fmla="*/ 11 h 14"/>
                <a:gd name="T54" fmla="*/ 12 w 13"/>
                <a:gd name="T55" fmla="*/ 11 h 14"/>
                <a:gd name="T56" fmla="*/ 12 w 13"/>
                <a:gd name="T57" fmla="*/ 11 h 14"/>
                <a:gd name="T58" fmla="*/ 12 w 13"/>
                <a:gd name="T59" fmla="*/ 11 h 14"/>
                <a:gd name="T60" fmla="*/ 12 w 13"/>
                <a:gd name="T61" fmla="*/ 10 h 14"/>
                <a:gd name="T62" fmla="*/ 12 w 13"/>
                <a:gd name="T63" fmla="*/ 10 h 14"/>
                <a:gd name="T64" fmla="*/ 12 w 13"/>
                <a:gd name="T65" fmla="*/ 8 h 14"/>
                <a:gd name="T66" fmla="*/ 12 w 13"/>
                <a:gd name="T67" fmla="*/ 8 h 14"/>
                <a:gd name="T68" fmla="*/ 13 w 13"/>
                <a:gd name="T69" fmla="*/ 8 h 14"/>
                <a:gd name="T70" fmla="*/ 13 w 13"/>
                <a:gd name="T71" fmla="*/ 7 h 14"/>
                <a:gd name="T72" fmla="*/ 13 w 13"/>
                <a:gd name="T73" fmla="*/ 7 h 14"/>
                <a:gd name="T74" fmla="*/ 13 w 13"/>
                <a:gd name="T75" fmla="*/ 7 h 14"/>
                <a:gd name="T76" fmla="*/ 12 w 13"/>
                <a:gd name="T77" fmla="*/ 5 h 14"/>
                <a:gd name="T78" fmla="*/ 12 w 13"/>
                <a:gd name="T79" fmla="*/ 4 h 14"/>
                <a:gd name="T80" fmla="*/ 11 w 13"/>
                <a:gd name="T81" fmla="*/ 3 h 14"/>
                <a:gd name="T82" fmla="*/ 11 w 13"/>
                <a:gd name="T83" fmla="*/ 2 h 14"/>
                <a:gd name="T84" fmla="*/ 9 w 13"/>
                <a:gd name="T85" fmla="*/ 2 h 14"/>
                <a:gd name="T86" fmla="*/ 9 w 13"/>
                <a:gd name="T87" fmla="*/ 1 h 14"/>
                <a:gd name="T88" fmla="*/ 5 w 13"/>
                <a:gd name="T89" fmla="*/ 1 h 14"/>
                <a:gd name="T90" fmla="*/ 4 w 13"/>
                <a:gd name="T91" fmla="*/ 1 h 14"/>
                <a:gd name="T92" fmla="*/ 4 w 13"/>
                <a:gd name="T93" fmla="*/ 1 h 14"/>
                <a:gd name="T94" fmla="*/ 4 w 13"/>
                <a:gd name="T95" fmla="*/ 1 h 14"/>
                <a:gd name="T96" fmla="*/ 4 w 13"/>
                <a:gd name="T97" fmla="*/ 1 h 14"/>
                <a:gd name="T98" fmla="*/ 4 w 13"/>
                <a:gd name="T99" fmla="*/ 1 h 14"/>
                <a:gd name="T100" fmla="*/ 4 w 13"/>
                <a:gd name="T101" fmla="*/ 1 h 14"/>
                <a:gd name="T102" fmla="*/ 4 w 13"/>
                <a:gd name="T103" fmla="*/ 2 h 14"/>
                <a:gd name="T104" fmla="*/ 4 w 13"/>
                <a:gd name="T105" fmla="*/ 2 h 14"/>
                <a:gd name="T106" fmla="*/ 4 w 13"/>
                <a:gd name="T107" fmla="*/ 2 h 14"/>
                <a:gd name="T108" fmla="*/ 4 w 13"/>
                <a:gd name="T109" fmla="*/ 2 h 14"/>
                <a:gd name="T110" fmla="*/ 4 w 13"/>
                <a:gd name="T111" fmla="*/ 2 h 14"/>
                <a:gd name="T112" fmla="*/ 3 w 13"/>
                <a:gd name="T113" fmla="*/ 2 h 14"/>
                <a:gd name="T114" fmla="*/ 1 w 13"/>
                <a:gd name="T115" fmla="*/ 3 h 14"/>
                <a:gd name="T116" fmla="*/ 1 w 13"/>
                <a:gd name="T117" fmla="*/ 3 h 14"/>
                <a:gd name="T118" fmla="*/ 0 w 13"/>
                <a:gd name="T119" fmla="*/ 3 h 14"/>
                <a:gd name="T120" fmla="*/ 0 w 13"/>
                <a:gd name="T121" fmla="*/ 3 h 14"/>
                <a:gd name="T122" fmla="*/ 0 w 13"/>
                <a:gd name="T123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" h="14"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7"/>
                    <a:pt x="3" y="8"/>
                    <a:pt x="4" y="7"/>
                  </a:cubicBezTo>
                  <a:cubicBezTo>
                    <a:pt x="5" y="6"/>
                    <a:pt x="5" y="8"/>
                    <a:pt x="5" y="8"/>
                  </a:cubicBezTo>
                  <a:cubicBezTo>
                    <a:pt x="6" y="8"/>
                    <a:pt x="6" y="10"/>
                    <a:pt x="6" y="10"/>
                  </a:cubicBezTo>
                  <a:cubicBezTo>
                    <a:pt x="7" y="10"/>
                    <a:pt x="8" y="12"/>
                    <a:pt x="8" y="13"/>
                  </a:cubicBezTo>
                  <a:cubicBezTo>
                    <a:pt x="8" y="13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3"/>
                    <a:pt x="9" y="13"/>
                    <a:pt x="10" y="13"/>
                  </a:cubicBezTo>
                  <a:cubicBezTo>
                    <a:pt x="10" y="13"/>
                    <a:pt x="10" y="13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9"/>
                    <a:pt x="12" y="9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3" y="8"/>
                    <a:pt x="13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6"/>
                    <a:pt x="12" y="5"/>
                    <a:pt x="12" y="5"/>
                  </a:cubicBezTo>
                  <a:cubicBezTo>
                    <a:pt x="12" y="5"/>
                    <a:pt x="12" y="4"/>
                    <a:pt x="12" y="4"/>
                  </a:cubicBezTo>
                  <a:cubicBezTo>
                    <a:pt x="12" y="4"/>
                    <a:pt x="11" y="3"/>
                    <a:pt x="11" y="3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9" y="2"/>
                    <a:pt x="9" y="2"/>
                    <a:pt x="9" y="1"/>
                  </a:cubicBezTo>
                  <a:cubicBezTo>
                    <a:pt x="9" y="0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F1B1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4" name="Freeform 86"/>
            <p:cNvSpPr/>
            <p:nvPr/>
          </p:nvSpPr>
          <p:spPr bwMode="auto">
            <a:xfrm>
              <a:off x="5430838" y="881063"/>
              <a:ext cx="196850" cy="195263"/>
            </a:xfrm>
            <a:custGeom>
              <a:avLst/>
              <a:gdLst>
                <a:gd name="T0" fmla="*/ 0 w 13"/>
                <a:gd name="T1" fmla="*/ 3 h 13"/>
                <a:gd name="T2" fmla="*/ 0 w 13"/>
                <a:gd name="T3" fmla="*/ 3 h 13"/>
                <a:gd name="T4" fmla="*/ 0 w 13"/>
                <a:gd name="T5" fmla="*/ 3 h 13"/>
                <a:gd name="T6" fmla="*/ 0 w 13"/>
                <a:gd name="T7" fmla="*/ 3 h 13"/>
                <a:gd name="T8" fmla="*/ 0 w 13"/>
                <a:gd name="T9" fmla="*/ 4 h 13"/>
                <a:gd name="T10" fmla="*/ 1 w 13"/>
                <a:gd name="T11" fmla="*/ 4 h 13"/>
                <a:gd name="T12" fmla="*/ 1 w 13"/>
                <a:gd name="T13" fmla="*/ 6 h 13"/>
                <a:gd name="T14" fmla="*/ 1 w 13"/>
                <a:gd name="T15" fmla="*/ 6 h 13"/>
                <a:gd name="T16" fmla="*/ 4 w 13"/>
                <a:gd name="T17" fmla="*/ 6 h 13"/>
                <a:gd name="T18" fmla="*/ 5 w 13"/>
                <a:gd name="T19" fmla="*/ 7 h 13"/>
                <a:gd name="T20" fmla="*/ 6 w 13"/>
                <a:gd name="T21" fmla="*/ 9 h 13"/>
                <a:gd name="T22" fmla="*/ 8 w 13"/>
                <a:gd name="T23" fmla="*/ 12 h 13"/>
                <a:gd name="T24" fmla="*/ 8 w 13"/>
                <a:gd name="T25" fmla="*/ 13 h 13"/>
                <a:gd name="T26" fmla="*/ 8 w 13"/>
                <a:gd name="T27" fmla="*/ 13 h 13"/>
                <a:gd name="T28" fmla="*/ 9 w 13"/>
                <a:gd name="T29" fmla="*/ 13 h 13"/>
                <a:gd name="T30" fmla="*/ 9 w 13"/>
                <a:gd name="T31" fmla="*/ 13 h 13"/>
                <a:gd name="T32" fmla="*/ 9 w 13"/>
                <a:gd name="T33" fmla="*/ 13 h 13"/>
                <a:gd name="T34" fmla="*/ 9 w 13"/>
                <a:gd name="T35" fmla="*/ 13 h 13"/>
                <a:gd name="T36" fmla="*/ 10 w 13"/>
                <a:gd name="T37" fmla="*/ 12 h 13"/>
                <a:gd name="T38" fmla="*/ 11 w 13"/>
                <a:gd name="T39" fmla="*/ 11 h 13"/>
                <a:gd name="T40" fmla="*/ 11 w 13"/>
                <a:gd name="T41" fmla="*/ 11 h 13"/>
                <a:gd name="T42" fmla="*/ 11 w 13"/>
                <a:gd name="T43" fmla="*/ 11 h 13"/>
                <a:gd name="T44" fmla="*/ 11 w 13"/>
                <a:gd name="T45" fmla="*/ 11 h 13"/>
                <a:gd name="T46" fmla="*/ 11 w 13"/>
                <a:gd name="T47" fmla="*/ 11 h 13"/>
                <a:gd name="T48" fmla="*/ 11 w 13"/>
                <a:gd name="T49" fmla="*/ 11 h 13"/>
                <a:gd name="T50" fmla="*/ 11 w 13"/>
                <a:gd name="T51" fmla="*/ 11 h 13"/>
                <a:gd name="T52" fmla="*/ 11 w 13"/>
                <a:gd name="T53" fmla="*/ 10 h 13"/>
                <a:gd name="T54" fmla="*/ 12 w 13"/>
                <a:gd name="T55" fmla="*/ 10 h 13"/>
                <a:gd name="T56" fmla="*/ 12 w 13"/>
                <a:gd name="T57" fmla="*/ 10 h 13"/>
                <a:gd name="T58" fmla="*/ 12 w 13"/>
                <a:gd name="T59" fmla="*/ 10 h 13"/>
                <a:gd name="T60" fmla="*/ 12 w 13"/>
                <a:gd name="T61" fmla="*/ 9 h 13"/>
                <a:gd name="T62" fmla="*/ 12 w 13"/>
                <a:gd name="T63" fmla="*/ 9 h 13"/>
                <a:gd name="T64" fmla="*/ 12 w 13"/>
                <a:gd name="T65" fmla="*/ 7 h 13"/>
                <a:gd name="T66" fmla="*/ 12 w 13"/>
                <a:gd name="T67" fmla="*/ 7 h 13"/>
                <a:gd name="T68" fmla="*/ 13 w 13"/>
                <a:gd name="T69" fmla="*/ 7 h 13"/>
                <a:gd name="T70" fmla="*/ 13 w 13"/>
                <a:gd name="T71" fmla="*/ 6 h 13"/>
                <a:gd name="T72" fmla="*/ 13 w 13"/>
                <a:gd name="T73" fmla="*/ 6 h 13"/>
                <a:gd name="T74" fmla="*/ 10 w 13"/>
                <a:gd name="T75" fmla="*/ 6 h 13"/>
                <a:gd name="T76" fmla="*/ 9 w 13"/>
                <a:gd name="T77" fmla="*/ 5 h 13"/>
                <a:gd name="T78" fmla="*/ 11 w 13"/>
                <a:gd name="T79" fmla="*/ 4 h 13"/>
                <a:gd name="T80" fmla="*/ 8 w 13"/>
                <a:gd name="T81" fmla="*/ 4 h 13"/>
                <a:gd name="T82" fmla="*/ 7 w 13"/>
                <a:gd name="T83" fmla="*/ 3 h 13"/>
                <a:gd name="T84" fmla="*/ 10 w 13"/>
                <a:gd name="T85" fmla="*/ 2 h 13"/>
                <a:gd name="T86" fmla="*/ 7 w 13"/>
                <a:gd name="T87" fmla="*/ 2 h 13"/>
                <a:gd name="T88" fmla="*/ 6 w 13"/>
                <a:gd name="T89" fmla="*/ 1 h 13"/>
                <a:gd name="T90" fmla="*/ 4 w 13"/>
                <a:gd name="T91" fmla="*/ 0 h 13"/>
                <a:gd name="T92" fmla="*/ 4 w 13"/>
                <a:gd name="T93" fmla="*/ 0 h 13"/>
                <a:gd name="T94" fmla="*/ 4 w 13"/>
                <a:gd name="T95" fmla="*/ 0 h 13"/>
                <a:gd name="T96" fmla="*/ 4 w 13"/>
                <a:gd name="T97" fmla="*/ 0 h 13"/>
                <a:gd name="T98" fmla="*/ 4 w 13"/>
                <a:gd name="T99" fmla="*/ 0 h 13"/>
                <a:gd name="T100" fmla="*/ 4 w 13"/>
                <a:gd name="T101" fmla="*/ 0 h 13"/>
                <a:gd name="T102" fmla="*/ 4 w 13"/>
                <a:gd name="T103" fmla="*/ 1 h 13"/>
                <a:gd name="T104" fmla="*/ 4 w 13"/>
                <a:gd name="T105" fmla="*/ 1 h 13"/>
                <a:gd name="T106" fmla="*/ 4 w 13"/>
                <a:gd name="T107" fmla="*/ 1 h 13"/>
                <a:gd name="T108" fmla="*/ 4 w 13"/>
                <a:gd name="T109" fmla="*/ 1 h 13"/>
                <a:gd name="T110" fmla="*/ 4 w 13"/>
                <a:gd name="T111" fmla="*/ 1 h 13"/>
                <a:gd name="T112" fmla="*/ 4 w 13"/>
                <a:gd name="T113" fmla="*/ 1 h 13"/>
                <a:gd name="T114" fmla="*/ 3 w 13"/>
                <a:gd name="T115" fmla="*/ 2 h 13"/>
                <a:gd name="T116" fmla="*/ 1 w 13"/>
                <a:gd name="T117" fmla="*/ 2 h 13"/>
                <a:gd name="T118" fmla="*/ 1 w 13"/>
                <a:gd name="T119" fmla="*/ 2 h 13"/>
                <a:gd name="T120" fmla="*/ 0 w 13"/>
                <a:gd name="T121" fmla="*/ 2 h 13"/>
                <a:gd name="T122" fmla="*/ 0 w 13"/>
                <a:gd name="T123" fmla="*/ 2 h 13"/>
                <a:gd name="T124" fmla="*/ 0 w 13"/>
                <a:gd name="T12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" h="13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6"/>
                    <a:pt x="3" y="7"/>
                    <a:pt x="4" y="6"/>
                  </a:cubicBezTo>
                  <a:cubicBezTo>
                    <a:pt x="5" y="5"/>
                    <a:pt x="5" y="7"/>
                    <a:pt x="5" y="7"/>
                  </a:cubicBezTo>
                  <a:cubicBezTo>
                    <a:pt x="6" y="7"/>
                    <a:pt x="6" y="9"/>
                    <a:pt x="6" y="9"/>
                  </a:cubicBezTo>
                  <a:cubicBezTo>
                    <a:pt x="7" y="9"/>
                    <a:pt x="8" y="11"/>
                    <a:pt x="8" y="12"/>
                  </a:cubicBezTo>
                  <a:cubicBezTo>
                    <a:pt x="8" y="12"/>
                    <a:pt x="8" y="13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8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2"/>
                    <a:pt x="9" y="12"/>
                    <a:pt x="10" y="12"/>
                  </a:cubicBezTo>
                  <a:cubicBezTo>
                    <a:pt x="10" y="12"/>
                    <a:pt x="10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8"/>
                    <a:pt x="12" y="8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3" y="7"/>
                    <a:pt x="13" y="7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2" y="6"/>
                    <a:pt x="10" y="6"/>
                    <a:pt x="10" y="6"/>
                  </a:cubicBezTo>
                  <a:cubicBezTo>
                    <a:pt x="9" y="6"/>
                    <a:pt x="9" y="5"/>
                    <a:pt x="9" y="5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9" y="5"/>
                    <a:pt x="8" y="4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8" y="3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5" y="1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3"/>
                    <a:pt x="2" y="3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5" name="Freeform 87"/>
            <p:cNvSpPr/>
            <p:nvPr/>
          </p:nvSpPr>
          <p:spPr bwMode="auto">
            <a:xfrm>
              <a:off x="4597400" y="520700"/>
              <a:ext cx="303212" cy="360363"/>
            </a:xfrm>
            <a:custGeom>
              <a:avLst/>
              <a:gdLst>
                <a:gd name="T0" fmla="*/ 16 w 20"/>
                <a:gd name="T1" fmla="*/ 1 h 24"/>
                <a:gd name="T2" fmla="*/ 13 w 20"/>
                <a:gd name="T3" fmla="*/ 0 h 24"/>
                <a:gd name="T4" fmla="*/ 15 w 20"/>
                <a:gd name="T5" fmla="*/ 5 h 24"/>
                <a:gd name="T6" fmla="*/ 16 w 20"/>
                <a:gd name="T7" fmla="*/ 9 h 24"/>
                <a:gd name="T8" fmla="*/ 17 w 20"/>
                <a:gd name="T9" fmla="*/ 11 h 24"/>
                <a:gd name="T10" fmla="*/ 16 w 20"/>
                <a:gd name="T11" fmla="*/ 14 h 24"/>
                <a:gd name="T12" fmla="*/ 16 w 20"/>
                <a:gd name="T13" fmla="*/ 16 h 24"/>
                <a:gd name="T14" fmla="*/ 16 w 20"/>
                <a:gd name="T15" fmla="*/ 19 h 24"/>
                <a:gd name="T16" fmla="*/ 13 w 20"/>
                <a:gd name="T17" fmla="*/ 22 h 24"/>
                <a:gd name="T18" fmla="*/ 9 w 20"/>
                <a:gd name="T19" fmla="*/ 23 h 24"/>
                <a:gd name="T20" fmla="*/ 8 w 20"/>
                <a:gd name="T21" fmla="*/ 21 h 24"/>
                <a:gd name="T22" fmla="*/ 5 w 20"/>
                <a:gd name="T23" fmla="*/ 18 h 24"/>
                <a:gd name="T24" fmla="*/ 5 w 20"/>
                <a:gd name="T25" fmla="*/ 15 h 24"/>
                <a:gd name="T26" fmla="*/ 6 w 20"/>
                <a:gd name="T27" fmla="*/ 13 h 24"/>
                <a:gd name="T28" fmla="*/ 6 w 20"/>
                <a:gd name="T29" fmla="*/ 12 h 24"/>
                <a:gd name="T30" fmla="*/ 4 w 20"/>
                <a:gd name="T31" fmla="*/ 10 h 24"/>
                <a:gd name="T32" fmla="*/ 6 w 20"/>
                <a:gd name="T33" fmla="*/ 8 h 24"/>
                <a:gd name="T34" fmla="*/ 7 w 20"/>
                <a:gd name="T35" fmla="*/ 6 h 24"/>
                <a:gd name="T36" fmla="*/ 8 w 20"/>
                <a:gd name="T37" fmla="*/ 1 h 24"/>
                <a:gd name="T38" fmla="*/ 7 w 20"/>
                <a:gd name="T39" fmla="*/ 0 h 24"/>
                <a:gd name="T40" fmla="*/ 7 w 20"/>
                <a:gd name="T41" fmla="*/ 0 h 24"/>
                <a:gd name="T42" fmla="*/ 2 w 20"/>
                <a:gd name="T43" fmla="*/ 7 h 24"/>
                <a:gd name="T44" fmla="*/ 2 w 20"/>
                <a:gd name="T45" fmla="*/ 10 h 24"/>
                <a:gd name="T46" fmla="*/ 0 w 20"/>
                <a:gd name="T47" fmla="*/ 10 h 24"/>
                <a:gd name="T48" fmla="*/ 1 w 20"/>
                <a:gd name="T49" fmla="*/ 15 h 24"/>
                <a:gd name="T50" fmla="*/ 3 w 20"/>
                <a:gd name="T51" fmla="*/ 15 h 24"/>
                <a:gd name="T52" fmla="*/ 4 w 20"/>
                <a:gd name="T53" fmla="*/ 19 h 24"/>
                <a:gd name="T54" fmla="*/ 10 w 20"/>
                <a:gd name="T55" fmla="*/ 24 h 24"/>
                <a:gd name="T56" fmla="*/ 13 w 20"/>
                <a:gd name="T57" fmla="*/ 23 h 24"/>
                <a:gd name="T58" fmla="*/ 16 w 20"/>
                <a:gd name="T59" fmla="*/ 19 h 24"/>
                <a:gd name="T60" fmla="*/ 17 w 20"/>
                <a:gd name="T61" fmla="*/ 15 h 24"/>
                <a:gd name="T62" fmla="*/ 19 w 20"/>
                <a:gd name="T63" fmla="*/ 14 h 24"/>
                <a:gd name="T64" fmla="*/ 19 w 20"/>
                <a:gd name="T65" fmla="*/ 9 h 24"/>
                <a:gd name="T66" fmla="*/ 16 w 20"/>
                <a:gd name="T67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0" h="24">
                  <a:moveTo>
                    <a:pt x="16" y="1"/>
                  </a:moveTo>
                  <a:cubicBezTo>
                    <a:pt x="15" y="1"/>
                    <a:pt x="14" y="1"/>
                    <a:pt x="13" y="0"/>
                  </a:cubicBezTo>
                  <a:cubicBezTo>
                    <a:pt x="13" y="1"/>
                    <a:pt x="14" y="4"/>
                    <a:pt x="15" y="5"/>
                  </a:cubicBezTo>
                  <a:cubicBezTo>
                    <a:pt x="16" y="6"/>
                    <a:pt x="16" y="9"/>
                    <a:pt x="16" y="9"/>
                  </a:cubicBezTo>
                  <a:cubicBezTo>
                    <a:pt x="16" y="9"/>
                    <a:pt x="17" y="10"/>
                    <a:pt x="17" y="11"/>
                  </a:cubicBezTo>
                  <a:cubicBezTo>
                    <a:pt x="17" y="11"/>
                    <a:pt x="17" y="13"/>
                    <a:pt x="16" y="14"/>
                  </a:cubicBezTo>
                  <a:cubicBezTo>
                    <a:pt x="15" y="16"/>
                    <a:pt x="16" y="16"/>
                    <a:pt x="16" y="16"/>
                  </a:cubicBezTo>
                  <a:cubicBezTo>
                    <a:pt x="16" y="16"/>
                    <a:pt x="16" y="18"/>
                    <a:pt x="16" y="19"/>
                  </a:cubicBezTo>
                  <a:cubicBezTo>
                    <a:pt x="15" y="19"/>
                    <a:pt x="13" y="21"/>
                    <a:pt x="13" y="22"/>
                  </a:cubicBezTo>
                  <a:cubicBezTo>
                    <a:pt x="13" y="22"/>
                    <a:pt x="11" y="23"/>
                    <a:pt x="9" y="23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8" y="20"/>
                    <a:pt x="6" y="20"/>
                    <a:pt x="5" y="18"/>
                  </a:cubicBezTo>
                  <a:cubicBezTo>
                    <a:pt x="5" y="17"/>
                    <a:pt x="6" y="16"/>
                    <a:pt x="5" y="15"/>
                  </a:cubicBezTo>
                  <a:cubicBezTo>
                    <a:pt x="5" y="14"/>
                    <a:pt x="6" y="13"/>
                    <a:pt x="6" y="13"/>
                  </a:cubicBezTo>
                  <a:cubicBezTo>
                    <a:pt x="6" y="13"/>
                    <a:pt x="6" y="12"/>
                    <a:pt x="6" y="12"/>
                  </a:cubicBezTo>
                  <a:cubicBezTo>
                    <a:pt x="6" y="12"/>
                    <a:pt x="4" y="11"/>
                    <a:pt x="4" y="10"/>
                  </a:cubicBezTo>
                  <a:cubicBezTo>
                    <a:pt x="4" y="9"/>
                    <a:pt x="7" y="8"/>
                    <a:pt x="6" y="8"/>
                  </a:cubicBezTo>
                  <a:cubicBezTo>
                    <a:pt x="6" y="8"/>
                    <a:pt x="8" y="7"/>
                    <a:pt x="7" y="6"/>
                  </a:cubicBezTo>
                  <a:cubicBezTo>
                    <a:pt x="7" y="5"/>
                    <a:pt x="8" y="1"/>
                    <a:pt x="8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"/>
                    <a:pt x="2" y="6"/>
                    <a:pt x="2" y="7"/>
                  </a:cubicBezTo>
                  <a:cubicBezTo>
                    <a:pt x="2" y="8"/>
                    <a:pt x="2" y="10"/>
                    <a:pt x="2" y="10"/>
                  </a:cubicBezTo>
                  <a:cubicBezTo>
                    <a:pt x="2" y="10"/>
                    <a:pt x="0" y="10"/>
                    <a:pt x="0" y="10"/>
                  </a:cubicBezTo>
                  <a:cubicBezTo>
                    <a:pt x="0" y="10"/>
                    <a:pt x="1" y="14"/>
                    <a:pt x="1" y="15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3" y="15"/>
                    <a:pt x="3" y="18"/>
                    <a:pt x="4" y="19"/>
                  </a:cubicBezTo>
                  <a:cubicBezTo>
                    <a:pt x="5" y="20"/>
                    <a:pt x="7" y="24"/>
                    <a:pt x="10" y="24"/>
                  </a:cubicBezTo>
                  <a:cubicBezTo>
                    <a:pt x="11" y="23"/>
                    <a:pt x="13" y="23"/>
                    <a:pt x="13" y="23"/>
                  </a:cubicBezTo>
                  <a:cubicBezTo>
                    <a:pt x="13" y="22"/>
                    <a:pt x="16" y="20"/>
                    <a:pt x="16" y="19"/>
                  </a:cubicBezTo>
                  <a:cubicBezTo>
                    <a:pt x="17" y="19"/>
                    <a:pt x="17" y="15"/>
                    <a:pt x="17" y="15"/>
                  </a:cubicBezTo>
                  <a:cubicBezTo>
                    <a:pt x="17" y="15"/>
                    <a:pt x="18" y="15"/>
                    <a:pt x="19" y="14"/>
                  </a:cubicBezTo>
                  <a:cubicBezTo>
                    <a:pt x="19" y="14"/>
                    <a:pt x="20" y="10"/>
                    <a:pt x="19" y="9"/>
                  </a:cubicBezTo>
                  <a:cubicBezTo>
                    <a:pt x="18" y="8"/>
                    <a:pt x="18" y="2"/>
                    <a:pt x="16" y="1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6" name="Freeform 88"/>
            <p:cNvSpPr/>
            <p:nvPr/>
          </p:nvSpPr>
          <p:spPr bwMode="auto">
            <a:xfrm>
              <a:off x="3825875" y="881063"/>
              <a:ext cx="104775" cy="149225"/>
            </a:xfrm>
            <a:custGeom>
              <a:avLst/>
              <a:gdLst>
                <a:gd name="T0" fmla="*/ 7 w 7"/>
                <a:gd name="T1" fmla="*/ 1 h 10"/>
                <a:gd name="T2" fmla="*/ 7 w 7"/>
                <a:gd name="T3" fmla="*/ 3 h 10"/>
                <a:gd name="T4" fmla="*/ 1 w 7"/>
                <a:gd name="T5" fmla="*/ 10 h 10"/>
                <a:gd name="T6" fmla="*/ 0 w 7"/>
                <a:gd name="T7" fmla="*/ 9 h 10"/>
                <a:gd name="T8" fmla="*/ 0 w 7"/>
                <a:gd name="T9" fmla="*/ 9 h 10"/>
                <a:gd name="T10" fmla="*/ 1 w 7"/>
                <a:gd name="T11" fmla="*/ 7 h 10"/>
                <a:gd name="T12" fmla="*/ 2 w 7"/>
                <a:gd name="T13" fmla="*/ 5 h 10"/>
                <a:gd name="T14" fmla="*/ 3 w 7"/>
                <a:gd name="T15" fmla="*/ 2 h 10"/>
                <a:gd name="T16" fmla="*/ 5 w 7"/>
                <a:gd name="T17" fmla="*/ 1 h 10"/>
                <a:gd name="T18" fmla="*/ 7 w 7"/>
                <a:gd name="T1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0">
                  <a:moveTo>
                    <a:pt x="7" y="1"/>
                  </a:moveTo>
                  <a:cubicBezTo>
                    <a:pt x="7" y="2"/>
                    <a:pt x="7" y="3"/>
                    <a:pt x="7" y="3"/>
                  </a:cubicBezTo>
                  <a:cubicBezTo>
                    <a:pt x="6" y="6"/>
                    <a:pt x="1" y="10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1" y="7"/>
                    <a:pt x="2" y="5"/>
                    <a:pt x="2" y="5"/>
                  </a:cubicBezTo>
                  <a:cubicBezTo>
                    <a:pt x="3" y="5"/>
                    <a:pt x="3" y="3"/>
                    <a:pt x="3" y="2"/>
                  </a:cubicBezTo>
                  <a:cubicBezTo>
                    <a:pt x="4" y="2"/>
                    <a:pt x="4" y="0"/>
                    <a:pt x="5" y="1"/>
                  </a:cubicBezTo>
                  <a:cubicBezTo>
                    <a:pt x="6" y="2"/>
                    <a:pt x="7" y="2"/>
                    <a:pt x="7" y="1"/>
                  </a:cubicBezTo>
                  <a:close/>
                </a:path>
              </a:pathLst>
            </a:custGeom>
            <a:solidFill>
              <a:srgbClr val="D081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7" name="Freeform 89"/>
            <p:cNvSpPr/>
            <p:nvPr/>
          </p:nvSpPr>
          <p:spPr bwMode="auto">
            <a:xfrm>
              <a:off x="3763963" y="806450"/>
              <a:ext cx="182562" cy="209550"/>
            </a:xfrm>
            <a:custGeom>
              <a:avLst/>
              <a:gdLst>
                <a:gd name="T0" fmla="*/ 12 w 12"/>
                <a:gd name="T1" fmla="*/ 3 h 14"/>
                <a:gd name="T2" fmla="*/ 12 w 12"/>
                <a:gd name="T3" fmla="*/ 3 h 14"/>
                <a:gd name="T4" fmla="*/ 12 w 12"/>
                <a:gd name="T5" fmla="*/ 3 h 14"/>
                <a:gd name="T6" fmla="*/ 12 w 12"/>
                <a:gd name="T7" fmla="*/ 4 h 14"/>
                <a:gd name="T8" fmla="*/ 12 w 12"/>
                <a:gd name="T9" fmla="*/ 4 h 14"/>
                <a:gd name="T10" fmla="*/ 12 w 12"/>
                <a:gd name="T11" fmla="*/ 4 h 14"/>
                <a:gd name="T12" fmla="*/ 11 w 12"/>
                <a:gd name="T13" fmla="*/ 6 h 14"/>
                <a:gd name="T14" fmla="*/ 11 w 12"/>
                <a:gd name="T15" fmla="*/ 6 h 14"/>
                <a:gd name="T16" fmla="*/ 9 w 12"/>
                <a:gd name="T17" fmla="*/ 6 h 14"/>
                <a:gd name="T18" fmla="*/ 7 w 12"/>
                <a:gd name="T19" fmla="*/ 7 h 14"/>
                <a:gd name="T20" fmla="*/ 6 w 12"/>
                <a:gd name="T21" fmla="*/ 10 h 14"/>
                <a:gd name="T22" fmla="*/ 5 w 12"/>
                <a:gd name="T23" fmla="*/ 12 h 14"/>
                <a:gd name="T24" fmla="*/ 4 w 12"/>
                <a:gd name="T25" fmla="*/ 14 h 14"/>
                <a:gd name="T26" fmla="*/ 4 w 12"/>
                <a:gd name="T27" fmla="*/ 14 h 14"/>
                <a:gd name="T28" fmla="*/ 4 w 12"/>
                <a:gd name="T29" fmla="*/ 14 h 14"/>
                <a:gd name="T30" fmla="*/ 4 w 12"/>
                <a:gd name="T31" fmla="*/ 13 h 14"/>
                <a:gd name="T32" fmla="*/ 4 w 12"/>
                <a:gd name="T33" fmla="*/ 13 h 14"/>
                <a:gd name="T34" fmla="*/ 3 w 12"/>
                <a:gd name="T35" fmla="*/ 13 h 14"/>
                <a:gd name="T36" fmla="*/ 3 w 12"/>
                <a:gd name="T37" fmla="*/ 13 h 14"/>
                <a:gd name="T38" fmla="*/ 2 w 12"/>
                <a:gd name="T39" fmla="*/ 12 h 14"/>
                <a:gd name="T40" fmla="*/ 2 w 12"/>
                <a:gd name="T41" fmla="*/ 11 h 14"/>
                <a:gd name="T42" fmla="*/ 2 w 12"/>
                <a:gd name="T43" fmla="*/ 11 h 14"/>
                <a:gd name="T44" fmla="*/ 2 w 12"/>
                <a:gd name="T45" fmla="*/ 11 h 14"/>
                <a:gd name="T46" fmla="*/ 2 w 12"/>
                <a:gd name="T47" fmla="*/ 11 h 14"/>
                <a:gd name="T48" fmla="*/ 1 w 12"/>
                <a:gd name="T49" fmla="*/ 11 h 14"/>
                <a:gd name="T50" fmla="*/ 1 w 12"/>
                <a:gd name="T51" fmla="*/ 11 h 14"/>
                <a:gd name="T52" fmla="*/ 1 w 12"/>
                <a:gd name="T53" fmla="*/ 11 h 14"/>
                <a:gd name="T54" fmla="*/ 1 w 12"/>
                <a:gd name="T55" fmla="*/ 10 h 14"/>
                <a:gd name="T56" fmla="*/ 1 w 12"/>
                <a:gd name="T57" fmla="*/ 10 h 14"/>
                <a:gd name="T58" fmla="*/ 1 w 12"/>
                <a:gd name="T59" fmla="*/ 10 h 14"/>
                <a:gd name="T60" fmla="*/ 1 w 12"/>
                <a:gd name="T61" fmla="*/ 9 h 14"/>
                <a:gd name="T62" fmla="*/ 1 w 12"/>
                <a:gd name="T63" fmla="*/ 9 h 14"/>
                <a:gd name="T64" fmla="*/ 0 w 12"/>
                <a:gd name="T65" fmla="*/ 8 h 14"/>
                <a:gd name="T66" fmla="*/ 0 w 12"/>
                <a:gd name="T67" fmla="*/ 8 h 14"/>
                <a:gd name="T68" fmla="*/ 0 w 12"/>
                <a:gd name="T69" fmla="*/ 7 h 14"/>
                <a:gd name="T70" fmla="*/ 0 w 12"/>
                <a:gd name="T71" fmla="*/ 7 h 14"/>
                <a:gd name="T72" fmla="*/ 0 w 12"/>
                <a:gd name="T73" fmla="*/ 6 h 14"/>
                <a:gd name="T74" fmla="*/ 0 w 12"/>
                <a:gd name="T75" fmla="*/ 6 h 14"/>
                <a:gd name="T76" fmla="*/ 1 w 12"/>
                <a:gd name="T77" fmla="*/ 5 h 14"/>
                <a:gd name="T78" fmla="*/ 1 w 12"/>
                <a:gd name="T79" fmla="*/ 4 h 14"/>
                <a:gd name="T80" fmla="*/ 2 w 12"/>
                <a:gd name="T81" fmla="*/ 3 h 14"/>
                <a:gd name="T82" fmla="*/ 2 w 12"/>
                <a:gd name="T83" fmla="*/ 1 h 14"/>
                <a:gd name="T84" fmla="*/ 4 w 12"/>
                <a:gd name="T85" fmla="*/ 1 h 14"/>
                <a:gd name="T86" fmla="*/ 4 w 12"/>
                <a:gd name="T87" fmla="*/ 0 h 14"/>
                <a:gd name="T88" fmla="*/ 8 w 12"/>
                <a:gd name="T89" fmla="*/ 0 h 14"/>
                <a:gd name="T90" fmla="*/ 8 w 12"/>
                <a:gd name="T91" fmla="*/ 0 h 14"/>
                <a:gd name="T92" fmla="*/ 9 w 12"/>
                <a:gd name="T93" fmla="*/ 0 h 14"/>
                <a:gd name="T94" fmla="*/ 9 w 12"/>
                <a:gd name="T95" fmla="*/ 1 h 14"/>
                <a:gd name="T96" fmla="*/ 9 w 12"/>
                <a:gd name="T97" fmla="*/ 1 h 14"/>
                <a:gd name="T98" fmla="*/ 9 w 12"/>
                <a:gd name="T99" fmla="*/ 1 h 14"/>
                <a:gd name="T100" fmla="*/ 9 w 12"/>
                <a:gd name="T101" fmla="*/ 1 h 14"/>
                <a:gd name="T102" fmla="*/ 9 w 12"/>
                <a:gd name="T103" fmla="*/ 1 h 14"/>
                <a:gd name="T104" fmla="*/ 9 w 12"/>
                <a:gd name="T105" fmla="*/ 1 h 14"/>
                <a:gd name="T106" fmla="*/ 9 w 12"/>
                <a:gd name="T107" fmla="*/ 1 h 14"/>
                <a:gd name="T108" fmla="*/ 9 w 12"/>
                <a:gd name="T109" fmla="*/ 1 h 14"/>
                <a:gd name="T110" fmla="*/ 9 w 12"/>
                <a:gd name="T111" fmla="*/ 1 h 14"/>
                <a:gd name="T112" fmla="*/ 10 w 12"/>
                <a:gd name="T113" fmla="*/ 1 h 14"/>
                <a:gd name="T114" fmla="*/ 12 w 12"/>
                <a:gd name="T115" fmla="*/ 2 h 14"/>
                <a:gd name="T116" fmla="*/ 12 w 12"/>
                <a:gd name="T117" fmla="*/ 2 h 14"/>
                <a:gd name="T118" fmla="*/ 12 w 12"/>
                <a:gd name="T119" fmla="*/ 2 h 14"/>
                <a:gd name="T120" fmla="*/ 12 w 12"/>
                <a:gd name="T121" fmla="*/ 3 h 14"/>
                <a:gd name="T122" fmla="*/ 12 w 12"/>
                <a:gd name="T123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" h="14">
                  <a:moveTo>
                    <a:pt x="12" y="3"/>
                  </a:move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5"/>
                    <a:pt x="12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7"/>
                    <a:pt x="10" y="7"/>
                    <a:pt x="9" y="6"/>
                  </a:cubicBezTo>
                  <a:cubicBezTo>
                    <a:pt x="8" y="5"/>
                    <a:pt x="8" y="7"/>
                    <a:pt x="7" y="7"/>
                  </a:cubicBezTo>
                  <a:cubicBezTo>
                    <a:pt x="7" y="8"/>
                    <a:pt x="7" y="10"/>
                    <a:pt x="6" y="10"/>
                  </a:cubicBezTo>
                  <a:cubicBezTo>
                    <a:pt x="6" y="10"/>
                    <a:pt x="5" y="12"/>
                    <a:pt x="5" y="12"/>
                  </a:cubicBezTo>
                  <a:cubicBezTo>
                    <a:pt x="5" y="13"/>
                    <a:pt x="5" y="13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2"/>
                    <a:pt x="3" y="12"/>
                    <a:pt x="2" y="12"/>
                  </a:cubicBezTo>
                  <a:cubicBezTo>
                    <a:pt x="2" y="12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1" y="5"/>
                    <a:pt x="1" y="4"/>
                    <a:pt x="1" y="4"/>
                  </a:cubicBezTo>
                  <a:cubicBezTo>
                    <a:pt x="1" y="4"/>
                    <a:pt x="2" y="3"/>
                    <a:pt x="2" y="3"/>
                  </a:cubicBezTo>
                  <a:cubicBezTo>
                    <a:pt x="2" y="3"/>
                    <a:pt x="2" y="2"/>
                    <a:pt x="2" y="1"/>
                  </a:cubicBezTo>
                  <a:cubicBezTo>
                    <a:pt x="2" y="1"/>
                    <a:pt x="4" y="1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ubicBezTo>
                    <a:pt x="4" y="0"/>
                    <a:pt x="7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1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lose/>
                </a:path>
              </a:pathLst>
            </a:custGeom>
            <a:solidFill>
              <a:srgbClr val="F1B1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8" name="Freeform 90"/>
            <p:cNvSpPr/>
            <p:nvPr/>
          </p:nvSpPr>
          <p:spPr bwMode="auto">
            <a:xfrm>
              <a:off x="3763963" y="806450"/>
              <a:ext cx="182562" cy="209550"/>
            </a:xfrm>
            <a:custGeom>
              <a:avLst/>
              <a:gdLst>
                <a:gd name="T0" fmla="*/ 12 w 12"/>
                <a:gd name="T1" fmla="*/ 3 h 14"/>
                <a:gd name="T2" fmla="*/ 12 w 12"/>
                <a:gd name="T3" fmla="*/ 3 h 14"/>
                <a:gd name="T4" fmla="*/ 12 w 12"/>
                <a:gd name="T5" fmla="*/ 3 h 14"/>
                <a:gd name="T6" fmla="*/ 12 w 12"/>
                <a:gd name="T7" fmla="*/ 4 h 14"/>
                <a:gd name="T8" fmla="*/ 12 w 12"/>
                <a:gd name="T9" fmla="*/ 4 h 14"/>
                <a:gd name="T10" fmla="*/ 12 w 12"/>
                <a:gd name="T11" fmla="*/ 4 h 14"/>
                <a:gd name="T12" fmla="*/ 11 w 12"/>
                <a:gd name="T13" fmla="*/ 6 h 14"/>
                <a:gd name="T14" fmla="*/ 11 w 12"/>
                <a:gd name="T15" fmla="*/ 6 h 14"/>
                <a:gd name="T16" fmla="*/ 9 w 12"/>
                <a:gd name="T17" fmla="*/ 6 h 14"/>
                <a:gd name="T18" fmla="*/ 7 w 12"/>
                <a:gd name="T19" fmla="*/ 7 h 14"/>
                <a:gd name="T20" fmla="*/ 6 w 12"/>
                <a:gd name="T21" fmla="*/ 10 h 14"/>
                <a:gd name="T22" fmla="*/ 5 w 12"/>
                <a:gd name="T23" fmla="*/ 12 h 14"/>
                <a:gd name="T24" fmla="*/ 4 w 12"/>
                <a:gd name="T25" fmla="*/ 14 h 14"/>
                <a:gd name="T26" fmla="*/ 4 w 12"/>
                <a:gd name="T27" fmla="*/ 14 h 14"/>
                <a:gd name="T28" fmla="*/ 4 w 12"/>
                <a:gd name="T29" fmla="*/ 14 h 14"/>
                <a:gd name="T30" fmla="*/ 4 w 12"/>
                <a:gd name="T31" fmla="*/ 13 h 14"/>
                <a:gd name="T32" fmla="*/ 4 w 12"/>
                <a:gd name="T33" fmla="*/ 13 h 14"/>
                <a:gd name="T34" fmla="*/ 3 w 12"/>
                <a:gd name="T35" fmla="*/ 13 h 14"/>
                <a:gd name="T36" fmla="*/ 3 w 12"/>
                <a:gd name="T37" fmla="*/ 13 h 14"/>
                <a:gd name="T38" fmla="*/ 2 w 12"/>
                <a:gd name="T39" fmla="*/ 12 h 14"/>
                <a:gd name="T40" fmla="*/ 2 w 12"/>
                <a:gd name="T41" fmla="*/ 11 h 14"/>
                <a:gd name="T42" fmla="*/ 2 w 12"/>
                <a:gd name="T43" fmla="*/ 11 h 14"/>
                <a:gd name="T44" fmla="*/ 2 w 12"/>
                <a:gd name="T45" fmla="*/ 11 h 14"/>
                <a:gd name="T46" fmla="*/ 2 w 12"/>
                <a:gd name="T47" fmla="*/ 11 h 14"/>
                <a:gd name="T48" fmla="*/ 1 w 12"/>
                <a:gd name="T49" fmla="*/ 11 h 14"/>
                <a:gd name="T50" fmla="*/ 1 w 12"/>
                <a:gd name="T51" fmla="*/ 11 h 14"/>
                <a:gd name="T52" fmla="*/ 1 w 12"/>
                <a:gd name="T53" fmla="*/ 11 h 14"/>
                <a:gd name="T54" fmla="*/ 1 w 12"/>
                <a:gd name="T55" fmla="*/ 10 h 14"/>
                <a:gd name="T56" fmla="*/ 1 w 12"/>
                <a:gd name="T57" fmla="*/ 10 h 14"/>
                <a:gd name="T58" fmla="*/ 1 w 12"/>
                <a:gd name="T59" fmla="*/ 10 h 14"/>
                <a:gd name="T60" fmla="*/ 1 w 12"/>
                <a:gd name="T61" fmla="*/ 9 h 14"/>
                <a:gd name="T62" fmla="*/ 1 w 12"/>
                <a:gd name="T63" fmla="*/ 9 h 14"/>
                <a:gd name="T64" fmla="*/ 0 w 12"/>
                <a:gd name="T65" fmla="*/ 8 h 14"/>
                <a:gd name="T66" fmla="*/ 0 w 12"/>
                <a:gd name="T67" fmla="*/ 8 h 14"/>
                <a:gd name="T68" fmla="*/ 0 w 12"/>
                <a:gd name="T69" fmla="*/ 7 h 14"/>
                <a:gd name="T70" fmla="*/ 0 w 12"/>
                <a:gd name="T71" fmla="*/ 7 h 14"/>
                <a:gd name="T72" fmla="*/ 0 w 12"/>
                <a:gd name="T73" fmla="*/ 6 h 14"/>
                <a:gd name="T74" fmla="*/ 3 w 12"/>
                <a:gd name="T75" fmla="*/ 6 h 14"/>
                <a:gd name="T76" fmla="*/ 4 w 12"/>
                <a:gd name="T77" fmla="*/ 6 h 14"/>
                <a:gd name="T78" fmla="*/ 2 w 12"/>
                <a:gd name="T79" fmla="*/ 5 h 14"/>
                <a:gd name="T80" fmla="*/ 5 w 12"/>
                <a:gd name="T81" fmla="*/ 5 h 14"/>
                <a:gd name="T82" fmla="*/ 6 w 12"/>
                <a:gd name="T83" fmla="*/ 4 h 14"/>
                <a:gd name="T84" fmla="*/ 3 w 12"/>
                <a:gd name="T85" fmla="*/ 3 h 14"/>
                <a:gd name="T86" fmla="*/ 6 w 12"/>
                <a:gd name="T87" fmla="*/ 3 h 14"/>
                <a:gd name="T88" fmla="*/ 7 w 12"/>
                <a:gd name="T89" fmla="*/ 1 h 14"/>
                <a:gd name="T90" fmla="*/ 8 w 12"/>
                <a:gd name="T91" fmla="*/ 0 h 14"/>
                <a:gd name="T92" fmla="*/ 9 w 12"/>
                <a:gd name="T93" fmla="*/ 0 h 14"/>
                <a:gd name="T94" fmla="*/ 9 w 12"/>
                <a:gd name="T95" fmla="*/ 1 h 14"/>
                <a:gd name="T96" fmla="*/ 9 w 12"/>
                <a:gd name="T97" fmla="*/ 1 h 14"/>
                <a:gd name="T98" fmla="*/ 9 w 12"/>
                <a:gd name="T99" fmla="*/ 1 h 14"/>
                <a:gd name="T100" fmla="*/ 9 w 12"/>
                <a:gd name="T101" fmla="*/ 1 h 14"/>
                <a:gd name="T102" fmla="*/ 9 w 12"/>
                <a:gd name="T103" fmla="*/ 1 h 14"/>
                <a:gd name="T104" fmla="*/ 9 w 12"/>
                <a:gd name="T105" fmla="*/ 1 h 14"/>
                <a:gd name="T106" fmla="*/ 9 w 12"/>
                <a:gd name="T107" fmla="*/ 1 h 14"/>
                <a:gd name="T108" fmla="*/ 9 w 12"/>
                <a:gd name="T109" fmla="*/ 1 h 14"/>
                <a:gd name="T110" fmla="*/ 9 w 12"/>
                <a:gd name="T111" fmla="*/ 1 h 14"/>
                <a:gd name="T112" fmla="*/ 9 w 12"/>
                <a:gd name="T113" fmla="*/ 1 h 14"/>
                <a:gd name="T114" fmla="*/ 9 w 12"/>
                <a:gd name="T115" fmla="*/ 3 h 14"/>
                <a:gd name="T116" fmla="*/ 12 w 12"/>
                <a:gd name="T117" fmla="*/ 2 h 14"/>
                <a:gd name="T118" fmla="*/ 12 w 12"/>
                <a:gd name="T119" fmla="*/ 2 h 14"/>
                <a:gd name="T120" fmla="*/ 12 w 12"/>
                <a:gd name="T121" fmla="*/ 2 h 14"/>
                <a:gd name="T122" fmla="*/ 12 w 12"/>
                <a:gd name="T123" fmla="*/ 3 h 14"/>
                <a:gd name="T124" fmla="*/ 12 w 12"/>
                <a:gd name="T125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" h="14">
                  <a:moveTo>
                    <a:pt x="12" y="3"/>
                  </a:move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5"/>
                    <a:pt x="12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7"/>
                    <a:pt x="10" y="7"/>
                    <a:pt x="9" y="6"/>
                  </a:cubicBezTo>
                  <a:cubicBezTo>
                    <a:pt x="8" y="5"/>
                    <a:pt x="8" y="7"/>
                    <a:pt x="7" y="7"/>
                  </a:cubicBezTo>
                  <a:cubicBezTo>
                    <a:pt x="7" y="8"/>
                    <a:pt x="7" y="10"/>
                    <a:pt x="6" y="10"/>
                  </a:cubicBezTo>
                  <a:cubicBezTo>
                    <a:pt x="6" y="10"/>
                    <a:pt x="5" y="12"/>
                    <a:pt x="5" y="12"/>
                  </a:cubicBezTo>
                  <a:cubicBezTo>
                    <a:pt x="5" y="13"/>
                    <a:pt x="5" y="13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2"/>
                    <a:pt x="3" y="12"/>
                    <a:pt x="2" y="12"/>
                  </a:cubicBezTo>
                  <a:cubicBezTo>
                    <a:pt x="2" y="12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6"/>
                    <a:pt x="0" y="6"/>
                  </a:cubicBezTo>
                  <a:cubicBezTo>
                    <a:pt x="1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4" y="5"/>
                    <a:pt x="5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5" y="3"/>
                    <a:pt x="6" y="3"/>
                  </a:cubicBezTo>
                  <a:cubicBezTo>
                    <a:pt x="7" y="2"/>
                    <a:pt x="6" y="1"/>
                    <a:pt x="7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1" y="3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9" name="Freeform 91"/>
            <p:cNvSpPr/>
            <p:nvPr/>
          </p:nvSpPr>
          <p:spPr bwMode="auto">
            <a:xfrm>
              <a:off x="3763963" y="865188"/>
              <a:ext cx="879475" cy="1141413"/>
            </a:xfrm>
            <a:custGeom>
              <a:avLst/>
              <a:gdLst>
                <a:gd name="T0" fmla="*/ 35 w 58"/>
                <a:gd name="T1" fmla="*/ 76 h 76"/>
                <a:gd name="T2" fmla="*/ 51 w 58"/>
                <a:gd name="T3" fmla="*/ 47 h 76"/>
                <a:gd name="T4" fmla="*/ 58 w 58"/>
                <a:gd name="T5" fmla="*/ 0 h 76"/>
                <a:gd name="T6" fmla="*/ 52 w 58"/>
                <a:gd name="T7" fmla="*/ 3 h 76"/>
                <a:gd name="T8" fmla="*/ 42 w 58"/>
                <a:gd name="T9" fmla="*/ 4 h 76"/>
                <a:gd name="T10" fmla="*/ 33 w 58"/>
                <a:gd name="T11" fmla="*/ 12 h 76"/>
                <a:gd name="T12" fmla="*/ 21 w 58"/>
                <a:gd name="T13" fmla="*/ 16 h 76"/>
                <a:gd name="T14" fmla="*/ 11 w 58"/>
                <a:gd name="T15" fmla="*/ 4 h 76"/>
                <a:gd name="T16" fmla="*/ 3 w 58"/>
                <a:gd name="T17" fmla="*/ 11 h 76"/>
                <a:gd name="T18" fmla="*/ 3 w 58"/>
                <a:gd name="T19" fmla="*/ 8 h 76"/>
                <a:gd name="T20" fmla="*/ 1 w 58"/>
                <a:gd name="T21" fmla="*/ 12 h 76"/>
                <a:gd name="T22" fmla="*/ 17 w 58"/>
                <a:gd name="T23" fmla="*/ 28 h 76"/>
                <a:gd name="T24" fmla="*/ 41 w 58"/>
                <a:gd name="T25" fmla="*/ 23 h 76"/>
                <a:gd name="T26" fmla="*/ 39 w 58"/>
                <a:gd name="T27" fmla="*/ 48 h 76"/>
                <a:gd name="T28" fmla="*/ 35 w 58"/>
                <a:gd name="T2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76">
                  <a:moveTo>
                    <a:pt x="35" y="76"/>
                  </a:moveTo>
                  <a:cubicBezTo>
                    <a:pt x="35" y="76"/>
                    <a:pt x="50" y="58"/>
                    <a:pt x="51" y="47"/>
                  </a:cubicBezTo>
                  <a:cubicBezTo>
                    <a:pt x="53" y="37"/>
                    <a:pt x="56" y="4"/>
                    <a:pt x="58" y="0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2" y="4"/>
                    <a:pt x="34" y="12"/>
                    <a:pt x="33" y="12"/>
                  </a:cubicBezTo>
                  <a:cubicBezTo>
                    <a:pt x="32" y="13"/>
                    <a:pt x="21" y="16"/>
                    <a:pt x="21" y="16"/>
                  </a:cubicBezTo>
                  <a:cubicBezTo>
                    <a:pt x="21" y="16"/>
                    <a:pt x="14" y="14"/>
                    <a:pt x="11" y="4"/>
                  </a:cubicBezTo>
                  <a:cubicBezTo>
                    <a:pt x="11" y="4"/>
                    <a:pt x="5" y="13"/>
                    <a:pt x="3" y="11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0" y="11"/>
                    <a:pt x="1" y="12"/>
                  </a:cubicBezTo>
                  <a:cubicBezTo>
                    <a:pt x="1" y="12"/>
                    <a:pt x="14" y="29"/>
                    <a:pt x="17" y="28"/>
                  </a:cubicBezTo>
                  <a:cubicBezTo>
                    <a:pt x="19" y="28"/>
                    <a:pt x="33" y="29"/>
                    <a:pt x="41" y="23"/>
                  </a:cubicBezTo>
                  <a:cubicBezTo>
                    <a:pt x="41" y="23"/>
                    <a:pt x="40" y="43"/>
                    <a:pt x="39" y="48"/>
                  </a:cubicBezTo>
                  <a:cubicBezTo>
                    <a:pt x="38" y="54"/>
                    <a:pt x="33" y="71"/>
                    <a:pt x="35" y="76"/>
                  </a:cubicBez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0" name="Freeform 92"/>
            <p:cNvSpPr/>
            <p:nvPr/>
          </p:nvSpPr>
          <p:spPr bwMode="auto">
            <a:xfrm>
              <a:off x="4840288" y="865188"/>
              <a:ext cx="787400" cy="1125538"/>
            </a:xfrm>
            <a:custGeom>
              <a:avLst/>
              <a:gdLst>
                <a:gd name="T0" fmla="*/ 0 w 52"/>
                <a:gd name="T1" fmla="*/ 0 h 75"/>
                <a:gd name="T2" fmla="*/ 9 w 52"/>
                <a:gd name="T3" fmla="*/ 37 h 75"/>
                <a:gd name="T4" fmla="*/ 20 w 52"/>
                <a:gd name="T5" fmla="*/ 73 h 75"/>
                <a:gd name="T6" fmla="*/ 23 w 52"/>
                <a:gd name="T7" fmla="*/ 75 h 75"/>
                <a:gd name="T8" fmla="*/ 20 w 52"/>
                <a:gd name="T9" fmla="*/ 46 h 75"/>
                <a:gd name="T10" fmla="*/ 19 w 52"/>
                <a:gd name="T11" fmla="*/ 24 h 75"/>
                <a:gd name="T12" fmla="*/ 19 w 52"/>
                <a:gd name="T13" fmla="*/ 23 h 75"/>
                <a:gd name="T14" fmla="*/ 39 w 52"/>
                <a:gd name="T15" fmla="*/ 27 h 75"/>
                <a:gd name="T16" fmla="*/ 52 w 52"/>
                <a:gd name="T17" fmla="*/ 16 h 75"/>
                <a:gd name="T18" fmla="*/ 50 w 52"/>
                <a:gd name="T19" fmla="*/ 12 h 75"/>
                <a:gd name="T20" fmla="*/ 49 w 52"/>
                <a:gd name="T21" fmla="*/ 17 h 75"/>
                <a:gd name="T22" fmla="*/ 41 w 52"/>
                <a:gd name="T23" fmla="*/ 9 h 75"/>
                <a:gd name="T24" fmla="*/ 35 w 52"/>
                <a:gd name="T25" fmla="*/ 15 h 75"/>
                <a:gd name="T26" fmla="*/ 28 w 52"/>
                <a:gd name="T27" fmla="*/ 12 h 75"/>
                <a:gd name="T28" fmla="*/ 24 w 52"/>
                <a:gd name="T29" fmla="*/ 11 h 75"/>
                <a:gd name="T30" fmla="*/ 18 w 52"/>
                <a:gd name="T31" fmla="*/ 6 h 75"/>
                <a:gd name="T32" fmla="*/ 19 w 52"/>
                <a:gd name="T33" fmla="*/ 6 h 75"/>
                <a:gd name="T34" fmla="*/ 16 w 52"/>
                <a:gd name="T35" fmla="*/ 4 h 75"/>
                <a:gd name="T36" fmla="*/ 8 w 52"/>
                <a:gd name="T37" fmla="*/ 3 h 75"/>
                <a:gd name="T38" fmla="*/ 4 w 52"/>
                <a:gd name="T39" fmla="*/ 2 h 75"/>
                <a:gd name="T40" fmla="*/ 0 w 52"/>
                <a:gd name="T41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" h="75">
                  <a:moveTo>
                    <a:pt x="0" y="0"/>
                  </a:moveTo>
                  <a:cubicBezTo>
                    <a:pt x="0" y="0"/>
                    <a:pt x="7" y="33"/>
                    <a:pt x="9" y="37"/>
                  </a:cubicBezTo>
                  <a:cubicBezTo>
                    <a:pt x="11" y="41"/>
                    <a:pt x="20" y="71"/>
                    <a:pt x="20" y="73"/>
                  </a:cubicBezTo>
                  <a:cubicBezTo>
                    <a:pt x="20" y="73"/>
                    <a:pt x="22" y="75"/>
                    <a:pt x="23" y="75"/>
                  </a:cubicBezTo>
                  <a:cubicBezTo>
                    <a:pt x="23" y="75"/>
                    <a:pt x="20" y="50"/>
                    <a:pt x="20" y="46"/>
                  </a:cubicBezTo>
                  <a:cubicBezTo>
                    <a:pt x="20" y="43"/>
                    <a:pt x="17" y="28"/>
                    <a:pt x="19" y="24"/>
                  </a:cubicBezTo>
                  <a:cubicBezTo>
                    <a:pt x="20" y="21"/>
                    <a:pt x="19" y="23"/>
                    <a:pt x="19" y="23"/>
                  </a:cubicBezTo>
                  <a:cubicBezTo>
                    <a:pt x="19" y="23"/>
                    <a:pt x="31" y="30"/>
                    <a:pt x="39" y="27"/>
                  </a:cubicBezTo>
                  <a:cubicBezTo>
                    <a:pt x="47" y="24"/>
                    <a:pt x="52" y="16"/>
                    <a:pt x="52" y="16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1" y="17"/>
                    <a:pt x="49" y="17"/>
                  </a:cubicBezTo>
                  <a:cubicBezTo>
                    <a:pt x="49" y="17"/>
                    <a:pt x="42" y="9"/>
                    <a:pt x="41" y="9"/>
                  </a:cubicBezTo>
                  <a:cubicBezTo>
                    <a:pt x="41" y="9"/>
                    <a:pt x="36" y="14"/>
                    <a:pt x="35" y="15"/>
                  </a:cubicBezTo>
                  <a:cubicBezTo>
                    <a:pt x="35" y="15"/>
                    <a:pt x="30" y="12"/>
                    <a:pt x="28" y="12"/>
                  </a:cubicBezTo>
                  <a:cubicBezTo>
                    <a:pt x="28" y="12"/>
                    <a:pt x="25" y="10"/>
                    <a:pt x="24" y="11"/>
                  </a:cubicBezTo>
                  <a:cubicBezTo>
                    <a:pt x="24" y="11"/>
                    <a:pt x="19" y="6"/>
                    <a:pt x="18" y="6"/>
                  </a:cubicBezTo>
                  <a:cubicBezTo>
                    <a:pt x="16" y="6"/>
                    <a:pt x="19" y="6"/>
                    <a:pt x="19" y="6"/>
                  </a:cubicBezTo>
                  <a:cubicBezTo>
                    <a:pt x="19" y="6"/>
                    <a:pt x="18" y="6"/>
                    <a:pt x="16" y="4"/>
                  </a:cubicBezTo>
                  <a:cubicBezTo>
                    <a:pt x="14" y="3"/>
                    <a:pt x="9" y="4"/>
                    <a:pt x="8" y="3"/>
                  </a:cubicBezTo>
                  <a:cubicBezTo>
                    <a:pt x="7" y="3"/>
                    <a:pt x="4" y="2"/>
                    <a:pt x="4" y="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1" name="Freeform 93"/>
            <p:cNvSpPr/>
            <p:nvPr/>
          </p:nvSpPr>
          <p:spPr bwMode="auto">
            <a:xfrm>
              <a:off x="4930775" y="969963"/>
              <a:ext cx="696912" cy="1020763"/>
            </a:xfrm>
            <a:custGeom>
              <a:avLst/>
              <a:gdLst>
                <a:gd name="T0" fmla="*/ 43 w 46"/>
                <a:gd name="T1" fmla="*/ 10 h 68"/>
                <a:gd name="T2" fmla="*/ 38 w 46"/>
                <a:gd name="T3" fmla="*/ 4 h 68"/>
                <a:gd name="T4" fmla="*/ 31 w 46"/>
                <a:gd name="T5" fmla="*/ 13 h 68"/>
                <a:gd name="T6" fmla="*/ 22 w 46"/>
                <a:gd name="T7" fmla="*/ 16 h 68"/>
                <a:gd name="T8" fmla="*/ 26 w 46"/>
                <a:gd name="T9" fmla="*/ 12 h 68"/>
                <a:gd name="T10" fmla="*/ 20 w 46"/>
                <a:gd name="T11" fmla="*/ 12 h 68"/>
                <a:gd name="T12" fmla="*/ 14 w 46"/>
                <a:gd name="T13" fmla="*/ 11 h 68"/>
                <a:gd name="T14" fmla="*/ 12 w 46"/>
                <a:gd name="T15" fmla="*/ 6 h 68"/>
                <a:gd name="T16" fmla="*/ 9 w 46"/>
                <a:gd name="T17" fmla="*/ 0 h 68"/>
                <a:gd name="T18" fmla="*/ 11 w 46"/>
                <a:gd name="T19" fmla="*/ 9 h 68"/>
                <a:gd name="T20" fmla="*/ 9 w 46"/>
                <a:gd name="T21" fmla="*/ 4 h 68"/>
                <a:gd name="T22" fmla="*/ 9 w 46"/>
                <a:gd name="T23" fmla="*/ 17 h 68"/>
                <a:gd name="T24" fmla="*/ 8 w 46"/>
                <a:gd name="T25" fmla="*/ 34 h 68"/>
                <a:gd name="T26" fmla="*/ 3 w 46"/>
                <a:gd name="T27" fmla="*/ 21 h 68"/>
                <a:gd name="T28" fmla="*/ 3 w 46"/>
                <a:gd name="T29" fmla="*/ 1 h 68"/>
                <a:gd name="T30" fmla="*/ 0 w 46"/>
                <a:gd name="T31" fmla="*/ 22 h 68"/>
                <a:gd name="T32" fmla="*/ 3 w 46"/>
                <a:gd name="T33" fmla="*/ 30 h 68"/>
                <a:gd name="T34" fmla="*/ 14 w 46"/>
                <a:gd name="T35" fmla="*/ 66 h 68"/>
                <a:gd name="T36" fmla="*/ 17 w 46"/>
                <a:gd name="T37" fmla="*/ 68 h 68"/>
                <a:gd name="T38" fmla="*/ 14 w 46"/>
                <a:gd name="T39" fmla="*/ 39 h 68"/>
                <a:gd name="T40" fmla="*/ 13 w 46"/>
                <a:gd name="T41" fmla="*/ 17 h 68"/>
                <a:gd name="T42" fmla="*/ 13 w 46"/>
                <a:gd name="T43" fmla="*/ 16 h 68"/>
                <a:gd name="T44" fmla="*/ 33 w 46"/>
                <a:gd name="T45" fmla="*/ 20 h 68"/>
                <a:gd name="T46" fmla="*/ 46 w 46"/>
                <a:gd name="T47" fmla="*/ 9 h 68"/>
                <a:gd name="T48" fmla="*/ 44 w 46"/>
                <a:gd name="T49" fmla="*/ 5 h 68"/>
                <a:gd name="T50" fmla="*/ 43 w 46"/>
                <a:gd name="T51" fmla="*/ 1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6" h="68">
                  <a:moveTo>
                    <a:pt x="43" y="10"/>
                  </a:moveTo>
                  <a:cubicBezTo>
                    <a:pt x="43" y="10"/>
                    <a:pt x="40" y="6"/>
                    <a:pt x="38" y="4"/>
                  </a:cubicBezTo>
                  <a:cubicBezTo>
                    <a:pt x="35" y="7"/>
                    <a:pt x="33" y="12"/>
                    <a:pt x="31" y="13"/>
                  </a:cubicBezTo>
                  <a:cubicBezTo>
                    <a:pt x="28" y="15"/>
                    <a:pt x="25" y="15"/>
                    <a:pt x="22" y="16"/>
                  </a:cubicBezTo>
                  <a:cubicBezTo>
                    <a:pt x="20" y="16"/>
                    <a:pt x="25" y="14"/>
                    <a:pt x="26" y="12"/>
                  </a:cubicBezTo>
                  <a:cubicBezTo>
                    <a:pt x="26" y="12"/>
                    <a:pt x="22" y="13"/>
                    <a:pt x="20" y="12"/>
                  </a:cubicBezTo>
                  <a:cubicBezTo>
                    <a:pt x="18" y="11"/>
                    <a:pt x="15" y="10"/>
                    <a:pt x="14" y="11"/>
                  </a:cubicBezTo>
                  <a:cubicBezTo>
                    <a:pt x="14" y="11"/>
                    <a:pt x="13" y="7"/>
                    <a:pt x="12" y="6"/>
                  </a:cubicBezTo>
                  <a:cubicBezTo>
                    <a:pt x="11" y="4"/>
                    <a:pt x="9" y="0"/>
                    <a:pt x="9" y="0"/>
                  </a:cubicBezTo>
                  <a:cubicBezTo>
                    <a:pt x="9" y="0"/>
                    <a:pt x="13" y="7"/>
                    <a:pt x="11" y="9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7" y="14"/>
                    <a:pt x="9" y="17"/>
                  </a:cubicBezTo>
                  <a:cubicBezTo>
                    <a:pt x="10" y="21"/>
                    <a:pt x="10" y="33"/>
                    <a:pt x="8" y="34"/>
                  </a:cubicBezTo>
                  <a:cubicBezTo>
                    <a:pt x="8" y="34"/>
                    <a:pt x="4" y="24"/>
                    <a:pt x="3" y="21"/>
                  </a:cubicBezTo>
                  <a:cubicBezTo>
                    <a:pt x="3" y="21"/>
                    <a:pt x="3" y="3"/>
                    <a:pt x="3" y="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" y="26"/>
                    <a:pt x="2" y="29"/>
                    <a:pt x="3" y="30"/>
                  </a:cubicBezTo>
                  <a:cubicBezTo>
                    <a:pt x="5" y="34"/>
                    <a:pt x="14" y="64"/>
                    <a:pt x="14" y="66"/>
                  </a:cubicBezTo>
                  <a:cubicBezTo>
                    <a:pt x="14" y="66"/>
                    <a:pt x="16" y="68"/>
                    <a:pt x="17" y="68"/>
                  </a:cubicBezTo>
                  <a:cubicBezTo>
                    <a:pt x="17" y="68"/>
                    <a:pt x="14" y="43"/>
                    <a:pt x="14" y="39"/>
                  </a:cubicBezTo>
                  <a:cubicBezTo>
                    <a:pt x="14" y="36"/>
                    <a:pt x="11" y="21"/>
                    <a:pt x="13" y="17"/>
                  </a:cubicBezTo>
                  <a:cubicBezTo>
                    <a:pt x="13" y="17"/>
                    <a:pt x="13" y="16"/>
                    <a:pt x="13" y="16"/>
                  </a:cubicBezTo>
                  <a:cubicBezTo>
                    <a:pt x="15" y="17"/>
                    <a:pt x="26" y="22"/>
                    <a:pt x="33" y="20"/>
                  </a:cubicBezTo>
                  <a:cubicBezTo>
                    <a:pt x="41" y="17"/>
                    <a:pt x="46" y="9"/>
                    <a:pt x="46" y="9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5" y="10"/>
                    <a:pt x="43" y="1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2" name="Freeform 94"/>
            <p:cNvSpPr/>
            <p:nvPr/>
          </p:nvSpPr>
          <p:spPr bwMode="auto">
            <a:xfrm>
              <a:off x="4460875" y="985838"/>
              <a:ext cx="152400" cy="495300"/>
            </a:xfrm>
            <a:custGeom>
              <a:avLst/>
              <a:gdLst>
                <a:gd name="T0" fmla="*/ 7 w 10"/>
                <a:gd name="T1" fmla="*/ 24 h 33"/>
                <a:gd name="T2" fmla="*/ 10 w 10"/>
                <a:gd name="T3" fmla="*/ 4 h 33"/>
                <a:gd name="T4" fmla="*/ 6 w 10"/>
                <a:gd name="T5" fmla="*/ 12 h 33"/>
                <a:gd name="T6" fmla="*/ 5 w 10"/>
                <a:gd name="T7" fmla="*/ 0 h 33"/>
                <a:gd name="T8" fmla="*/ 4 w 10"/>
                <a:gd name="T9" fmla="*/ 12 h 33"/>
                <a:gd name="T10" fmla="*/ 2 w 10"/>
                <a:gd name="T11" fmla="*/ 33 h 33"/>
                <a:gd name="T12" fmla="*/ 5 w 10"/>
                <a:gd name="T13" fmla="*/ 16 h 33"/>
                <a:gd name="T14" fmla="*/ 7 w 10"/>
                <a:gd name="T15" fmla="*/ 2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33">
                  <a:moveTo>
                    <a:pt x="7" y="24"/>
                  </a:moveTo>
                  <a:cubicBezTo>
                    <a:pt x="8" y="18"/>
                    <a:pt x="9" y="10"/>
                    <a:pt x="10" y="4"/>
                  </a:cubicBezTo>
                  <a:cubicBezTo>
                    <a:pt x="7" y="7"/>
                    <a:pt x="6" y="12"/>
                    <a:pt x="6" y="12"/>
                  </a:cubicBezTo>
                  <a:cubicBezTo>
                    <a:pt x="4" y="9"/>
                    <a:pt x="5" y="0"/>
                    <a:pt x="5" y="0"/>
                  </a:cubicBezTo>
                  <a:cubicBezTo>
                    <a:pt x="4" y="2"/>
                    <a:pt x="4" y="12"/>
                    <a:pt x="4" y="12"/>
                  </a:cubicBezTo>
                  <a:cubicBezTo>
                    <a:pt x="0" y="16"/>
                    <a:pt x="2" y="33"/>
                    <a:pt x="2" y="33"/>
                  </a:cubicBezTo>
                  <a:cubicBezTo>
                    <a:pt x="1" y="27"/>
                    <a:pt x="5" y="16"/>
                    <a:pt x="5" y="16"/>
                  </a:cubicBezTo>
                  <a:cubicBezTo>
                    <a:pt x="5" y="19"/>
                    <a:pt x="6" y="22"/>
                    <a:pt x="7" y="2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3" name="Freeform 95"/>
            <p:cNvSpPr/>
            <p:nvPr/>
          </p:nvSpPr>
          <p:spPr bwMode="auto">
            <a:xfrm>
              <a:off x="3763963" y="955675"/>
              <a:ext cx="636587" cy="344488"/>
            </a:xfrm>
            <a:custGeom>
              <a:avLst/>
              <a:gdLst>
                <a:gd name="T0" fmla="*/ 42 w 42"/>
                <a:gd name="T1" fmla="*/ 0 h 23"/>
                <a:gd name="T2" fmla="*/ 39 w 42"/>
                <a:gd name="T3" fmla="*/ 8 h 23"/>
                <a:gd name="T4" fmla="*/ 34 w 42"/>
                <a:gd name="T5" fmla="*/ 6 h 23"/>
                <a:gd name="T6" fmla="*/ 34 w 42"/>
                <a:gd name="T7" fmla="*/ 6 h 23"/>
                <a:gd name="T8" fmla="*/ 37 w 42"/>
                <a:gd name="T9" fmla="*/ 9 h 23"/>
                <a:gd name="T10" fmla="*/ 32 w 42"/>
                <a:gd name="T11" fmla="*/ 14 h 23"/>
                <a:gd name="T12" fmla="*/ 25 w 42"/>
                <a:gd name="T13" fmla="*/ 11 h 23"/>
                <a:gd name="T14" fmla="*/ 27 w 42"/>
                <a:gd name="T15" fmla="*/ 16 h 23"/>
                <a:gd name="T16" fmla="*/ 17 w 42"/>
                <a:gd name="T17" fmla="*/ 8 h 23"/>
                <a:gd name="T18" fmla="*/ 16 w 42"/>
                <a:gd name="T19" fmla="*/ 7 h 23"/>
                <a:gd name="T20" fmla="*/ 16 w 42"/>
                <a:gd name="T21" fmla="*/ 7 h 23"/>
                <a:gd name="T22" fmla="*/ 21 w 42"/>
                <a:gd name="T23" fmla="*/ 18 h 23"/>
                <a:gd name="T24" fmla="*/ 17 w 42"/>
                <a:gd name="T25" fmla="*/ 12 h 23"/>
                <a:gd name="T26" fmla="*/ 15 w 42"/>
                <a:gd name="T27" fmla="*/ 14 h 23"/>
                <a:gd name="T28" fmla="*/ 9 w 42"/>
                <a:gd name="T29" fmla="*/ 1 h 23"/>
                <a:gd name="T30" fmla="*/ 2 w 42"/>
                <a:gd name="T31" fmla="*/ 5 h 23"/>
                <a:gd name="T32" fmla="*/ 3 w 42"/>
                <a:gd name="T33" fmla="*/ 2 h 23"/>
                <a:gd name="T34" fmla="*/ 1 w 42"/>
                <a:gd name="T35" fmla="*/ 6 h 23"/>
                <a:gd name="T36" fmla="*/ 17 w 42"/>
                <a:gd name="T37" fmla="*/ 22 h 23"/>
                <a:gd name="T38" fmla="*/ 41 w 42"/>
                <a:gd name="T39" fmla="*/ 17 h 23"/>
                <a:gd name="T40" fmla="*/ 42 w 42"/>
                <a:gd name="T4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" h="23">
                  <a:moveTo>
                    <a:pt x="42" y="0"/>
                  </a:moveTo>
                  <a:cubicBezTo>
                    <a:pt x="41" y="2"/>
                    <a:pt x="39" y="8"/>
                    <a:pt x="39" y="8"/>
                  </a:cubicBezTo>
                  <a:cubicBezTo>
                    <a:pt x="37" y="8"/>
                    <a:pt x="34" y="6"/>
                    <a:pt x="34" y="6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5" y="10"/>
                    <a:pt x="37" y="13"/>
                    <a:pt x="32" y="14"/>
                  </a:cubicBezTo>
                  <a:cubicBezTo>
                    <a:pt x="27" y="15"/>
                    <a:pt x="25" y="11"/>
                    <a:pt x="25" y="11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22" y="14"/>
                    <a:pt x="21" y="18"/>
                    <a:pt x="21" y="18"/>
                  </a:cubicBezTo>
                  <a:cubicBezTo>
                    <a:pt x="21" y="16"/>
                    <a:pt x="17" y="12"/>
                    <a:pt x="17" y="12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3" y="13"/>
                    <a:pt x="10" y="6"/>
                    <a:pt x="9" y="1"/>
                  </a:cubicBezTo>
                  <a:cubicBezTo>
                    <a:pt x="7" y="3"/>
                    <a:pt x="4" y="7"/>
                    <a:pt x="2" y="5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0" y="5"/>
                    <a:pt x="1" y="6"/>
                  </a:cubicBezTo>
                  <a:cubicBezTo>
                    <a:pt x="1" y="6"/>
                    <a:pt x="14" y="23"/>
                    <a:pt x="17" y="22"/>
                  </a:cubicBezTo>
                  <a:cubicBezTo>
                    <a:pt x="19" y="22"/>
                    <a:pt x="33" y="23"/>
                    <a:pt x="41" y="17"/>
                  </a:cubicBezTo>
                  <a:cubicBezTo>
                    <a:pt x="41" y="13"/>
                    <a:pt x="42" y="0"/>
                    <a:pt x="42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4" name="Freeform 96"/>
            <p:cNvSpPr/>
            <p:nvPr/>
          </p:nvSpPr>
          <p:spPr bwMode="auto">
            <a:xfrm>
              <a:off x="4687888" y="911225"/>
              <a:ext cx="152400" cy="795338"/>
            </a:xfrm>
            <a:custGeom>
              <a:avLst/>
              <a:gdLst>
                <a:gd name="T0" fmla="*/ 0 w 96"/>
                <a:gd name="T1" fmla="*/ 37 h 501"/>
                <a:gd name="T2" fmla="*/ 29 w 96"/>
                <a:gd name="T3" fmla="*/ 66 h 501"/>
                <a:gd name="T4" fmla="*/ 10 w 96"/>
                <a:gd name="T5" fmla="*/ 113 h 501"/>
                <a:gd name="T6" fmla="*/ 10 w 96"/>
                <a:gd name="T7" fmla="*/ 463 h 501"/>
                <a:gd name="T8" fmla="*/ 48 w 96"/>
                <a:gd name="T9" fmla="*/ 501 h 501"/>
                <a:gd name="T10" fmla="*/ 96 w 96"/>
                <a:gd name="T11" fmla="*/ 463 h 501"/>
                <a:gd name="T12" fmla="*/ 77 w 96"/>
                <a:gd name="T13" fmla="*/ 113 h 501"/>
                <a:gd name="T14" fmla="*/ 48 w 96"/>
                <a:gd name="T15" fmla="*/ 66 h 501"/>
                <a:gd name="T16" fmla="*/ 67 w 96"/>
                <a:gd name="T17" fmla="*/ 37 h 501"/>
                <a:gd name="T18" fmla="*/ 48 w 96"/>
                <a:gd name="T19" fmla="*/ 9 h 501"/>
                <a:gd name="T20" fmla="*/ 19 w 96"/>
                <a:gd name="T21" fmla="*/ 0 h 501"/>
                <a:gd name="T22" fmla="*/ 0 w 96"/>
                <a:gd name="T23" fmla="*/ 37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501">
                  <a:moveTo>
                    <a:pt x="0" y="37"/>
                  </a:moveTo>
                  <a:lnTo>
                    <a:pt x="29" y="66"/>
                  </a:lnTo>
                  <a:lnTo>
                    <a:pt x="10" y="113"/>
                  </a:lnTo>
                  <a:lnTo>
                    <a:pt x="10" y="463"/>
                  </a:lnTo>
                  <a:lnTo>
                    <a:pt x="48" y="501"/>
                  </a:lnTo>
                  <a:lnTo>
                    <a:pt x="96" y="463"/>
                  </a:lnTo>
                  <a:lnTo>
                    <a:pt x="77" y="113"/>
                  </a:lnTo>
                  <a:lnTo>
                    <a:pt x="48" y="66"/>
                  </a:lnTo>
                  <a:lnTo>
                    <a:pt x="67" y="37"/>
                  </a:lnTo>
                  <a:lnTo>
                    <a:pt x="48" y="9"/>
                  </a:lnTo>
                  <a:lnTo>
                    <a:pt x="19" y="0"/>
                  </a:lnTo>
                  <a:lnTo>
                    <a:pt x="0" y="37"/>
                  </a:ln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5" name="Freeform 97"/>
            <p:cNvSpPr/>
            <p:nvPr/>
          </p:nvSpPr>
          <p:spPr bwMode="auto">
            <a:xfrm>
              <a:off x="4613275" y="3146425"/>
              <a:ext cx="196850" cy="211138"/>
            </a:xfrm>
            <a:custGeom>
              <a:avLst/>
              <a:gdLst>
                <a:gd name="T0" fmla="*/ 2 w 13"/>
                <a:gd name="T1" fmla="*/ 2 h 14"/>
                <a:gd name="T2" fmla="*/ 2 w 13"/>
                <a:gd name="T3" fmla="*/ 8 h 14"/>
                <a:gd name="T4" fmla="*/ 0 w 13"/>
                <a:gd name="T5" fmla="*/ 13 h 14"/>
                <a:gd name="T6" fmla="*/ 8 w 13"/>
                <a:gd name="T7" fmla="*/ 14 h 14"/>
                <a:gd name="T8" fmla="*/ 12 w 13"/>
                <a:gd name="T9" fmla="*/ 11 h 14"/>
                <a:gd name="T10" fmla="*/ 12 w 13"/>
                <a:gd name="T11" fmla="*/ 2 h 14"/>
                <a:gd name="T12" fmla="*/ 2 w 13"/>
                <a:gd name="T13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4">
                  <a:moveTo>
                    <a:pt x="2" y="2"/>
                  </a:moveTo>
                  <a:cubicBezTo>
                    <a:pt x="2" y="2"/>
                    <a:pt x="3" y="7"/>
                    <a:pt x="2" y="8"/>
                  </a:cubicBezTo>
                  <a:cubicBezTo>
                    <a:pt x="1" y="8"/>
                    <a:pt x="0" y="11"/>
                    <a:pt x="0" y="13"/>
                  </a:cubicBezTo>
                  <a:cubicBezTo>
                    <a:pt x="0" y="13"/>
                    <a:pt x="5" y="14"/>
                    <a:pt x="8" y="14"/>
                  </a:cubicBezTo>
                  <a:cubicBezTo>
                    <a:pt x="11" y="13"/>
                    <a:pt x="13" y="13"/>
                    <a:pt x="12" y="11"/>
                  </a:cubicBezTo>
                  <a:cubicBezTo>
                    <a:pt x="11" y="8"/>
                    <a:pt x="11" y="5"/>
                    <a:pt x="12" y="2"/>
                  </a:cubicBezTo>
                  <a:cubicBezTo>
                    <a:pt x="13" y="0"/>
                    <a:pt x="3" y="2"/>
                    <a:pt x="2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6" name="Freeform 98"/>
            <p:cNvSpPr/>
            <p:nvPr/>
          </p:nvSpPr>
          <p:spPr bwMode="auto">
            <a:xfrm>
              <a:off x="4840288" y="2981325"/>
              <a:ext cx="211137" cy="269875"/>
            </a:xfrm>
            <a:custGeom>
              <a:avLst/>
              <a:gdLst>
                <a:gd name="T0" fmla="*/ 3 w 14"/>
                <a:gd name="T1" fmla="*/ 2 h 18"/>
                <a:gd name="T2" fmla="*/ 2 w 14"/>
                <a:gd name="T3" fmla="*/ 8 h 18"/>
                <a:gd name="T4" fmla="*/ 2 w 14"/>
                <a:gd name="T5" fmla="*/ 15 h 18"/>
                <a:gd name="T6" fmla="*/ 12 w 14"/>
                <a:gd name="T7" fmla="*/ 17 h 18"/>
                <a:gd name="T8" fmla="*/ 12 w 14"/>
                <a:gd name="T9" fmla="*/ 7 h 18"/>
                <a:gd name="T10" fmla="*/ 9 w 14"/>
                <a:gd name="T11" fmla="*/ 1 h 18"/>
                <a:gd name="T12" fmla="*/ 3 w 14"/>
                <a:gd name="T13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8">
                  <a:moveTo>
                    <a:pt x="3" y="2"/>
                  </a:moveTo>
                  <a:cubicBezTo>
                    <a:pt x="3" y="2"/>
                    <a:pt x="2" y="7"/>
                    <a:pt x="2" y="8"/>
                  </a:cubicBezTo>
                  <a:cubicBezTo>
                    <a:pt x="2" y="9"/>
                    <a:pt x="0" y="13"/>
                    <a:pt x="2" y="15"/>
                  </a:cubicBezTo>
                  <a:cubicBezTo>
                    <a:pt x="5" y="17"/>
                    <a:pt x="10" y="18"/>
                    <a:pt x="12" y="17"/>
                  </a:cubicBezTo>
                  <a:cubicBezTo>
                    <a:pt x="12" y="17"/>
                    <a:pt x="14" y="9"/>
                    <a:pt x="12" y="7"/>
                  </a:cubicBezTo>
                  <a:cubicBezTo>
                    <a:pt x="11" y="6"/>
                    <a:pt x="9" y="1"/>
                    <a:pt x="9" y="1"/>
                  </a:cubicBezTo>
                  <a:cubicBezTo>
                    <a:pt x="10" y="0"/>
                    <a:pt x="3" y="2"/>
                    <a:pt x="3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7" name="Freeform 99"/>
            <p:cNvSpPr/>
            <p:nvPr/>
          </p:nvSpPr>
          <p:spPr bwMode="auto">
            <a:xfrm>
              <a:off x="4597400" y="460375"/>
              <a:ext cx="303212" cy="269875"/>
            </a:xfrm>
            <a:custGeom>
              <a:avLst/>
              <a:gdLst>
                <a:gd name="T0" fmla="*/ 3 w 20"/>
                <a:gd name="T1" fmla="*/ 18 h 18"/>
                <a:gd name="T2" fmla="*/ 3 w 20"/>
                <a:gd name="T3" fmla="*/ 12 h 18"/>
                <a:gd name="T4" fmla="*/ 4 w 20"/>
                <a:gd name="T5" fmla="*/ 8 h 18"/>
                <a:gd name="T6" fmla="*/ 11 w 20"/>
                <a:gd name="T7" fmla="*/ 6 h 18"/>
                <a:gd name="T8" fmla="*/ 16 w 20"/>
                <a:gd name="T9" fmla="*/ 8 h 18"/>
                <a:gd name="T10" fmla="*/ 17 w 20"/>
                <a:gd name="T11" fmla="*/ 13 h 18"/>
                <a:gd name="T12" fmla="*/ 17 w 20"/>
                <a:gd name="T13" fmla="*/ 18 h 18"/>
                <a:gd name="T14" fmla="*/ 18 w 20"/>
                <a:gd name="T15" fmla="*/ 18 h 18"/>
                <a:gd name="T16" fmla="*/ 19 w 20"/>
                <a:gd name="T17" fmla="*/ 14 h 18"/>
                <a:gd name="T18" fmla="*/ 20 w 20"/>
                <a:gd name="T19" fmla="*/ 10 h 18"/>
                <a:gd name="T20" fmla="*/ 16 w 20"/>
                <a:gd name="T21" fmla="*/ 4 h 18"/>
                <a:gd name="T22" fmla="*/ 11 w 20"/>
                <a:gd name="T23" fmla="*/ 0 h 18"/>
                <a:gd name="T24" fmla="*/ 4 w 20"/>
                <a:gd name="T25" fmla="*/ 3 h 18"/>
                <a:gd name="T26" fmla="*/ 0 w 20"/>
                <a:gd name="T27" fmla="*/ 9 h 18"/>
                <a:gd name="T28" fmla="*/ 1 w 20"/>
                <a:gd name="T29" fmla="*/ 14 h 18"/>
                <a:gd name="T30" fmla="*/ 2 w 20"/>
                <a:gd name="T31" fmla="*/ 18 h 18"/>
                <a:gd name="T32" fmla="*/ 3 w 20"/>
                <a:gd name="T3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18">
                  <a:moveTo>
                    <a:pt x="3" y="18"/>
                  </a:moveTo>
                  <a:cubicBezTo>
                    <a:pt x="3" y="18"/>
                    <a:pt x="3" y="13"/>
                    <a:pt x="3" y="12"/>
                  </a:cubicBezTo>
                  <a:cubicBezTo>
                    <a:pt x="3" y="11"/>
                    <a:pt x="3" y="9"/>
                    <a:pt x="4" y="8"/>
                  </a:cubicBezTo>
                  <a:cubicBezTo>
                    <a:pt x="5" y="7"/>
                    <a:pt x="7" y="6"/>
                    <a:pt x="11" y="6"/>
                  </a:cubicBezTo>
                  <a:cubicBezTo>
                    <a:pt x="11" y="6"/>
                    <a:pt x="15" y="6"/>
                    <a:pt x="16" y="8"/>
                  </a:cubicBezTo>
                  <a:cubicBezTo>
                    <a:pt x="16" y="8"/>
                    <a:pt x="17" y="12"/>
                    <a:pt x="17" y="13"/>
                  </a:cubicBezTo>
                  <a:cubicBezTo>
                    <a:pt x="17" y="13"/>
                    <a:pt x="18" y="17"/>
                    <a:pt x="17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7"/>
                    <a:pt x="19" y="14"/>
                    <a:pt x="19" y="14"/>
                  </a:cubicBezTo>
                  <a:cubicBezTo>
                    <a:pt x="20" y="13"/>
                    <a:pt x="20" y="11"/>
                    <a:pt x="20" y="10"/>
                  </a:cubicBezTo>
                  <a:cubicBezTo>
                    <a:pt x="20" y="9"/>
                    <a:pt x="19" y="4"/>
                    <a:pt x="16" y="4"/>
                  </a:cubicBezTo>
                  <a:cubicBezTo>
                    <a:pt x="16" y="4"/>
                    <a:pt x="15" y="1"/>
                    <a:pt x="11" y="0"/>
                  </a:cubicBezTo>
                  <a:cubicBezTo>
                    <a:pt x="8" y="0"/>
                    <a:pt x="5" y="2"/>
                    <a:pt x="4" y="3"/>
                  </a:cubicBezTo>
                  <a:cubicBezTo>
                    <a:pt x="2" y="4"/>
                    <a:pt x="1" y="8"/>
                    <a:pt x="0" y="9"/>
                  </a:cubicBezTo>
                  <a:cubicBezTo>
                    <a:pt x="0" y="10"/>
                    <a:pt x="1" y="13"/>
                    <a:pt x="1" y="14"/>
                  </a:cubicBezTo>
                  <a:cubicBezTo>
                    <a:pt x="1" y="14"/>
                    <a:pt x="2" y="14"/>
                    <a:pt x="2" y="18"/>
                  </a:cubicBezTo>
                  <a:lnTo>
                    <a:pt x="3" y="18"/>
                  </a:ln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96" name="组合 195"/>
          <p:cNvGrpSpPr/>
          <p:nvPr/>
        </p:nvGrpSpPr>
        <p:grpSpPr>
          <a:xfrm>
            <a:off x="667661" y="1119962"/>
            <a:ext cx="5040841" cy="4958618"/>
            <a:chOff x="667661" y="1119962"/>
            <a:chExt cx="5040841" cy="4958618"/>
          </a:xfrm>
        </p:grpSpPr>
        <p:sp>
          <p:nvSpPr>
            <p:cNvPr id="6" name="Freeform 112"/>
            <p:cNvSpPr/>
            <p:nvPr/>
          </p:nvSpPr>
          <p:spPr bwMode="auto">
            <a:xfrm>
              <a:off x="2453432" y="2276872"/>
              <a:ext cx="282575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" name="Oval 113"/>
            <p:cNvSpPr>
              <a:spLocks noChangeArrowheads="1"/>
            </p:cNvSpPr>
            <p:nvPr/>
          </p:nvSpPr>
          <p:spPr bwMode="auto">
            <a:xfrm>
              <a:off x="2535982" y="2159397"/>
              <a:ext cx="10953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" name="Freeform 114"/>
            <p:cNvSpPr/>
            <p:nvPr/>
          </p:nvSpPr>
          <p:spPr bwMode="auto">
            <a:xfrm>
              <a:off x="2783632" y="2276872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" name="Oval 115"/>
            <p:cNvSpPr>
              <a:spLocks noChangeArrowheads="1"/>
            </p:cNvSpPr>
            <p:nvPr/>
          </p:nvSpPr>
          <p:spPr bwMode="auto">
            <a:xfrm>
              <a:off x="2874120" y="2159397"/>
              <a:ext cx="10953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" name="Freeform 116"/>
            <p:cNvSpPr/>
            <p:nvPr/>
          </p:nvSpPr>
          <p:spPr bwMode="auto">
            <a:xfrm>
              <a:off x="3235374" y="2276872"/>
              <a:ext cx="282575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" name="Oval 117"/>
            <p:cNvSpPr>
              <a:spLocks noChangeArrowheads="1"/>
            </p:cNvSpPr>
            <p:nvPr/>
          </p:nvSpPr>
          <p:spPr bwMode="auto">
            <a:xfrm>
              <a:off x="3324274" y="2159397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" name="Freeform 118"/>
            <p:cNvSpPr/>
            <p:nvPr/>
          </p:nvSpPr>
          <p:spPr bwMode="auto">
            <a:xfrm>
              <a:off x="1769220" y="2276872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" name="Oval 119"/>
            <p:cNvSpPr>
              <a:spLocks noChangeArrowheads="1"/>
            </p:cNvSpPr>
            <p:nvPr/>
          </p:nvSpPr>
          <p:spPr bwMode="auto">
            <a:xfrm>
              <a:off x="1853357" y="2159397"/>
              <a:ext cx="11588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4" name="Freeform 120"/>
            <p:cNvSpPr/>
            <p:nvPr/>
          </p:nvSpPr>
          <p:spPr bwMode="auto">
            <a:xfrm>
              <a:off x="2107357" y="2276872"/>
              <a:ext cx="282575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5" name="Oval 121"/>
            <p:cNvSpPr>
              <a:spLocks noChangeArrowheads="1"/>
            </p:cNvSpPr>
            <p:nvPr/>
          </p:nvSpPr>
          <p:spPr bwMode="auto">
            <a:xfrm>
              <a:off x="2189907" y="2159397"/>
              <a:ext cx="117475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6" name="Freeform 128"/>
            <p:cNvSpPr/>
            <p:nvPr/>
          </p:nvSpPr>
          <p:spPr bwMode="auto">
            <a:xfrm>
              <a:off x="3565574" y="2276872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7" name="Oval 129"/>
            <p:cNvSpPr>
              <a:spLocks noChangeArrowheads="1"/>
            </p:cNvSpPr>
            <p:nvPr/>
          </p:nvSpPr>
          <p:spPr bwMode="auto">
            <a:xfrm>
              <a:off x="3649711" y="2159397"/>
              <a:ext cx="109538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130"/>
            <p:cNvSpPr/>
            <p:nvPr/>
          </p:nvSpPr>
          <p:spPr bwMode="auto">
            <a:xfrm>
              <a:off x="3897361" y="2276872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9" name="Oval 131"/>
            <p:cNvSpPr>
              <a:spLocks noChangeArrowheads="1"/>
            </p:cNvSpPr>
            <p:nvPr/>
          </p:nvSpPr>
          <p:spPr bwMode="auto">
            <a:xfrm>
              <a:off x="3986261" y="2159397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112"/>
            <p:cNvSpPr/>
            <p:nvPr/>
          </p:nvSpPr>
          <p:spPr bwMode="auto">
            <a:xfrm>
              <a:off x="2121644" y="3128962"/>
              <a:ext cx="282575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1" name="Oval 113"/>
            <p:cNvSpPr>
              <a:spLocks noChangeArrowheads="1"/>
            </p:cNvSpPr>
            <p:nvPr/>
          </p:nvSpPr>
          <p:spPr bwMode="auto">
            <a:xfrm>
              <a:off x="2204194" y="3011487"/>
              <a:ext cx="10953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114"/>
            <p:cNvSpPr/>
            <p:nvPr/>
          </p:nvSpPr>
          <p:spPr bwMode="auto">
            <a:xfrm>
              <a:off x="2451844" y="3128962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3" name="Oval 115"/>
            <p:cNvSpPr>
              <a:spLocks noChangeArrowheads="1"/>
            </p:cNvSpPr>
            <p:nvPr/>
          </p:nvSpPr>
          <p:spPr bwMode="auto">
            <a:xfrm>
              <a:off x="2542332" y="3011487"/>
              <a:ext cx="10953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4" name="Freeform 116"/>
            <p:cNvSpPr/>
            <p:nvPr/>
          </p:nvSpPr>
          <p:spPr bwMode="auto">
            <a:xfrm>
              <a:off x="2789982" y="3128962"/>
              <a:ext cx="282575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5" name="Oval 117"/>
            <p:cNvSpPr>
              <a:spLocks noChangeArrowheads="1"/>
            </p:cNvSpPr>
            <p:nvPr/>
          </p:nvSpPr>
          <p:spPr bwMode="auto">
            <a:xfrm>
              <a:off x="2878882" y="3011487"/>
              <a:ext cx="111125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6" name="Freeform 118"/>
            <p:cNvSpPr/>
            <p:nvPr/>
          </p:nvSpPr>
          <p:spPr bwMode="auto">
            <a:xfrm>
              <a:off x="1437432" y="3128962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7" name="Oval 119"/>
            <p:cNvSpPr>
              <a:spLocks noChangeArrowheads="1"/>
            </p:cNvSpPr>
            <p:nvPr/>
          </p:nvSpPr>
          <p:spPr bwMode="auto">
            <a:xfrm>
              <a:off x="1521569" y="3011487"/>
              <a:ext cx="11588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8" name="Freeform 120"/>
            <p:cNvSpPr/>
            <p:nvPr/>
          </p:nvSpPr>
          <p:spPr bwMode="auto">
            <a:xfrm>
              <a:off x="1775569" y="3128962"/>
              <a:ext cx="282575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9" name="Oval 121"/>
            <p:cNvSpPr>
              <a:spLocks noChangeArrowheads="1"/>
            </p:cNvSpPr>
            <p:nvPr/>
          </p:nvSpPr>
          <p:spPr bwMode="auto">
            <a:xfrm>
              <a:off x="1858119" y="3011487"/>
              <a:ext cx="117475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0" name="Freeform 128"/>
            <p:cNvSpPr/>
            <p:nvPr/>
          </p:nvSpPr>
          <p:spPr bwMode="auto">
            <a:xfrm>
              <a:off x="3233786" y="3128962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1" name="Oval 129"/>
            <p:cNvSpPr>
              <a:spLocks noChangeArrowheads="1"/>
            </p:cNvSpPr>
            <p:nvPr/>
          </p:nvSpPr>
          <p:spPr bwMode="auto">
            <a:xfrm>
              <a:off x="3317923" y="3011487"/>
              <a:ext cx="109538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2" name="Freeform 130"/>
            <p:cNvSpPr/>
            <p:nvPr/>
          </p:nvSpPr>
          <p:spPr bwMode="auto">
            <a:xfrm>
              <a:off x="3565573" y="3128962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3" name="Oval 131"/>
            <p:cNvSpPr>
              <a:spLocks noChangeArrowheads="1"/>
            </p:cNvSpPr>
            <p:nvPr/>
          </p:nvSpPr>
          <p:spPr bwMode="auto">
            <a:xfrm>
              <a:off x="3654473" y="3011487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4" name="Freeform 128"/>
            <p:cNvSpPr/>
            <p:nvPr/>
          </p:nvSpPr>
          <p:spPr bwMode="auto">
            <a:xfrm>
              <a:off x="3895772" y="3128962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5" name="Oval 129"/>
            <p:cNvSpPr>
              <a:spLocks noChangeArrowheads="1"/>
            </p:cNvSpPr>
            <p:nvPr/>
          </p:nvSpPr>
          <p:spPr bwMode="auto">
            <a:xfrm>
              <a:off x="3979909" y="3011487"/>
              <a:ext cx="109538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6" name="Freeform 130"/>
            <p:cNvSpPr/>
            <p:nvPr/>
          </p:nvSpPr>
          <p:spPr bwMode="auto">
            <a:xfrm>
              <a:off x="4227559" y="3128962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7" name="Oval 131"/>
            <p:cNvSpPr>
              <a:spLocks noChangeArrowheads="1"/>
            </p:cNvSpPr>
            <p:nvPr/>
          </p:nvSpPr>
          <p:spPr bwMode="auto">
            <a:xfrm>
              <a:off x="4316459" y="3011487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8" name="Freeform 112"/>
            <p:cNvSpPr/>
            <p:nvPr/>
          </p:nvSpPr>
          <p:spPr bwMode="auto">
            <a:xfrm>
              <a:off x="2103538" y="4011898"/>
              <a:ext cx="282575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9" name="Oval 113"/>
            <p:cNvSpPr>
              <a:spLocks noChangeArrowheads="1"/>
            </p:cNvSpPr>
            <p:nvPr/>
          </p:nvSpPr>
          <p:spPr bwMode="auto">
            <a:xfrm>
              <a:off x="2186088" y="3894423"/>
              <a:ext cx="10953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0" name="Freeform 114"/>
            <p:cNvSpPr/>
            <p:nvPr/>
          </p:nvSpPr>
          <p:spPr bwMode="auto">
            <a:xfrm>
              <a:off x="2433738" y="4011898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1" name="Oval 115"/>
            <p:cNvSpPr>
              <a:spLocks noChangeArrowheads="1"/>
            </p:cNvSpPr>
            <p:nvPr/>
          </p:nvSpPr>
          <p:spPr bwMode="auto">
            <a:xfrm>
              <a:off x="2524226" y="3894423"/>
              <a:ext cx="10953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2" name="Freeform 116"/>
            <p:cNvSpPr/>
            <p:nvPr/>
          </p:nvSpPr>
          <p:spPr bwMode="auto">
            <a:xfrm>
              <a:off x="2771876" y="4011898"/>
              <a:ext cx="282575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3" name="Oval 117"/>
            <p:cNvSpPr>
              <a:spLocks noChangeArrowheads="1"/>
            </p:cNvSpPr>
            <p:nvPr/>
          </p:nvSpPr>
          <p:spPr bwMode="auto">
            <a:xfrm>
              <a:off x="2860776" y="3894423"/>
              <a:ext cx="111125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4" name="Freeform 118"/>
            <p:cNvSpPr/>
            <p:nvPr/>
          </p:nvSpPr>
          <p:spPr bwMode="auto">
            <a:xfrm>
              <a:off x="1419326" y="4011898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5" name="Oval 119"/>
            <p:cNvSpPr>
              <a:spLocks noChangeArrowheads="1"/>
            </p:cNvSpPr>
            <p:nvPr/>
          </p:nvSpPr>
          <p:spPr bwMode="auto">
            <a:xfrm>
              <a:off x="1503463" y="3894423"/>
              <a:ext cx="11588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6" name="Freeform 120"/>
            <p:cNvSpPr/>
            <p:nvPr/>
          </p:nvSpPr>
          <p:spPr bwMode="auto">
            <a:xfrm>
              <a:off x="1757463" y="4011898"/>
              <a:ext cx="282575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7" name="Oval 121"/>
            <p:cNvSpPr>
              <a:spLocks noChangeArrowheads="1"/>
            </p:cNvSpPr>
            <p:nvPr/>
          </p:nvSpPr>
          <p:spPr bwMode="auto">
            <a:xfrm>
              <a:off x="1840013" y="3894423"/>
              <a:ext cx="117475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8" name="Freeform 128"/>
            <p:cNvSpPr/>
            <p:nvPr/>
          </p:nvSpPr>
          <p:spPr bwMode="auto">
            <a:xfrm>
              <a:off x="3215680" y="4011898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9" name="Oval 129"/>
            <p:cNvSpPr>
              <a:spLocks noChangeArrowheads="1"/>
            </p:cNvSpPr>
            <p:nvPr/>
          </p:nvSpPr>
          <p:spPr bwMode="auto">
            <a:xfrm>
              <a:off x="3299817" y="3894423"/>
              <a:ext cx="109538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0" name="Freeform 130"/>
            <p:cNvSpPr/>
            <p:nvPr/>
          </p:nvSpPr>
          <p:spPr bwMode="auto">
            <a:xfrm>
              <a:off x="3547468" y="4011898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1" name="Oval 131"/>
            <p:cNvSpPr>
              <a:spLocks noChangeArrowheads="1"/>
            </p:cNvSpPr>
            <p:nvPr/>
          </p:nvSpPr>
          <p:spPr bwMode="auto">
            <a:xfrm>
              <a:off x="3636368" y="3894423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2" name="Freeform 128"/>
            <p:cNvSpPr/>
            <p:nvPr/>
          </p:nvSpPr>
          <p:spPr bwMode="auto">
            <a:xfrm>
              <a:off x="3877668" y="4011898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3" name="Oval 129"/>
            <p:cNvSpPr>
              <a:spLocks noChangeArrowheads="1"/>
            </p:cNvSpPr>
            <p:nvPr/>
          </p:nvSpPr>
          <p:spPr bwMode="auto">
            <a:xfrm>
              <a:off x="3961805" y="3894423"/>
              <a:ext cx="109538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4" name="Freeform 130"/>
            <p:cNvSpPr/>
            <p:nvPr/>
          </p:nvSpPr>
          <p:spPr bwMode="auto">
            <a:xfrm>
              <a:off x="4209455" y="4011898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5" name="Oval 131"/>
            <p:cNvSpPr>
              <a:spLocks noChangeArrowheads="1"/>
            </p:cNvSpPr>
            <p:nvPr/>
          </p:nvSpPr>
          <p:spPr bwMode="auto">
            <a:xfrm>
              <a:off x="4298355" y="3894423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6" name="Freeform 130"/>
            <p:cNvSpPr/>
            <p:nvPr/>
          </p:nvSpPr>
          <p:spPr bwMode="auto">
            <a:xfrm>
              <a:off x="4525368" y="4011898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7" name="Oval 131"/>
            <p:cNvSpPr>
              <a:spLocks noChangeArrowheads="1"/>
            </p:cNvSpPr>
            <p:nvPr/>
          </p:nvSpPr>
          <p:spPr bwMode="auto">
            <a:xfrm>
              <a:off x="4614268" y="3894423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8" name="Freeform 118"/>
            <p:cNvSpPr/>
            <p:nvPr/>
          </p:nvSpPr>
          <p:spPr bwMode="auto">
            <a:xfrm>
              <a:off x="1075270" y="4011898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9" name="Oval 119"/>
            <p:cNvSpPr>
              <a:spLocks noChangeArrowheads="1"/>
            </p:cNvSpPr>
            <p:nvPr/>
          </p:nvSpPr>
          <p:spPr bwMode="auto">
            <a:xfrm>
              <a:off x="1159407" y="3894423"/>
              <a:ext cx="11588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0" name="Freeform 112"/>
            <p:cNvSpPr/>
            <p:nvPr/>
          </p:nvSpPr>
          <p:spPr bwMode="auto">
            <a:xfrm>
              <a:off x="2103538" y="4894834"/>
              <a:ext cx="282575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1" name="Oval 113"/>
            <p:cNvSpPr>
              <a:spLocks noChangeArrowheads="1"/>
            </p:cNvSpPr>
            <p:nvPr/>
          </p:nvSpPr>
          <p:spPr bwMode="auto">
            <a:xfrm>
              <a:off x="2186088" y="4777359"/>
              <a:ext cx="10953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2" name="Freeform 114"/>
            <p:cNvSpPr/>
            <p:nvPr/>
          </p:nvSpPr>
          <p:spPr bwMode="auto">
            <a:xfrm>
              <a:off x="2433738" y="4894834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3" name="Oval 115"/>
            <p:cNvSpPr>
              <a:spLocks noChangeArrowheads="1"/>
            </p:cNvSpPr>
            <p:nvPr/>
          </p:nvSpPr>
          <p:spPr bwMode="auto">
            <a:xfrm>
              <a:off x="2524226" y="4777359"/>
              <a:ext cx="10953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4" name="Freeform 116"/>
            <p:cNvSpPr/>
            <p:nvPr/>
          </p:nvSpPr>
          <p:spPr bwMode="auto">
            <a:xfrm>
              <a:off x="2771876" y="4894834"/>
              <a:ext cx="282575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5" name="Oval 117"/>
            <p:cNvSpPr>
              <a:spLocks noChangeArrowheads="1"/>
            </p:cNvSpPr>
            <p:nvPr/>
          </p:nvSpPr>
          <p:spPr bwMode="auto">
            <a:xfrm>
              <a:off x="2860776" y="4777359"/>
              <a:ext cx="111125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6" name="Freeform 118"/>
            <p:cNvSpPr/>
            <p:nvPr/>
          </p:nvSpPr>
          <p:spPr bwMode="auto">
            <a:xfrm>
              <a:off x="1419326" y="4894834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7" name="Oval 119"/>
            <p:cNvSpPr>
              <a:spLocks noChangeArrowheads="1"/>
            </p:cNvSpPr>
            <p:nvPr/>
          </p:nvSpPr>
          <p:spPr bwMode="auto">
            <a:xfrm>
              <a:off x="1503463" y="4777359"/>
              <a:ext cx="11588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8" name="Freeform 120"/>
            <p:cNvSpPr/>
            <p:nvPr/>
          </p:nvSpPr>
          <p:spPr bwMode="auto">
            <a:xfrm>
              <a:off x="1757463" y="4894834"/>
              <a:ext cx="282575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9" name="Oval 121"/>
            <p:cNvSpPr>
              <a:spLocks noChangeArrowheads="1"/>
            </p:cNvSpPr>
            <p:nvPr/>
          </p:nvSpPr>
          <p:spPr bwMode="auto">
            <a:xfrm>
              <a:off x="1840013" y="4777359"/>
              <a:ext cx="117475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0" name="Freeform 128"/>
            <p:cNvSpPr/>
            <p:nvPr/>
          </p:nvSpPr>
          <p:spPr bwMode="auto">
            <a:xfrm>
              <a:off x="3215680" y="4894834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1" name="Oval 129"/>
            <p:cNvSpPr>
              <a:spLocks noChangeArrowheads="1"/>
            </p:cNvSpPr>
            <p:nvPr/>
          </p:nvSpPr>
          <p:spPr bwMode="auto">
            <a:xfrm>
              <a:off x="3299817" y="4777359"/>
              <a:ext cx="109538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2" name="Freeform 130"/>
            <p:cNvSpPr/>
            <p:nvPr/>
          </p:nvSpPr>
          <p:spPr bwMode="auto">
            <a:xfrm>
              <a:off x="3547468" y="4894834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3" name="Oval 131"/>
            <p:cNvSpPr>
              <a:spLocks noChangeArrowheads="1"/>
            </p:cNvSpPr>
            <p:nvPr/>
          </p:nvSpPr>
          <p:spPr bwMode="auto">
            <a:xfrm>
              <a:off x="3636368" y="4777359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4" name="Freeform 128"/>
            <p:cNvSpPr/>
            <p:nvPr/>
          </p:nvSpPr>
          <p:spPr bwMode="auto">
            <a:xfrm>
              <a:off x="3877668" y="4894834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5" name="Oval 129"/>
            <p:cNvSpPr>
              <a:spLocks noChangeArrowheads="1"/>
            </p:cNvSpPr>
            <p:nvPr/>
          </p:nvSpPr>
          <p:spPr bwMode="auto">
            <a:xfrm>
              <a:off x="3961805" y="4777359"/>
              <a:ext cx="109538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6" name="Freeform 130"/>
            <p:cNvSpPr/>
            <p:nvPr/>
          </p:nvSpPr>
          <p:spPr bwMode="auto">
            <a:xfrm>
              <a:off x="4209455" y="4894834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7" name="Oval 131"/>
            <p:cNvSpPr>
              <a:spLocks noChangeArrowheads="1"/>
            </p:cNvSpPr>
            <p:nvPr/>
          </p:nvSpPr>
          <p:spPr bwMode="auto">
            <a:xfrm>
              <a:off x="4298355" y="4777359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8" name="Freeform 130"/>
            <p:cNvSpPr/>
            <p:nvPr/>
          </p:nvSpPr>
          <p:spPr bwMode="auto">
            <a:xfrm>
              <a:off x="4525368" y="4894834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9" name="Oval 131"/>
            <p:cNvSpPr>
              <a:spLocks noChangeArrowheads="1"/>
            </p:cNvSpPr>
            <p:nvPr/>
          </p:nvSpPr>
          <p:spPr bwMode="auto">
            <a:xfrm>
              <a:off x="4614268" y="4777359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0" name="Freeform 118"/>
            <p:cNvSpPr/>
            <p:nvPr/>
          </p:nvSpPr>
          <p:spPr bwMode="auto">
            <a:xfrm>
              <a:off x="1075270" y="4894834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1" name="Oval 119"/>
            <p:cNvSpPr>
              <a:spLocks noChangeArrowheads="1"/>
            </p:cNvSpPr>
            <p:nvPr/>
          </p:nvSpPr>
          <p:spPr bwMode="auto">
            <a:xfrm>
              <a:off x="1159407" y="4777359"/>
              <a:ext cx="11588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2" name="Freeform 118"/>
            <p:cNvSpPr/>
            <p:nvPr/>
          </p:nvSpPr>
          <p:spPr bwMode="auto">
            <a:xfrm>
              <a:off x="728400" y="4894834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3" name="Oval 119"/>
            <p:cNvSpPr>
              <a:spLocks noChangeArrowheads="1"/>
            </p:cNvSpPr>
            <p:nvPr/>
          </p:nvSpPr>
          <p:spPr bwMode="auto">
            <a:xfrm>
              <a:off x="812537" y="4777359"/>
              <a:ext cx="11588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4" name="Freeform 118"/>
            <p:cNvSpPr/>
            <p:nvPr/>
          </p:nvSpPr>
          <p:spPr bwMode="auto">
            <a:xfrm>
              <a:off x="4841281" y="4894834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5" name="Oval 119"/>
            <p:cNvSpPr>
              <a:spLocks noChangeArrowheads="1"/>
            </p:cNvSpPr>
            <p:nvPr/>
          </p:nvSpPr>
          <p:spPr bwMode="auto">
            <a:xfrm>
              <a:off x="4925418" y="4777359"/>
              <a:ext cx="115888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pic>
          <p:nvPicPr>
            <p:cNvPr id="86" name="图片 8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11808" y="1178668"/>
              <a:ext cx="804505" cy="804505"/>
            </a:xfrm>
            <a:prstGeom prst="rect">
              <a:avLst/>
            </a:prstGeom>
          </p:spPr>
        </p:pic>
        <p:sp>
          <p:nvSpPr>
            <p:cNvPr id="87" name="文本框 86"/>
            <p:cNvSpPr txBox="1"/>
            <p:nvPr/>
          </p:nvSpPr>
          <p:spPr>
            <a:xfrm>
              <a:off x="2716313" y="1119962"/>
              <a:ext cx="175349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3200" b="1" dirty="0" smtClean="0">
                  <a:solidFill>
                    <a:prstClr val="black"/>
                  </a:solidFill>
                </a:rPr>
                <a:t>360000</a:t>
              </a:r>
              <a:endParaRPr lang="zh-CN" altLang="en-US" sz="3200" b="1" dirty="0">
                <a:solidFill>
                  <a:prstClr val="black"/>
                </a:solidFill>
              </a:endParaRPr>
            </a:p>
          </p:txBody>
        </p:sp>
        <p:sp>
          <p:nvSpPr>
            <p:cNvPr id="88" name="文本框 87"/>
            <p:cNvSpPr txBox="1"/>
            <p:nvPr/>
          </p:nvSpPr>
          <p:spPr>
            <a:xfrm>
              <a:off x="2850233" y="1616220"/>
              <a:ext cx="117390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90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这里的字一定要大</a:t>
              </a:r>
              <a:endPara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8" name="矩形 187"/>
            <p:cNvSpPr/>
            <p:nvPr/>
          </p:nvSpPr>
          <p:spPr>
            <a:xfrm>
              <a:off x="667661" y="5602225"/>
              <a:ext cx="2487280" cy="432048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89" name="矩形 188"/>
            <p:cNvSpPr/>
            <p:nvPr/>
          </p:nvSpPr>
          <p:spPr>
            <a:xfrm>
              <a:off x="3125206" y="5607047"/>
              <a:ext cx="2000238" cy="43204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92" name="文本框 191"/>
            <p:cNvSpPr txBox="1"/>
            <p:nvPr/>
          </p:nvSpPr>
          <p:spPr>
            <a:xfrm>
              <a:off x="2240857" y="5616915"/>
              <a:ext cx="145028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4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65%</a:t>
              </a:r>
              <a:endParaRPr lang="zh-CN" altLang="en-US" sz="24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3" name="文本框 192"/>
            <p:cNvSpPr txBox="1"/>
            <p:nvPr/>
          </p:nvSpPr>
          <p:spPr>
            <a:xfrm>
              <a:off x="4258222" y="5607336"/>
              <a:ext cx="145028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4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5%</a:t>
              </a:r>
              <a:endParaRPr lang="zh-CN" altLang="en-US" sz="24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97" name="组合 196"/>
          <p:cNvGrpSpPr/>
          <p:nvPr/>
        </p:nvGrpSpPr>
        <p:grpSpPr>
          <a:xfrm>
            <a:off x="6344920" y="1168398"/>
            <a:ext cx="5049402" cy="4907582"/>
            <a:chOff x="6344920" y="1168398"/>
            <a:chExt cx="5049402" cy="4907582"/>
          </a:xfrm>
        </p:grpSpPr>
        <p:pic>
          <p:nvPicPr>
            <p:cNvPr id="89" name="图片 8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648" t="11610" r="23197" b="11610"/>
            <a:stretch>
              <a:fillRect/>
            </a:stretch>
          </p:blipFill>
          <p:spPr>
            <a:xfrm>
              <a:off x="7464152" y="1236302"/>
              <a:ext cx="477163" cy="689235"/>
            </a:xfrm>
            <a:prstGeom prst="rect">
              <a:avLst/>
            </a:prstGeom>
          </p:spPr>
        </p:pic>
        <p:sp>
          <p:nvSpPr>
            <p:cNvPr id="90" name="文本框 89"/>
            <p:cNvSpPr txBox="1"/>
            <p:nvPr/>
          </p:nvSpPr>
          <p:spPr>
            <a:xfrm>
              <a:off x="7941315" y="1168398"/>
              <a:ext cx="175349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3200" b="1" dirty="0" smtClean="0">
                  <a:solidFill>
                    <a:prstClr val="black"/>
                  </a:solidFill>
                </a:rPr>
                <a:t>450000</a:t>
              </a:r>
              <a:endParaRPr lang="zh-CN" altLang="en-US" sz="3200" b="1" dirty="0">
                <a:solidFill>
                  <a:prstClr val="black"/>
                </a:solidFill>
              </a:endParaRPr>
            </a:p>
          </p:txBody>
        </p:sp>
        <p:sp>
          <p:nvSpPr>
            <p:cNvPr id="91" name="文本框 90"/>
            <p:cNvSpPr txBox="1"/>
            <p:nvPr/>
          </p:nvSpPr>
          <p:spPr>
            <a:xfrm>
              <a:off x="8075235" y="1664656"/>
              <a:ext cx="117390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900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这里的字一定要大</a:t>
              </a:r>
              <a:endPara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2" name="Freeform 112"/>
            <p:cNvSpPr/>
            <p:nvPr/>
          </p:nvSpPr>
          <p:spPr bwMode="auto">
            <a:xfrm>
              <a:off x="8088162" y="2239676"/>
              <a:ext cx="282575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3" name="Oval 113"/>
            <p:cNvSpPr>
              <a:spLocks noChangeArrowheads="1"/>
            </p:cNvSpPr>
            <p:nvPr/>
          </p:nvSpPr>
          <p:spPr bwMode="auto">
            <a:xfrm>
              <a:off x="8170712" y="2122201"/>
              <a:ext cx="10953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114"/>
            <p:cNvSpPr/>
            <p:nvPr/>
          </p:nvSpPr>
          <p:spPr bwMode="auto">
            <a:xfrm>
              <a:off x="8418362" y="2239676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5" name="Oval 115"/>
            <p:cNvSpPr>
              <a:spLocks noChangeArrowheads="1"/>
            </p:cNvSpPr>
            <p:nvPr/>
          </p:nvSpPr>
          <p:spPr bwMode="auto">
            <a:xfrm>
              <a:off x="8508850" y="2122201"/>
              <a:ext cx="109538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6" name="Freeform 116"/>
            <p:cNvSpPr/>
            <p:nvPr/>
          </p:nvSpPr>
          <p:spPr bwMode="auto">
            <a:xfrm>
              <a:off x="8756500" y="2239676"/>
              <a:ext cx="282575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7" name="Oval 117"/>
            <p:cNvSpPr>
              <a:spLocks noChangeArrowheads="1"/>
            </p:cNvSpPr>
            <p:nvPr/>
          </p:nvSpPr>
          <p:spPr bwMode="auto">
            <a:xfrm>
              <a:off x="8845400" y="2122201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8" name="Freeform 118"/>
            <p:cNvSpPr/>
            <p:nvPr/>
          </p:nvSpPr>
          <p:spPr bwMode="auto">
            <a:xfrm>
              <a:off x="7403950" y="2239676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9" name="Oval 119"/>
            <p:cNvSpPr>
              <a:spLocks noChangeArrowheads="1"/>
            </p:cNvSpPr>
            <p:nvPr/>
          </p:nvSpPr>
          <p:spPr bwMode="auto">
            <a:xfrm>
              <a:off x="7488087" y="2122201"/>
              <a:ext cx="11588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120"/>
            <p:cNvSpPr/>
            <p:nvPr/>
          </p:nvSpPr>
          <p:spPr bwMode="auto">
            <a:xfrm>
              <a:off x="7742087" y="2239676"/>
              <a:ext cx="282575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1" name="Oval 121"/>
            <p:cNvSpPr>
              <a:spLocks noChangeArrowheads="1"/>
            </p:cNvSpPr>
            <p:nvPr/>
          </p:nvSpPr>
          <p:spPr bwMode="auto">
            <a:xfrm>
              <a:off x="7824637" y="2122201"/>
              <a:ext cx="117475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128"/>
            <p:cNvSpPr/>
            <p:nvPr/>
          </p:nvSpPr>
          <p:spPr bwMode="auto">
            <a:xfrm>
              <a:off x="9200304" y="2239676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3" name="Oval 129"/>
            <p:cNvSpPr>
              <a:spLocks noChangeArrowheads="1"/>
            </p:cNvSpPr>
            <p:nvPr/>
          </p:nvSpPr>
          <p:spPr bwMode="auto">
            <a:xfrm>
              <a:off x="9284441" y="2122201"/>
              <a:ext cx="109538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4" name="Freeform 130"/>
            <p:cNvSpPr/>
            <p:nvPr/>
          </p:nvSpPr>
          <p:spPr bwMode="auto">
            <a:xfrm>
              <a:off x="9532091" y="2239676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5" name="Oval 131"/>
            <p:cNvSpPr>
              <a:spLocks noChangeArrowheads="1"/>
            </p:cNvSpPr>
            <p:nvPr/>
          </p:nvSpPr>
          <p:spPr bwMode="auto">
            <a:xfrm>
              <a:off x="9620991" y="2122201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6" name="Freeform 128"/>
            <p:cNvSpPr/>
            <p:nvPr/>
          </p:nvSpPr>
          <p:spPr bwMode="auto">
            <a:xfrm>
              <a:off x="9862290" y="2239676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7" name="Oval 129"/>
            <p:cNvSpPr>
              <a:spLocks noChangeArrowheads="1"/>
            </p:cNvSpPr>
            <p:nvPr/>
          </p:nvSpPr>
          <p:spPr bwMode="auto">
            <a:xfrm>
              <a:off x="9946427" y="2122201"/>
              <a:ext cx="109538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8" name="Freeform 130"/>
            <p:cNvSpPr/>
            <p:nvPr/>
          </p:nvSpPr>
          <p:spPr bwMode="auto">
            <a:xfrm>
              <a:off x="10194077" y="2239676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9" name="Oval 131"/>
            <p:cNvSpPr>
              <a:spLocks noChangeArrowheads="1"/>
            </p:cNvSpPr>
            <p:nvPr/>
          </p:nvSpPr>
          <p:spPr bwMode="auto">
            <a:xfrm>
              <a:off x="10282977" y="2122201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0" name="Freeform 112"/>
            <p:cNvSpPr/>
            <p:nvPr/>
          </p:nvSpPr>
          <p:spPr bwMode="auto">
            <a:xfrm>
              <a:off x="8070056" y="3122612"/>
              <a:ext cx="282575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1" name="Oval 113"/>
            <p:cNvSpPr>
              <a:spLocks noChangeArrowheads="1"/>
            </p:cNvSpPr>
            <p:nvPr/>
          </p:nvSpPr>
          <p:spPr bwMode="auto">
            <a:xfrm>
              <a:off x="8152606" y="3005137"/>
              <a:ext cx="10953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2" name="Freeform 114"/>
            <p:cNvSpPr/>
            <p:nvPr/>
          </p:nvSpPr>
          <p:spPr bwMode="auto">
            <a:xfrm>
              <a:off x="8400256" y="3122612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3" name="Oval 115"/>
            <p:cNvSpPr>
              <a:spLocks noChangeArrowheads="1"/>
            </p:cNvSpPr>
            <p:nvPr/>
          </p:nvSpPr>
          <p:spPr bwMode="auto">
            <a:xfrm>
              <a:off x="8490744" y="3005137"/>
              <a:ext cx="109538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4" name="Freeform 116"/>
            <p:cNvSpPr/>
            <p:nvPr/>
          </p:nvSpPr>
          <p:spPr bwMode="auto">
            <a:xfrm>
              <a:off x="8738394" y="3122612"/>
              <a:ext cx="282575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5" name="Oval 117"/>
            <p:cNvSpPr>
              <a:spLocks noChangeArrowheads="1"/>
            </p:cNvSpPr>
            <p:nvPr/>
          </p:nvSpPr>
          <p:spPr bwMode="auto">
            <a:xfrm>
              <a:off x="8827294" y="3005137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6" name="Freeform 118"/>
            <p:cNvSpPr/>
            <p:nvPr/>
          </p:nvSpPr>
          <p:spPr bwMode="auto">
            <a:xfrm>
              <a:off x="7385844" y="3122612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7" name="Oval 119"/>
            <p:cNvSpPr>
              <a:spLocks noChangeArrowheads="1"/>
            </p:cNvSpPr>
            <p:nvPr/>
          </p:nvSpPr>
          <p:spPr bwMode="auto">
            <a:xfrm>
              <a:off x="7469981" y="3005137"/>
              <a:ext cx="11588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8" name="Freeform 120"/>
            <p:cNvSpPr/>
            <p:nvPr/>
          </p:nvSpPr>
          <p:spPr bwMode="auto">
            <a:xfrm>
              <a:off x="7723981" y="3122612"/>
              <a:ext cx="282575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9" name="Oval 121"/>
            <p:cNvSpPr>
              <a:spLocks noChangeArrowheads="1"/>
            </p:cNvSpPr>
            <p:nvPr/>
          </p:nvSpPr>
          <p:spPr bwMode="auto">
            <a:xfrm>
              <a:off x="7806531" y="3005137"/>
              <a:ext cx="117475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0" name="Freeform 128"/>
            <p:cNvSpPr/>
            <p:nvPr/>
          </p:nvSpPr>
          <p:spPr bwMode="auto">
            <a:xfrm>
              <a:off x="9182198" y="3122612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1" name="Oval 129"/>
            <p:cNvSpPr>
              <a:spLocks noChangeArrowheads="1"/>
            </p:cNvSpPr>
            <p:nvPr/>
          </p:nvSpPr>
          <p:spPr bwMode="auto">
            <a:xfrm>
              <a:off x="9266335" y="3005137"/>
              <a:ext cx="109538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2" name="Freeform 130"/>
            <p:cNvSpPr/>
            <p:nvPr/>
          </p:nvSpPr>
          <p:spPr bwMode="auto">
            <a:xfrm>
              <a:off x="9513986" y="3122612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3" name="Oval 131"/>
            <p:cNvSpPr>
              <a:spLocks noChangeArrowheads="1"/>
            </p:cNvSpPr>
            <p:nvPr/>
          </p:nvSpPr>
          <p:spPr bwMode="auto">
            <a:xfrm>
              <a:off x="9602886" y="3005137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4" name="Freeform 128"/>
            <p:cNvSpPr/>
            <p:nvPr/>
          </p:nvSpPr>
          <p:spPr bwMode="auto">
            <a:xfrm>
              <a:off x="9844186" y="3122612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5" name="Oval 129"/>
            <p:cNvSpPr>
              <a:spLocks noChangeArrowheads="1"/>
            </p:cNvSpPr>
            <p:nvPr/>
          </p:nvSpPr>
          <p:spPr bwMode="auto">
            <a:xfrm>
              <a:off x="9928323" y="3005137"/>
              <a:ext cx="109538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6" name="Freeform 130"/>
            <p:cNvSpPr/>
            <p:nvPr/>
          </p:nvSpPr>
          <p:spPr bwMode="auto">
            <a:xfrm>
              <a:off x="10175973" y="3122612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7" name="Oval 131"/>
            <p:cNvSpPr>
              <a:spLocks noChangeArrowheads="1"/>
            </p:cNvSpPr>
            <p:nvPr/>
          </p:nvSpPr>
          <p:spPr bwMode="auto">
            <a:xfrm>
              <a:off x="10264873" y="3005137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8" name="Freeform 130"/>
            <p:cNvSpPr/>
            <p:nvPr/>
          </p:nvSpPr>
          <p:spPr bwMode="auto">
            <a:xfrm>
              <a:off x="10491886" y="3122612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9" name="Oval 131"/>
            <p:cNvSpPr>
              <a:spLocks noChangeArrowheads="1"/>
            </p:cNvSpPr>
            <p:nvPr/>
          </p:nvSpPr>
          <p:spPr bwMode="auto">
            <a:xfrm>
              <a:off x="10580786" y="3005137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0" name="Freeform 118"/>
            <p:cNvSpPr/>
            <p:nvPr/>
          </p:nvSpPr>
          <p:spPr bwMode="auto">
            <a:xfrm>
              <a:off x="7041788" y="3122612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1" name="Oval 119"/>
            <p:cNvSpPr>
              <a:spLocks noChangeArrowheads="1"/>
            </p:cNvSpPr>
            <p:nvPr/>
          </p:nvSpPr>
          <p:spPr bwMode="auto">
            <a:xfrm>
              <a:off x="7125925" y="3005137"/>
              <a:ext cx="11588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2" name="Freeform 112"/>
            <p:cNvSpPr/>
            <p:nvPr/>
          </p:nvSpPr>
          <p:spPr bwMode="auto">
            <a:xfrm>
              <a:off x="8070056" y="4005548"/>
              <a:ext cx="282575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3" name="Oval 113"/>
            <p:cNvSpPr>
              <a:spLocks noChangeArrowheads="1"/>
            </p:cNvSpPr>
            <p:nvPr/>
          </p:nvSpPr>
          <p:spPr bwMode="auto">
            <a:xfrm>
              <a:off x="8152606" y="3888073"/>
              <a:ext cx="10953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4" name="Freeform 114"/>
            <p:cNvSpPr/>
            <p:nvPr/>
          </p:nvSpPr>
          <p:spPr bwMode="auto">
            <a:xfrm>
              <a:off x="8400256" y="4005548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5" name="Oval 115"/>
            <p:cNvSpPr>
              <a:spLocks noChangeArrowheads="1"/>
            </p:cNvSpPr>
            <p:nvPr/>
          </p:nvSpPr>
          <p:spPr bwMode="auto">
            <a:xfrm>
              <a:off x="8490744" y="3888073"/>
              <a:ext cx="109538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6" name="Freeform 116"/>
            <p:cNvSpPr/>
            <p:nvPr/>
          </p:nvSpPr>
          <p:spPr bwMode="auto">
            <a:xfrm>
              <a:off x="8738394" y="4005548"/>
              <a:ext cx="282575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7" name="Oval 117"/>
            <p:cNvSpPr>
              <a:spLocks noChangeArrowheads="1"/>
            </p:cNvSpPr>
            <p:nvPr/>
          </p:nvSpPr>
          <p:spPr bwMode="auto">
            <a:xfrm>
              <a:off x="8827294" y="3888073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8" name="Freeform 118"/>
            <p:cNvSpPr/>
            <p:nvPr/>
          </p:nvSpPr>
          <p:spPr bwMode="auto">
            <a:xfrm>
              <a:off x="7385844" y="4005548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9" name="Oval 119"/>
            <p:cNvSpPr>
              <a:spLocks noChangeArrowheads="1"/>
            </p:cNvSpPr>
            <p:nvPr/>
          </p:nvSpPr>
          <p:spPr bwMode="auto">
            <a:xfrm>
              <a:off x="7469981" y="3888073"/>
              <a:ext cx="11588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40" name="Freeform 120"/>
            <p:cNvSpPr/>
            <p:nvPr/>
          </p:nvSpPr>
          <p:spPr bwMode="auto">
            <a:xfrm>
              <a:off x="7723981" y="4005548"/>
              <a:ext cx="282575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41" name="Oval 121"/>
            <p:cNvSpPr>
              <a:spLocks noChangeArrowheads="1"/>
            </p:cNvSpPr>
            <p:nvPr/>
          </p:nvSpPr>
          <p:spPr bwMode="auto">
            <a:xfrm>
              <a:off x="7806531" y="3888073"/>
              <a:ext cx="117475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42" name="Freeform 128"/>
            <p:cNvSpPr/>
            <p:nvPr/>
          </p:nvSpPr>
          <p:spPr bwMode="auto">
            <a:xfrm>
              <a:off x="9182198" y="4005548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43" name="Oval 129"/>
            <p:cNvSpPr>
              <a:spLocks noChangeArrowheads="1"/>
            </p:cNvSpPr>
            <p:nvPr/>
          </p:nvSpPr>
          <p:spPr bwMode="auto">
            <a:xfrm>
              <a:off x="9266335" y="3888073"/>
              <a:ext cx="109538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44" name="Freeform 130"/>
            <p:cNvSpPr/>
            <p:nvPr/>
          </p:nvSpPr>
          <p:spPr bwMode="auto">
            <a:xfrm>
              <a:off x="9513986" y="4005548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45" name="Oval 131"/>
            <p:cNvSpPr>
              <a:spLocks noChangeArrowheads="1"/>
            </p:cNvSpPr>
            <p:nvPr/>
          </p:nvSpPr>
          <p:spPr bwMode="auto">
            <a:xfrm>
              <a:off x="9602886" y="3888073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46" name="Freeform 128"/>
            <p:cNvSpPr/>
            <p:nvPr/>
          </p:nvSpPr>
          <p:spPr bwMode="auto">
            <a:xfrm>
              <a:off x="9844186" y="4005548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47" name="Oval 129"/>
            <p:cNvSpPr>
              <a:spLocks noChangeArrowheads="1"/>
            </p:cNvSpPr>
            <p:nvPr/>
          </p:nvSpPr>
          <p:spPr bwMode="auto">
            <a:xfrm>
              <a:off x="9928323" y="3888073"/>
              <a:ext cx="109538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48" name="Freeform 130"/>
            <p:cNvSpPr/>
            <p:nvPr/>
          </p:nvSpPr>
          <p:spPr bwMode="auto">
            <a:xfrm>
              <a:off x="10175973" y="4005548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49" name="Oval 131"/>
            <p:cNvSpPr>
              <a:spLocks noChangeArrowheads="1"/>
            </p:cNvSpPr>
            <p:nvPr/>
          </p:nvSpPr>
          <p:spPr bwMode="auto">
            <a:xfrm>
              <a:off x="10264873" y="3888073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50" name="Freeform 130"/>
            <p:cNvSpPr/>
            <p:nvPr/>
          </p:nvSpPr>
          <p:spPr bwMode="auto">
            <a:xfrm>
              <a:off x="10491886" y="4005548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51" name="Oval 131"/>
            <p:cNvSpPr>
              <a:spLocks noChangeArrowheads="1"/>
            </p:cNvSpPr>
            <p:nvPr/>
          </p:nvSpPr>
          <p:spPr bwMode="auto">
            <a:xfrm>
              <a:off x="10580786" y="3888073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52" name="Freeform 118"/>
            <p:cNvSpPr/>
            <p:nvPr/>
          </p:nvSpPr>
          <p:spPr bwMode="auto">
            <a:xfrm>
              <a:off x="7041788" y="4005548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53" name="Oval 119"/>
            <p:cNvSpPr>
              <a:spLocks noChangeArrowheads="1"/>
            </p:cNvSpPr>
            <p:nvPr/>
          </p:nvSpPr>
          <p:spPr bwMode="auto">
            <a:xfrm>
              <a:off x="7125925" y="3888073"/>
              <a:ext cx="11588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54" name="Freeform 118"/>
            <p:cNvSpPr/>
            <p:nvPr/>
          </p:nvSpPr>
          <p:spPr bwMode="auto">
            <a:xfrm>
              <a:off x="6694918" y="4005548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55" name="Oval 119"/>
            <p:cNvSpPr>
              <a:spLocks noChangeArrowheads="1"/>
            </p:cNvSpPr>
            <p:nvPr/>
          </p:nvSpPr>
          <p:spPr bwMode="auto">
            <a:xfrm>
              <a:off x="6779055" y="3888073"/>
              <a:ext cx="11588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56" name="Freeform 118"/>
            <p:cNvSpPr/>
            <p:nvPr/>
          </p:nvSpPr>
          <p:spPr bwMode="auto">
            <a:xfrm>
              <a:off x="10807799" y="4005548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57" name="Oval 119"/>
            <p:cNvSpPr>
              <a:spLocks noChangeArrowheads="1"/>
            </p:cNvSpPr>
            <p:nvPr/>
          </p:nvSpPr>
          <p:spPr bwMode="auto">
            <a:xfrm>
              <a:off x="10891936" y="3888073"/>
              <a:ext cx="115888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58" name="Freeform 112"/>
            <p:cNvSpPr/>
            <p:nvPr/>
          </p:nvSpPr>
          <p:spPr bwMode="auto">
            <a:xfrm>
              <a:off x="7720058" y="4894834"/>
              <a:ext cx="282575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59" name="Oval 113"/>
            <p:cNvSpPr>
              <a:spLocks noChangeArrowheads="1"/>
            </p:cNvSpPr>
            <p:nvPr/>
          </p:nvSpPr>
          <p:spPr bwMode="auto">
            <a:xfrm>
              <a:off x="7802608" y="4777359"/>
              <a:ext cx="10953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60" name="Freeform 114"/>
            <p:cNvSpPr/>
            <p:nvPr/>
          </p:nvSpPr>
          <p:spPr bwMode="auto">
            <a:xfrm>
              <a:off x="8050258" y="4894834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61" name="Oval 115"/>
            <p:cNvSpPr>
              <a:spLocks noChangeArrowheads="1"/>
            </p:cNvSpPr>
            <p:nvPr/>
          </p:nvSpPr>
          <p:spPr bwMode="auto">
            <a:xfrm>
              <a:off x="8140746" y="4777359"/>
              <a:ext cx="10953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62" name="Freeform 116"/>
            <p:cNvSpPr/>
            <p:nvPr/>
          </p:nvSpPr>
          <p:spPr bwMode="auto">
            <a:xfrm>
              <a:off x="8388396" y="4894834"/>
              <a:ext cx="282575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63" name="Oval 117"/>
            <p:cNvSpPr>
              <a:spLocks noChangeArrowheads="1"/>
            </p:cNvSpPr>
            <p:nvPr/>
          </p:nvSpPr>
          <p:spPr bwMode="auto">
            <a:xfrm>
              <a:off x="8477296" y="4777359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64" name="Freeform 118"/>
            <p:cNvSpPr/>
            <p:nvPr/>
          </p:nvSpPr>
          <p:spPr bwMode="auto">
            <a:xfrm>
              <a:off x="7035846" y="4894834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65" name="Oval 119"/>
            <p:cNvSpPr>
              <a:spLocks noChangeArrowheads="1"/>
            </p:cNvSpPr>
            <p:nvPr/>
          </p:nvSpPr>
          <p:spPr bwMode="auto">
            <a:xfrm>
              <a:off x="7119983" y="4777359"/>
              <a:ext cx="11588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66" name="Freeform 120"/>
            <p:cNvSpPr/>
            <p:nvPr/>
          </p:nvSpPr>
          <p:spPr bwMode="auto">
            <a:xfrm>
              <a:off x="7373983" y="4894834"/>
              <a:ext cx="282575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67" name="Oval 121"/>
            <p:cNvSpPr>
              <a:spLocks noChangeArrowheads="1"/>
            </p:cNvSpPr>
            <p:nvPr/>
          </p:nvSpPr>
          <p:spPr bwMode="auto">
            <a:xfrm>
              <a:off x="7456533" y="4777359"/>
              <a:ext cx="117475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68" name="Freeform 128"/>
            <p:cNvSpPr/>
            <p:nvPr/>
          </p:nvSpPr>
          <p:spPr bwMode="auto">
            <a:xfrm>
              <a:off x="8832200" y="4894834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69" name="Oval 129"/>
            <p:cNvSpPr>
              <a:spLocks noChangeArrowheads="1"/>
            </p:cNvSpPr>
            <p:nvPr/>
          </p:nvSpPr>
          <p:spPr bwMode="auto">
            <a:xfrm>
              <a:off x="8916337" y="4777359"/>
              <a:ext cx="109538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70" name="Freeform 130"/>
            <p:cNvSpPr/>
            <p:nvPr/>
          </p:nvSpPr>
          <p:spPr bwMode="auto">
            <a:xfrm>
              <a:off x="9163988" y="4894834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71" name="Oval 131"/>
            <p:cNvSpPr>
              <a:spLocks noChangeArrowheads="1"/>
            </p:cNvSpPr>
            <p:nvPr/>
          </p:nvSpPr>
          <p:spPr bwMode="auto">
            <a:xfrm>
              <a:off x="9252888" y="4777359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72" name="Freeform 128"/>
            <p:cNvSpPr/>
            <p:nvPr/>
          </p:nvSpPr>
          <p:spPr bwMode="auto">
            <a:xfrm>
              <a:off x="9494188" y="4894834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0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6 w 41"/>
                <a:gd name="T15" fmla="*/ 39 h 87"/>
                <a:gd name="T16" fmla="*/ 6 w 41"/>
                <a:gd name="T17" fmla="*/ 14 h 87"/>
                <a:gd name="T18" fmla="*/ 9 w 41"/>
                <a:gd name="T19" fmla="*/ 14 h 87"/>
                <a:gd name="T20" fmla="*/ 9 w 41"/>
                <a:gd name="T21" fmla="*/ 38 h 87"/>
                <a:gd name="T22" fmla="*/ 9 w 41"/>
                <a:gd name="T23" fmla="*/ 39 h 87"/>
                <a:gd name="T24" fmla="*/ 9 w 41"/>
                <a:gd name="T25" fmla="*/ 82 h 87"/>
                <a:gd name="T26" fmla="*/ 14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1 w 41"/>
                <a:gd name="T33" fmla="*/ 44 h 87"/>
                <a:gd name="T34" fmla="*/ 21 w 41"/>
                <a:gd name="T35" fmla="*/ 82 h 87"/>
                <a:gd name="T36" fmla="*/ 26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3 w 41"/>
                <a:gd name="T47" fmla="*/ 14 h 87"/>
                <a:gd name="T48" fmla="*/ 33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2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1" y="43"/>
                    <a:pt x="3" y="43"/>
                  </a:cubicBezTo>
                  <a:cubicBezTo>
                    <a:pt x="5" y="43"/>
                    <a:pt x="6" y="41"/>
                    <a:pt x="6" y="39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9" y="85"/>
                    <a:pt x="12" y="87"/>
                    <a:pt x="14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5"/>
                    <a:pt x="23" y="87"/>
                    <a:pt x="26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7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73" name="Oval 129"/>
            <p:cNvSpPr>
              <a:spLocks noChangeArrowheads="1"/>
            </p:cNvSpPr>
            <p:nvPr/>
          </p:nvSpPr>
          <p:spPr bwMode="auto">
            <a:xfrm>
              <a:off x="9578325" y="4777359"/>
              <a:ext cx="109538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74" name="Freeform 130"/>
            <p:cNvSpPr/>
            <p:nvPr/>
          </p:nvSpPr>
          <p:spPr bwMode="auto">
            <a:xfrm>
              <a:off x="9825975" y="4894834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75" name="Oval 131"/>
            <p:cNvSpPr>
              <a:spLocks noChangeArrowheads="1"/>
            </p:cNvSpPr>
            <p:nvPr/>
          </p:nvSpPr>
          <p:spPr bwMode="auto">
            <a:xfrm>
              <a:off x="9914875" y="4777359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76" name="Freeform 130"/>
            <p:cNvSpPr/>
            <p:nvPr/>
          </p:nvSpPr>
          <p:spPr bwMode="auto">
            <a:xfrm>
              <a:off x="10141888" y="4894834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77" name="Oval 131"/>
            <p:cNvSpPr>
              <a:spLocks noChangeArrowheads="1"/>
            </p:cNvSpPr>
            <p:nvPr/>
          </p:nvSpPr>
          <p:spPr bwMode="auto">
            <a:xfrm>
              <a:off x="10230788" y="4777359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78" name="Freeform 118"/>
            <p:cNvSpPr/>
            <p:nvPr/>
          </p:nvSpPr>
          <p:spPr bwMode="auto">
            <a:xfrm>
              <a:off x="6691790" y="4894834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79" name="Oval 119"/>
            <p:cNvSpPr>
              <a:spLocks noChangeArrowheads="1"/>
            </p:cNvSpPr>
            <p:nvPr/>
          </p:nvSpPr>
          <p:spPr bwMode="auto">
            <a:xfrm>
              <a:off x="6775927" y="4777359"/>
              <a:ext cx="11588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80" name="Freeform 118"/>
            <p:cNvSpPr/>
            <p:nvPr/>
          </p:nvSpPr>
          <p:spPr bwMode="auto">
            <a:xfrm>
              <a:off x="6344920" y="4894834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81" name="Oval 119"/>
            <p:cNvSpPr>
              <a:spLocks noChangeArrowheads="1"/>
            </p:cNvSpPr>
            <p:nvPr/>
          </p:nvSpPr>
          <p:spPr bwMode="auto">
            <a:xfrm>
              <a:off x="6429057" y="4777359"/>
              <a:ext cx="115888" cy="111125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82" name="Freeform 118"/>
            <p:cNvSpPr/>
            <p:nvPr/>
          </p:nvSpPr>
          <p:spPr bwMode="auto">
            <a:xfrm>
              <a:off x="10457801" y="4894834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83" name="Oval 119"/>
            <p:cNvSpPr>
              <a:spLocks noChangeArrowheads="1"/>
            </p:cNvSpPr>
            <p:nvPr/>
          </p:nvSpPr>
          <p:spPr bwMode="auto">
            <a:xfrm>
              <a:off x="10541938" y="4777359"/>
              <a:ext cx="115888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84" name="Freeform 130"/>
            <p:cNvSpPr/>
            <p:nvPr/>
          </p:nvSpPr>
          <p:spPr bwMode="auto">
            <a:xfrm>
              <a:off x="10794246" y="4894834"/>
              <a:ext cx="282575" cy="600075"/>
            </a:xfrm>
            <a:custGeom>
              <a:avLst/>
              <a:gdLst>
                <a:gd name="T0" fmla="*/ 32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4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20 w 41"/>
                <a:gd name="T29" fmla="*/ 82 h 87"/>
                <a:gd name="T30" fmla="*/ 20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2 w 41"/>
                <a:gd name="T39" fmla="*/ 82 h 87"/>
                <a:gd name="T40" fmla="*/ 32 w 41"/>
                <a:gd name="T41" fmla="*/ 38 h 87"/>
                <a:gd name="T42" fmla="*/ 32 w 41"/>
                <a:gd name="T43" fmla="*/ 38 h 87"/>
                <a:gd name="T44" fmla="*/ 32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8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2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2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4" y="43"/>
                  </a:cubicBezTo>
                  <a:cubicBezTo>
                    <a:pt x="6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8" y="87"/>
                    <a:pt x="20" y="85"/>
                    <a:pt x="20" y="82"/>
                  </a:cubicBezTo>
                  <a:cubicBezTo>
                    <a:pt x="20" y="44"/>
                    <a:pt x="20" y="44"/>
                    <a:pt x="20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2" y="85"/>
                    <a:pt x="32" y="82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6" y="43"/>
                    <a:pt x="38" y="43"/>
                  </a:cubicBezTo>
                  <a:cubicBezTo>
                    <a:pt x="40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2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85" name="Oval 131"/>
            <p:cNvSpPr>
              <a:spLocks noChangeArrowheads="1"/>
            </p:cNvSpPr>
            <p:nvPr/>
          </p:nvSpPr>
          <p:spPr bwMode="auto">
            <a:xfrm>
              <a:off x="10883146" y="4777359"/>
              <a:ext cx="111125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86" name="Freeform 118"/>
            <p:cNvSpPr/>
            <p:nvPr/>
          </p:nvSpPr>
          <p:spPr bwMode="auto">
            <a:xfrm>
              <a:off x="11110159" y="4894834"/>
              <a:ext cx="284163" cy="600075"/>
            </a:xfrm>
            <a:custGeom>
              <a:avLst/>
              <a:gdLst>
                <a:gd name="T0" fmla="*/ 31 w 41"/>
                <a:gd name="T1" fmla="*/ 1 h 87"/>
                <a:gd name="T2" fmla="*/ 11 w 41"/>
                <a:gd name="T3" fmla="*/ 0 h 87"/>
                <a:gd name="T4" fmla="*/ 0 w 41"/>
                <a:gd name="T5" fmla="*/ 9 h 87"/>
                <a:gd name="T6" fmla="*/ 0 w 41"/>
                <a:gd name="T7" fmla="*/ 9 h 87"/>
                <a:gd name="T8" fmla="*/ 0 w 41"/>
                <a:gd name="T9" fmla="*/ 11 h 87"/>
                <a:gd name="T10" fmla="*/ 0 w 41"/>
                <a:gd name="T11" fmla="*/ 39 h 87"/>
                <a:gd name="T12" fmla="*/ 3 w 41"/>
                <a:gd name="T13" fmla="*/ 43 h 87"/>
                <a:gd name="T14" fmla="*/ 7 w 41"/>
                <a:gd name="T15" fmla="*/ 39 h 87"/>
                <a:gd name="T16" fmla="*/ 7 w 41"/>
                <a:gd name="T17" fmla="*/ 14 h 87"/>
                <a:gd name="T18" fmla="*/ 10 w 41"/>
                <a:gd name="T19" fmla="*/ 14 h 87"/>
                <a:gd name="T20" fmla="*/ 10 w 41"/>
                <a:gd name="T21" fmla="*/ 38 h 87"/>
                <a:gd name="T22" fmla="*/ 10 w 41"/>
                <a:gd name="T23" fmla="*/ 39 h 87"/>
                <a:gd name="T24" fmla="*/ 10 w 41"/>
                <a:gd name="T25" fmla="*/ 82 h 87"/>
                <a:gd name="T26" fmla="*/ 15 w 41"/>
                <a:gd name="T27" fmla="*/ 87 h 87"/>
                <a:gd name="T28" fmla="*/ 19 w 41"/>
                <a:gd name="T29" fmla="*/ 82 h 87"/>
                <a:gd name="T30" fmla="*/ 19 w 41"/>
                <a:gd name="T31" fmla="*/ 44 h 87"/>
                <a:gd name="T32" fmla="*/ 22 w 41"/>
                <a:gd name="T33" fmla="*/ 44 h 87"/>
                <a:gd name="T34" fmla="*/ 22 w 41"/>
                <a:gd name="T35" fmla="*/ 82 h 87"/>
                <a:gd name="T36" fmla="*/ 27 w 41"/>
                <a:gd name="T37" fmla="*/ 87 h 87"/>
                <a:gd name="T38" fmla="*/ 31 w 41"/>
                <a:gd name="T39" fmla="*/ 82 h 87"/>
                <a:gd name="T40" fmla="*/ 31 w 41"/>
                <a:gd name="T41" fmla="*/ 38 h 87"/>
                <a:gd name="T42" fmla="*/ 31 w 41"/>
                <a:gd name="T43" fmla="*/ 38 h 87"/>
                <a:gd name="T44" fmla="*/ 31 w 41"/>
                <a:gd name="T45" fmla="*/ 14 h 87"/>
                <a:gd name="T46" fmla="*/ 34 w 41"/>
                <a:gd name="T47" fmla="*/ 14 h 87"/>
                <a:gd name="T48" fmla="*/ 34 w 41"/>
                <a:gd name="T49" fmla="*/ 39 h 87"/>
                <a:gd name="T50" fmla="*/ 37 w 41"/>
                <a:gd name="T51" fmla="*/ 43 h 87"/>
                <a:gd name="T52" fmla="*/ 41 w 41"/>
                <a:gd name="T53" fmla="*/ 39 h 87"/>
                <a:gd name="T54" fmla="*/ 41 w 41"/>
                <a:gd name="T55" fmla="*/ 11 h 87"/>
                <a:gd name="T56" fmla="*/ 41 w 41"/>
                <a:gd name="T57" fmla="*/ 9 h 87"/>
                <a:gd name="T58" fmla="*/ 41 w 41"/>
                <a:gd name="T59" fmla="*/ 9 h 87"/>
                <a:gd name="T60" fmla="*/ 31 w 41"/>
                <a:gd name="T61" fmla="*/ 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" h="87">
                  <a:moveTo>
                    <a:pt x="31" y="1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3" y="1"/>
                    <a:pt x="0" y="7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3"/>
                    <a:pt x="3" y="43"/>
                  </a:cubicBezTo>
                  <a:cubicBezTo>
                    <a:pt x="5" y="43"/>
                    <a:pt x="7" y="41"/>
                    <a:pt x="7" y="3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5"/>
                    <a:pt x="12" y="87"/>
                    <a:pt x="15" y="87"/>
                  </a:cubicBezTo>
                  <a:cubicBezTo>
                    <a:pt x="17" y="87"/>
                    <a:pt x="19" y="85"/>
                    <a:pt x="19" y="8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82"/>
                    <a:pt x="22" y="82"/>
                    <a:pt x="22" y="82"/>
                  </a:cubicBezTo>
                  <a:cubicBezTo>
                    <a:pt x="22" y="85"/>
                    <a:pt x="24" y="87"/>
                    <a:pt x="27" y="87"/>
                  </a:cubicBezTo>
                  <a:cubicBezTo>
                    <a:pt x="29" y="87"/>
                    <a:pt x="31" y="85"/>
                    <a:pt x="31" y="82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4" y="41"/>
                    <a:pt x="35" y="43"/>
                    <a:pt x="37" y="43"/>
                  </a:cubicBezTo>
                  <a:cubicBezTo>
                    <a:pt x="39" y="43"/>
                    <a:pt x="41" y="41"/>
                    <a:pt x="41" y="39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6"/>
                    <a:pt x="38" y="1"/>
                    <a:pt x="31" y="1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87" name="Oval 119"/>
            <p:cNvSpPr>
              <a:spLocks noChangeArrowheads="1"/>
            </p:cNvSpPr>
            <p:nvPr/>
          </p:nvSpPr>
          <p:spPr bwMode="auto">
            <a:xfrm>
              <a:off x="11194296" y="4777359"/>
              <a:ext cx="115888" cy="111125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90" name="矩形 189"/>
            <p:cNvSpPr/>
            <p:nvPr/>
          </p:nvSpPr>
          <p:spPr>
            <a:xfrm>
              <a:off x="6360335" y="5603798"/>
              <a:ext cx="1992296" cy="432048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91" name="矩形 190"/>
            <p:cNvSpPr/>
            <p:nvPr/>
          </p:nvSpPr>
          <p:spPr>
            <a:xfrm>
              <a:off x="8330838" y="5602225"/>
              <a:ext cx="3063484" cy="43204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94" name="文本框 193"/>
            <p:cNvSpPr txBox="1"/>
            <p:nvPr/>
          </p:nvSpPr>
          <p:spPr>
            <a:xfrm>
              <a:off x="7474909" y="5614315"/>
              <a:ext cx="145028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4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0%</a:t>
              </a:r>
              <a:endParaRPr lang="zh-CN" altLang="en-US" sz="24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5" name="文本框 194"/>
            <p:cNvSpPr txBox="1"/>
            <p:nvPr/>
          </p:nvSpPr>
          <p:spPr>
            <a:xfrm>
              <a:off x="8313935" y="5611941"/>
              <a:ext cx="145028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4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70%</a:t>
              </a:r>
              <a:endParaRPr lang="zh-CN" altLang="en-US" sz="24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84" r="13426" b="3402"/>
          <a:stretch>
            <a:fillRect/>
          </a:stretch>
        </p:blipFill>
        <p:spPr>
          <a:xfrm>
            <a:off x="3440705" y="1412776"/>
            <a:ext cx="5310590" cy="4248472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3647728" y="1772816"/>
            <a:ext cx="4896544" cy="2780927"/>
          </a:xfrm>
          <a:prstGeom prst="rect">
            <a:avLst/>
          </a:prstGeom>
        </p:spPr>
      </p:pic>
      <p:grpSp>
        <p:nvGrpSpPr>
          <p:cNvPr id="8" name="组合 7"/>
          <p:cNvGrpSpPr/>
          <p:nvPr/>
        </p:nvGrpSpPr>
        <p:grpSpPr>
          <a:xfrm>
            <a:off x="4504" y="1857645"/>
            <a:ext cx="2738624" cy="720080"/>
            <a:chOff x="4504" y="1589476"/>
            <a:chExt cx="2738624" cy="720080"/>
          </a:xfrm>
        </p:grpSpPr>
        <p:sp>
          <p:nvSpPr>
            <p:cNvPr id="9" name="矩形 8"/>
            <p:cNvSpPr/>
            <p:nvPr/>
          </p:nvSpPr>
          <p:spPr>
            <a:xfrm>
              <a:off x="4504" y="1589476"/>
              <a:ext cx="834912" cy="720080"/>
            </a:xfrm>
            <a:prstGeom prst="rect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0" name="矩形 9"/>
            <p:cNvSpPr/>
            <p:nvPr/>
          </p:nvSpPr>
          <p:spPr>
            <a:xfrm>
              <a:off x="839416" y="1589476"/>
              <a:ext cx="1800200" cy="720080"/>
            </a:xfrm>
            <a:prstGeom prst="rect">
              <a:avLst/>
            </a:prstGeom>
            <a:solidFill>
              <a:srgbClr val="50576A"/>
            </a:solidFill>
            <a:ln>
              <a:solidFill>
                <a:srgbClr val="50576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11" name="文本框 10"/>
            <p:cNvSpPr txBox="1"/>
            <p:nvPr/>
          </p:nvSpPr>
          <p:spPr>
            <a:xfrm>
              <a:off x="870920" y="1734072"/>
              <a:ext cx="1872208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1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单击此</a:t>
              </a:r>
              <a:endParaRPr lang="en-US" altLang="zh-CN" sz="1100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1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处</a:t>
              </a:r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</a:t>
              </a:r>
              <a:r>
                <a:rPr lang="zh-CN" altLang="en-US" sz="11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单击</a:t>
              </a:r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此处</a:t>
              </a:r>
              <a:r>
                <a:rPr lang="zh-CN" altLang="en-US" sz="11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</a:t>
              </a:r>
              <a:endParaRPr lang="en-US" altLang="zh-CN" sz="1100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2" name="图片 1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198" y="1652706"/>
              <a:ext cx="609524" cy="609524"/>
            </a:xfrm>
            <a:prstGeom prst="rect">
              <a:avLst/>
            </a:prstGeom>
          </p:spPr>
        </p:pic>
      </p:grpSp>
      <p:grpSp>
        <p:nvGrpSpPr>
          <p:cNvPr id="13" name="组合 12"/>
          <p:cNvGrpSpPr/>
          <p:nvPr/>
        </p:nvGrpSpPr>
        <p:grpSpPr>
          <a:xfrm>
            <a:off x="0" y="2784601"/>
            <a:ext cx="2738624" cy="720080"/>
            <a:chOff x="24781" y="2516432"/>
            <a:chExt cx="2738624" cy="720080"/>
          </a:xfrm>
        </p:grpSpPr>
        <p:grpSp>
          <p:nvGrpSpPr>
            <p:cNvPr id="14" name="组合 13"/>
            <p:cNvGrpSpPr/>
            <p:nvPr/>
          </p:nvGrpSpPr>
          <p:grpSpPr>
            <a:xfrm>
              <a:off x="24781" y="2516432"/>
              <a:ext cx="2738624" cy="720080"/>
              <a:chOff x="4504" y="1589476"/>
              <a:chExt cx="2738624" cy="720080"/>
            </a:xfrm>
          </p:grpSpPr>
          <p:sp>
            <p:nvSpPr>
              <p:cNvPr id="16" name="矩形 15"/>
              <p:cNvSpPr/>
              <p:nvPr/>
            </p:nvSpPr>
            <p:spPr>
              <a:xfrm>
                <a:off x="4504" y="1589476"/>
                <a:ext cx="834912" cy="720080"/>
              </a:xfrm>
              <a:prstGeom prst="rect">
                <a:avLst/>
              </a:prstGeom>
              <a:solidFill>
                <a:srgbClr val="92D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矩形 16"/>
              <p:cNvSpPr/>
              <p:nvPr/>
            </p:nvSpPr>
            <p:spPr>
              <a:xfrm>
                <a:off x="839416" y="1589476"/>
                <a:ext cx="1800200" cy="720080"/>
              </a:xfrm>
              <a:prstGeom prst="rect">
                <a:avLst/>
              </a:prstGeom>
              <a:solidFill>
                <a:srgbClr val="50576A"/>
              </a:solidFill>
              <a:ln>
                <a:solidFill>
                  <a:srgbClr val="50576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文本框 17"/>
              <p:cNvSpPr txBox="1"/>
              <p:nvPr/>
            </p:nvSpPr>
            <p:spPr>
              <a:xfrm>
                <a:off x="870920" y="1734072"/>
                <a:ext cx="1872208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100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单击此处添加标题单击此</a:t>
                </a:r>
                <a:endParaRPr lang="en-US" altLang="zh-CN" sz="11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100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处</a:t>
                </a:r>
                <a:r>
                  <a:rPr lang="zh-CN" altLang="en-US" sz="11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</a:t>
                </a:r>
                <a:r>
                  <a:rPr lang="zh-CN" altLang="en-US" sz="1100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标题单击</a:t>
                </a:r>
                <a:r>
                  <a:rPr lang="zh-CN" altLang="en-US" sz="11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此处</a:t>
                </a:r>
                <a:r>
                  <a:rPr lang="zh-CN" altLang="en-US" sz="1100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</a:t>
                </a:r>
                <a:endParaRPr lang="en-US" altLang="zh-CN" sz="11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pic>
          <p:nvPicPr>
            <p:cNvPr id="15" name="图片 1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5990" y="2661028"/>
              <a:ext cx="492120" cy="492120"/>
            </a:xfrm>
            <a:prstGeom prst="rect">
              <a:avLst/>
            </a:prstGeom>
          </p:spPr>
        </p:pic>
      </p:grpSp>
      <p:grpSp>
        <p:nvGrpSpPr>
          <p:cNvPr id="19" name="组合 18"/>
          <p:cNvGrpSpPr/>
          <p:nvPr/>
        </p:nvGrpSpPr>
        <p:grpSpPr>
          <a:xfrm>
            <a:off x="0" y="3717032"/>
            <a:ext cx="2738624" cy="720080"/>
            <a:chOff x="0" y="3448863"/>
            <a:chExt cx="2738624" cy="720080"/>
          </a:xfrm>
        </p:grpSpPr>
        <p:grpSp>
          <p:nvGrpSpPr>
            <p:cNvPr id="20" name="组合 19"/>
            <p:cNvGrpSpPr/>
            <p:nvPr/>
          </p:nvGrpSpPr>
          <p:grpSpPr>
            <a:xfrm>
              <a:off x="0" y="3448863"/>
              <a:ext cx="2738624" cy="720080"/>
              <a:chOff x="4504" y="1589476"/>
              <a:chExt cx="2738624" cy="720080"/>
            </a:xfrm>
          </p:grpSpPr>
          <p:sp>
            <p:nvSpPr>
              <p:cNvPr id="22" name="矩形 21"/>
              <p:cNvSpPr/>
              <p:nvPr/>
            </p:nvSpPr>
            <p:spPr>
              <a:xfrm>
                <a:off x="4504" y="1589476"/>
                <a:ext cx="834912" cy="720080"/>
              </a:xfrm>
              <a:prstGeom prst="rect">
                <a:avLst/>
              </a:prstGeom>
              <a:solidFill>
                <a:srgbClr val="92D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3" name="矩形 22"/>
              <p:cNvSpPr/>
              <p:nvPr/>
            </p:nvSpPr>
            <p:spPr>
              <a:xfrm>
                <a:off x="839416" y="1589476"/>
                <a:ext cx="1800200" cy="720080"/>
              </a:xfrm>
              <a:prstGeom prst="rect">
                <a:avLst/>
              </a:prstGeom>
              <a:solidFill>
                <a:srgbClr val="50576A"/>
              </a:solidFill>
              <a:ln>
                <a:solidFill>
                  <a:srgbClr val="50576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4" name="文本框 23"/>
              <p:cNvSpPr txBox="1"/>
              <p:nvPr/>
            </p:nvSpPr>
            <p:spPr>
              <a:xfrm>
                <a:off x="870920" y="1734072"/>
                <a:ext cx="1872208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100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单击此处添加标题单击此</a:t>
                </a:r>
                <a:endParaRPr lang="en-US" altLang="zh-CN" sz="11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100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处</a:t>
                </a:r>
                <a:r>
                  <a:rPr lang="zh-CN" altLang="en-US" sz="11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</a:t>
                </a:r>
                <a:r>
                  <a:rPr lang="zh-CN" altLang="en-US" sz="1100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标题单击</a:t>
                </a:r>
                <a:r>
                  <a:rPr lang="zh-CN" altLang="en-US" sz="11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此处</a:t>
                </a:r>
                <a:r>
                  <a:rPr lang="zh-CN" altLang="en-US" sz="1100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</a:t>
                </a:r>
                <a:endParaRPr lang="en-US" altLang="zh-CN" sz="11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pic>
          <p:nvPicPr>
            <p:cNvPr id="21" name="图片 20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006" y="3537708"/>
              <a:ext cx="542387" cy="542387"/>
            </a:xfrm>
            <a:prstGeom prst="rect">
              <a:avLst/>
            </a:prstGeom>
          </p:spPr>
        </p:pic>
      </p:grpSp>
      <p:grpSp>
        <p:nvGrpSpPr>
          <p:cNvPr id="25" name="组合 24"/>
          <p:cNvGrpSpPr/>
          <p:nvPr/>
        </p:nvGrpSpPr>
        <p:grpSpPr>
          <a:xfrm>
            <a:off x="9517389" y="1865597"/>
            <a:ext cx="2658399" cy="720080"/>
            <a:chOff x="9517389" y="1597428"/>
            <a:chExt cx="2658399" cy="720080"/>
          </a:xfrm>
        </p:grpSpPr>
        <p:grpSp>
          <p:nvGrpSpPr>
            <p:cNvPr id="26" name="组合 25"/>
            <p:cNvGrpSpPr/>
            <p:nvPr/>
          </p:nvGrpSpPr>
          <p:grpSpPr>
            <a:xfrm>
              <a:off x="9517389" y="1597428"/>
              <a:ext cx="2658399" cy="720080"/>
              <a:chOff x="9845107" y="2547048"/>
              <a:chExt cx="2658399" cy="720080"/>
            </a:xfrm>
          </p:grpSpPr>
          <p:sp>
            <p:nvSpPr>
              <p:cNvPr id="28" name="矩形 27"/>
              <p:cNvSpPr/>
              <p:nvPr/>
            </p:nvSpPr>
            <p:spPr>
              <a:xfrm>
                <a:off x="11668594" y="2547048"/>
                <a:ext cx="834912" cy="720080"/>
              </a:xfrm>
              <a:prstGeom prst="rect">
                <a:avLst/>
              </a:prstGeom>
              <a:solidFill>
                <a:srgbClr val="92D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矩形 28"/>
              <p:cNvSpPr/>
              <p:nvPr/>
            </p:nvSpPr>
            <p:spPr>
              <a:xfrm>
                <a:off x="9845107" y="2547048"/>
                <a:ext cx="1800200" cy="720080"/>
              </a:xfrm>
              <a:prstGeom prst="rect">
                <a:avLst/>
              </a:prstGeom>
              <a:solidFill>
                <a:srgbClr val="50576A"/>
              </a:solidFill>
              <a:ln>
                <a:solidFill>
                  <a:srgbClr val="50576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文本框 29"/>
              <p:cNvSpPr txBox="1"/>
              <p:nvPr/>
            </p:nvSpPr>
            <p:spPr>
              <a:xfrm>
                <a:off x="9876611" y="2691644"/>
                <a:ext cx="1872208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100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单击此处添加标题单击此</a:t>
                </a:r>
                <a:endParaRPr lang="en-US" altLang="zh-CN" sz="11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100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处</a:t>
                </a:r>
                <a:r>
                  <a:rPr lang="zh-CN" altLang="en-US" sz="11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</a:t>
                </a:r>
                <a:r>
                  <a:rPr lang="zh-CN" altLang="en-US" sz="1100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标题单击</a:t>
                </a:r>
                <a:r>
                  <a:rPr lang="zh-CN" altLang="en-US" sz="11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此处</a:t>
                </a:r>
                <a:r>
                  <a:rPr lang="zh-CN" altLang="en-US" sz="1100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</a:t>
                </a:r>
                <a:endParaRPr lang="en-US" altLang="zh-CN" sz="11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pic>
          <p:nvPicPr>
            <p:cNvPr id="27" name="图片 2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35968" y="1717297"/>
              <a:ext cx="524953" cy="524953"/>
            </a:xfrm>
            <a:prstGeom prst="rect">
              <a:avLst/>
            </a:prstGeom>
          </p:spPr>
        </p:pic>
      </p:grpSp>
      <p:grpSp>
        <p:nvGrpSpPr>
          <p:cNvPr id="31" name="组合 30"/>
          <p:cNvGrpSpPr/>
          <p:nvPr/>
        </p:nvGrpSpPr>
        <p:grpSpPr>
          <a:xfrm>
            <a:off x="9515644" y="2784601"/>
            <a:ext cx="2658399" cy="720080"/>
            <a:chOff x="9515644" y="2516432"/>
            <a:chExt cx="2658399" cy="720080"/>
          </a:xfrm>
        </p:grpSpPr>
        <p:grpSp>
          <p:nvGrpSpPr>
            <p:cNvPr id="32" name="组合 31"/>
            <p:cNvGrpSpPr/>
            <p:nvPr/>
          </p:nvGrpSpPr>
          <p:grpSpPr>
            <a:xfrm>
              <a:off x="9515644" y="2516432"/>
              <a:ext cx="2658399" cy="720080"/>
              <a:chOff x="9845107" y="2547048"/>
              <a:chExt cx="2658399" cy="720080"/>
            </a:xfrm>
          </p:grpSpPr>
          <p:sp>
            <p:nvSpPr>
              <p:cNvPr id="34" name="矩形 33"/>
              <p:cNvSpPr/>
              <p:nvPr/>
            </p:nvSpPr>
            <p:spPr>
              <a:xfrm>
                <a:off x="11668594" y="2547048"/>
                <a:ext cx="834912" cy="720080"/>
              </a:xfrm>
              <a:prstGeom prst="rect">
                <a:avLst/>
              </a:prstGeom>
              <a:solidFill>
                <a:srgbClr val="92D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5" name="矩形 34"/>
              <p:cNvSpPr/>
              <p:nvPr/>
            </p:nvSpPr>
            <p:spPr>
              <a:xfrm>
                <a:off x="9845107" y="2547048"/>
                <a:ext cx="1800200" cy="720080"/>
              </a:xfrm>
              <a:prstGeom prst="rect">
                <a:avLst/>
              </a:prstGeom>
              <a:solidFill>
                <a:srgbClr val="50576A"/>
              </a:solidFill>
              <a:ln>
                <a:solidFill>
                  <a:srgbClr val="50576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6" name="文本框 35"/>
              <p:cNvSpPr txBox="1"/>
              <p:nvPr/>
            </p:nvSpPr>
            <p:spPr>
              <a:xfrm>
                <a:off x="9876611" y="2691644"/>
                <a:ext cx="1872208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100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单击此处添加标题单击此</a:t>
                </a:r>
                <a:endParaRPr lang="en-US" altLang="zh-CN" sz="11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r>
                  <a:rPr lang="zh-CN" altLang="en-US" sz="1100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处</a:t>
                </a:r>
                <a:r>
                  <a:rPr lang="zh-CN" altLang="en-US" sz="11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</a:t>
                </a:r>
                <a:r>
                  <a:rPr lang="zh-CN" altLang="en-US" sz="1100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标题单击</a:t>
                </a:r>
                <a:r>
                  <a:rPr lang="zh-CN" altLang="en-US" sz="1100" dirty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此处</a:t>
                </a:r>
                <a:r>
                  <a:rPr lang="zh-CN" altLang="en-US" sz="1100" dirty="0" smtClean="0">
                    <a:solidFill>
                      <a:prstClr val="white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</a:t>
                </a:r>
                <a:endParaRPr lang="en-US" altLang="zh-CN" sz="11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pic>
          <p:nvPicPr>
            <p:cNvPr id="33" name="图片 32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85530" y="2606479"/>
              <a:ext cx="562802" cy="555197"/>
            </a:xfrm>
            <a:prstGeom prst="rect">
              <a:avLst/>
            </a:prstGeom>
          </p:spPr>
        </p:pic>
      </p:grpSp>
      <p:grpSp>
        <p:nvGrpSpPr>
          <p:cNvPr id="37" name="组合 36"/>
          <p:cNvGrpSpPr/>
          <p:nvPr/>
        </p:nvGrpSpPr>
        <p:grpSpPr>
          <a:xfrm>
            <a:off x="9515644" y="3703604"/>
            <a:ext cx="2658399" cy="720080"/>
            <a:chOff x="9845107" y="2547048"/>
            <a:chExt cx="2658399" cy="720080"/>
          </a:xfrm>
        </p:grpSpPr>
        <p:sp>
          <p:nvSpPr>
            <p:cNvPr id="38" name="矩形 37"/>
            <p:cNvSpPr/>
            <p:nvPr/>
          </p:nvSpPr>
          <p:spPr>
            <a:xfrm>
              <a:off x="11668594" y="2547048"/>
              <a:ext cx="834912" cy="720080"/>
            </a:xfrm>
            <a:prstGeom prst="rect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39" name="矩形 38"/>
            <p:cNvSpPr/>
            <p:nvPr/>
          </p:nvSpPr>
          <p:spPr>
            <a:xfrm>
              <a:off x="9845107" y="2547048"/>
              <a:ext cx="1800200" cy="720080"/>
            </a:xfrm>
            <a:prstGeom prst="rect">
              <a:avLst/>
            </a:prstGeom>
            <a:solidFill>
              <a:srgbClr val="50576A"/>
            </a:solidFill>
            <a:ln>
              <a:solidFill>
                <a:srgbClr val="50576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40" name="文本框 39"/>
            <p:cNvSpPr txBox="1"/>
            <p:nvPr/>
          </p:nvSpPr>
          <p:spPr>
            <a:xfrm>
              <a:off x="9876611" y="2691644"/>
              <a:ext cx="1872208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1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单击此</a:t>
              </a:r>
              <a:endParaRPr lang="en-US" altLang="zh-CN" sz="1100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1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处</a:t>
              </a:r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</a:t>
              </a:r>
              <a:r>
                <a:rPr lang="zh-CN" altLang="en-US" sz="11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单击</a:t>
              </a:r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此处</a:t>
              </a:r>
              <a:r>
                <a:rPr lang="zh-CN" altLang="en-US" sz="11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</a:t>
              </a:r>
              <a:endParaRPr lang="en-US" altLang="zh-CN" sz="1100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41" name="图片 4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0253" y="3814769"/>
            <a:ext cx="500352" cy="500352"/>
          </a:xfrm>
          <a:prstGeom prst="rect">
            <a:avLst/>
          </a:prstGeom>
        </p:spPr>
      </p:pic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 5"/>
          <p:cNvSpPr/>
          <p:nvPr/>
        </p:nvSpPr>
        <p:spPr bwMode="auto">
          <a:xfrm>
            <a:off x="1343472" y="342159"/>
            <a:ext cx="3096344" cy="521261"/>
          </a:xfrm>
          <a:custGeom>
            <a:avLst/>
            <a:gdLst>
              <a:gd name="T0" fmla="*/ 4637 w 4826"/>
              <a:gd name="T1" fmla="*/ 197 h 395"/>
              <a:gd name="T2" fmla="*/ 4826 w 4826"/>
              <a:gd name="T3" fmla="*/ 395 h 395"/>
              <a:gd name="T4" fmla="*/ 0 w 4826"/>
              <a:gd name="T5" fmla="*/ 395 h 395"/>
              <a:gd name="T6" fmla="*/ 185 w 4826"/>
              <a:gd name="T7" fmla="*/ 183 h 395"/>
              <a:gd name="T8" fmla="*/ 0 w 4826"/>
              <a:gd name="T9" fmla="*/ 0 h 395"/>
              <a:gd name="T10" fmla="*/ 4826 w 4826"/>
              <a:gd name="T11" fmla="*/ 0 h 395"/>
              <a:gd name="T12" fmla="*/ 4637 w 4826"/>
              <a:gd name="T13" fmla="*/ 197 h 3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26" h="395">
                <a:moveTo>
                  <a:pt x="4637" y="197"/>
                </a:moveTo>
                <a:lnTo>
                  <a:pt x="4826" y="395"/>
                </a:lnTo>
                <a:lnTo>
                  <a:pt x="0" y="395"/>
                </a:lnTo>
                <a:lnTo>
                  <a:pt x="185" y="183"/>
                </a:lnTo>
                <a:lnTo>
                  <a:pt x="0" y="0"/>
                </a:lnTo>
                <a:lnTo>
                  <a:pt x="4826" y="0"/>
                </a:lnTo>
                <a:lnTo>
                  <a:pt x="4637" y="197"/>
                </a:lnTo>
                <a:close/>
              </a:path>
            </a:pathLst>
          </a:custGeom>
          <a:solidFill>
            <a:srgbClr val="BFCF3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4" name="椭圆 33"/>
          <p:cNvSpPr/>
          <p:nvPr/>
        </p:nvSpPr>
        <p:spPr>
          <a:xfrm>
            <a:off x="335360" y="188640"/>
            <a:ext cx="792088" cy="792088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5" name="Freeform 5"/>
          <p:cNvSpPr>
            <a:spLocks noEditPoints="1"/>
          </p:cNvSpPr>
          <p:nvPr/>
        </p:nvSpPr>
        <p:spPr bwMode="auto">
          <a:xfrm>
            <a:off x="512848" y="436543"/>
            <a:ext cx="437112" cy="332491"/>
          </a:xfrm>
          <a:custGeom>
            <a:avLst/>
            <a:gdLst>
              <a:gd name="T0" fmla="*/ 68 w 71"/>
              <a:gd name="T1" fmla="*/ 0 h 54"/>
              <a:gd name="T2" fmla="*/ 4 w 71"/>
              <a:gd name="T3" fmla="*/ 0 h 54"/>
              <a:gd name="T4" fmla="*/ 0 w 71"/>
              <a:gd name="T5" fmla="*/ 4 h 54"/>
              <a:gd name="T6" fmla="*/ 0 w 71"/>
              <a:gd name="T7" fmla="*/ 42 h 54"/>
              <a:gd name="T8" fmla="*/ 4 w 71"/>
              <a:gd name="T9" fmla="*/ 45 h 54"/>
              <a:gd name="T10" fmla="*/ 24 w 71"/>
              <a:gd name="T11" fmla="*/ 45 h 54"/>
              <a:gd name="T12" fmla="*/ 24 w 71"/>
              <a:gd name="T13" fmla="*/ 52 h 54"/>
              <a:gd name="T14" fmla="*/ 17 w 71"/>
              <a:gd name="T15" fmla="*/ 52 h 54"/>
              <a:gd name="T16" fmla="*/ 16 w 71"/>
              <a:gd name="T17" fmla="*/ 53 h 54"/>
              <a:gd name="T18" fmla="*/ 17 w 71"/>
              <a:gd name="T19" fmla="*/ 54 h 54"/>
              <a:gd name="T20" fmla="*/ 55 w 71"/>
              <a:gd name="T21" fmla="*/ 54 h 54"/>
              <a:gd name="T22" fmla="*/ 56 w 71"/>
              <a:gd name="T23" fmla="*/ 53 h 54"/>
              <a:gd name="T24" fmla="*/ 55 w 71"/>
              <a:gd name="T25" fmla="*/ 52 h 54"/>
              <a:gd name="T26" fmla="*/ 48 w 71"/>
              <a:gd name="T27" fmla="*/ 52 h 54"/>
              <a:gd name="T28" fmla="*/ 48 w 71"/>
              <a:gd name="T29" fmla="*/ 45 h 54"/>
              <a:gd name="T30" fmla="*/ 68 w 71"/>
              <a:gd name="T31" fmla="*/ 45 h 54"/>
              <a:gd name="T32" fmla="*/ 71 w 71"/>
              <a:gd name="T33" fmla="*/ 42 h 54"/>
              <a:gd name="T34" fmla="*/ 71 w 71"/>
              <a:gd name="T35" fmla="*/ 4 h 54"/>
              <a:gd name="T36" fmla="*/ 68 w 71"/>
              <a:gd name="T37" fmla="*/ 0 h 54"/>
              <a:gd name="T38" fmla="*/ 59 w 71"/>
              <a:gd name="T39" fmla="*/ 42 h 54"/>
              <a:gd name="T40" fmla="*/ 58 w 71"/>
              <a:gd name="T41" fmla="*/ 41 h 54"/>
              <a:gd name="T42" fmla="*/ 59 w 71"/>
              <a:gd name="T43" fmla="*/ 40 h 54"/>
              <a:gd name="T44" fmla="*/ 60 w 71"/>
              <a:gd name="T45" fmla="*/ 41 h 54"/>
              <a:gd name="T46" fmla="*/ 59 w 71"/>
              <a:gd name="T47" fmla="*/ 42 h 54"/>
              <a:gd name="T48" fmla="*/ 68 w 71"/>
              <a:gd name="T49" fmla="*/ 37 h 54"/>
              <a:gd name="T50" fmla="*/ 4 w 71"/>
              <a:gd name="T51" fmla="*/ 37 h 54"/>
              <a:gd name="T52" fmla="*/ 4 w 71"/>
              <a:gd name="T53" fmla="*/ 4 h 54"/>
              <a:gd name="T54" fmla="*/ 68 w 71"/>
              <a:gd name="T55" fmla="*/ 4 h 54"/>
              <a:gd name="T56" fmla="*/ 68 w 71"/>
              <a:gd name="T57" fmla="*/ 37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71" h="54">
                <a:moveTo>
                  <a:pt x="68" y="0"/>
                </a:move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44"/>
                  <a:pt x="2" y="45"/>
                  <a:pt x="4" y="45"/>
                </a:cubicBezTo>
                <a:cubicBezTo>
                  <a:pt x="24" y="45"/>
                  <a:pt x="24" y="45"/>
                  <a:pt x="24" y="45"/>
                </a:cubicBezTo>
                <a:cubicBezTo>
                  <a:pt x="24" y="52"/>
                  <a:pt x="24" y="52"/>
                  <a:pt x="24" y="52"/>
                </a:cubicBezTo>
                <a:cubicBezTo>
                  <a:pt x="17" y="52"/>
                  <a:pt x="17" y="52"/>
                  <a:pt x="17" y="52"/>
                </a:cubicBezTo>
                <a:cubicBezTo>
                  <a:pt x="16" y="52"/>
                  <a:pt x="16" y="53"/>
                  <a:pt x="16" y="53"/>
                </a:cubicBezTo>
                <a:cubicBezTo>
                  <a:pt x="16" y="54"/>
                  <a:pt x="16" y="54"/>
                  <a:pt x="17" y="54"/>
                </a:cubicBezTo>
                <a:cubicBezTo>
                  <a:pt x="55" y="54"/>
                  <a:pt x="55" y="54"/>
                  <a:pt x="55" y="54"/>
                </a:cubicBezTo>
                <a:cubicBezTo>
                  <a:pt x="56" y="54"/>
                  <a:pt x="56" y="54"/>
                  <a:pt x="56" y="53"/>
                </a:cubicBezTo>
                <a:cubicBezTo>
                  <a:pt x="56" y="53"/>
                  <a:pt x="56" y="52"/>
                  <a:pt x="55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48" y="45"/>
                  <a:pt x="48" y="45"/>
                  <a:pt x="48" y="45"/>
                </a:cubicBezTo>
                <a:cubicBezTo>
                  <a:pt x="68" y="45"/>
                  <a:pt x="68" y="45"/>
                  <a:pt x="68" y="45"/>
                </a:cubicBezTo>
                <a:cubicBezTo>
                  <a:pt x="70" y="45"/>
                  <a:pt x="71" y="44"/>
                  <a:pt x="71" y="42"/>
                </a:cubicBezTo>
                <a:cubicBezTo>
                  <a:pt x="71" y="4"/>
                  <a:pt x="71" y="4"/>
                  <a:pt x="71" y="4"/>
                </a:cubicBezTo>
                <a:cubicBezTo>
                  <a:pt x="71" y="2"/>
                  <a:pt x="70" y="0"/>
                  <a:pt x="68" y="0"/>
                </a:cubicBezTo>
                <a:close/>
                <a:moveTo>
                  <a:pt x="59" y="42"/>
                </a:moveTo>
                <a:cubicBezTo>
                  <a:pt x="58" y="42"/>
                  <a:pt x="58" y="41"/>
                  <a:pt x="58" y="41"/>
                </a:cubicBezTo>
                <a:cubicBezTo>
                  <a:pt x="58" y="41"/>
                  <a:pt x="58" y="40"/>
                  <a:pt x="59" y="40"/>
                </a:cubicBezTo>
                <a:cubicBezTo>
                  <a:pt x="59" y="40"/>
                  <a:pt x="60" y="41"/>
                  <a:pt x="60" y="41"/>
                </a:cubicBezTo>
                <a:cubicBezTo>
                  <a:pt x="60" y="41"/>
                  <a:pt x="59" y="42"/>
                  <a:pt x="59" y="42"/>
                </a:cubicBezTo>
                <a:close/>
                <a:moveTo>
                  <a:pt x="68" y="37"/>
                </a:moveTo>
                <a:cubicBezTo>
                  <a:pt x="4" y="37"/>
                  <a:pt x="4" y="37"/>
                  <a:pt x="4" y="37"/>
                </a:cubicBezTo>
                <a:cubicBezTo>
                  <a:pt x="4" y="4"/>
                  <a:pt x="4" y="4"/>
                  <a:pt x="4" y="4"/>
                </a:cubicBezTo>
                <a:cubicBezTo>
                  <a:pt x="68" y="4"/>
                  <a:pt x="68" y="4"/>
                  <a:pt x="68" y="4"/>
                </a:cubicBezTo>
                <a:lnTo>
                  <a:pt x="68" y="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 sz="1600">
              <a:solidFill>
                <a:prstClr val="black"/>
              </a:solidFill>
            </a:endParaRPr>
          </a:p>
        </p:txBody>
      </p:sp>
      <p:sp>
        <p:nvSpPr>
          <p:cNvPr id="36" name="文本框 35"/>
          <p:cNvSpPr txBox="1"/>
          <p:nvPr/>
        </p:nvSpPr>
        <p:spPr>
          <a:xfrm>
            <a:off x="2228792" y="408971"/>
            <a:ext cx="2376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真情大回馈</a:t>
            </a:r>
            <a:endParaRPr lang="zh-CN" altLang="en-US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7" name="组合 36"/>
          <p:cNvGrpSpPr/>
          <p:nvPr/>
        </p:nvGrpSpPr>
        <p:grpSpPr>
          <a:xfrm>
            <a:off x="0" y="1270562"/>
            <a:ext cx="12192000" cy="1340768"/>
            <a:chOff x="29029" y="5504252"/>
            <a:chExt cx="12192000" cy="1340768"/>
          </a:xfrm>
        </p:grpSpPr>
        <p:sp>
          <p:nvSpPr>
            <p:cNvPr id="38" name="矩形 51"/>
            <p:cNvSpPr>
              <a:spLocks noChangeArrowheads="1"/>
            </p:cNvSpPr>
            <p:nvPr/>
          </p:nvSpPr>
          <p:spPr bwMode="auto">
            <a:xfrm>
              <a:off x="29029" y="5504252"/>
              <a:ext cx="12192000" cy="1340768"/>
            </a:xfrm>
            <a:prstGeom prst="rect">
              <a:avLst/>
            </a:prstGeom>
            <a:solidFill>
              <a:srgbClr val="BFCF31"/>
            </a:solidFill>
            <a:ln>
              <a:noFill/>
            </a:ln>
          </p:spPr>
          <p:txBody>
            <a:bodyPr anchor="ctr"/>
            <a:lstStyle>
              <a:lvl1pPr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/>
              <a:endParaRPr lang="zh-CN" altLang="zh-CN">
                <a:solidFill>
                  <a:srgbClr val="FFFFFF"/>
                </a:solidFill>
                <a:latin typeface="宋体" panose="02010600030101010101" pitchFamily="2" charset="-122"/>
                <a:sym typeface="宋体" panose="02010600030101010101" pitchFamily="2" charset="-122"/>
              </a:endParaRPr>
            </a:p>
          </p:txBody>
        </p:sp>
        <p:sp>
          <p:nvSpPr>
            <p:cNvPr id="39" name="文本框 38"/>
            <p:cNvSpPr txBox="1"/>
            <p:nvPr/>
          </p:nvSpPr>
          <p:spPr>
            <a:xfrm>
              <a:off x="335360" y="5575067"/>
              <a:ext cx="11885669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色块与形状都是手工绘制的，更改配色，自由组合绝对没有问题。</a:t>
              </a:r>
              <a:endParaRPr lang="en-US" altLang="zh-CN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n-US" altLang="zh-CN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风格清新活泼亮丽，能够让你在展示中与众不同，脱颖而出。扁平化作品为当下时尚最潮流，无论是苹果</a:t>
              </a:r>
              <a:r>
                <a:rPr lang="en-US" altLang="zh-CN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OS7</a:t>
              </a:r>
              <a:r>
                <a:rPr lang="zh-CN" altLang="en-US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系统还是</a:t>
              </a:r>
              <a:r>
                <a:rPr lang="en-US" altLang="zh-CN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WIN8</a:t>
              </a:r>
              <a:r>
                <a:rPr lang="zh-CN" altLang="en-US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系统均采用此风格。</a:t>
              </a:r>
              <a:endParaRPr lang="en-US" altLang="zh-CN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作品中有许许多多精美手绘图标与商务人物</a:t>
              </a:r>
              <a:r>
                <a:rPr lang="zh-CN" altLang="en-US" sz="12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（任何部位都可以改色），</a:t>
              </a:r>
              <a:r>
                <a:rPr lang="zh-CN" altLang="en-US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以上做一些小展示，更多精彩，期待您下载后发掘。</a:t>
              </a:r>
              <a:endParaRPr lang="zh-CN" altLang="en-US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0" name="组合 39"/>
          <p:cNvGrpSpPr/>
          <p:nvPr/>
        </p:nvGrpSpPr>
        <p:grpSpPr>
          <a:xfrm>
            <a:off x="4182449" y="3356992"/>
            <a:ext cx="845213" cy="2489436"/>
            <a:chOff x="4845709" y="1250517"/>
            <a:chExt cx="1974850" cy="5816600"/>
          </a:xfrm>
        </p:grpSpPr>
        <p:sp>
          <p:nvSpPr>
            <p:cNvPr id="41" name="Freeform 184"/>
            <p:cNvSpPr/>
            <p:nvPr/>
          </p:nvSpPr>
          <p:spPr bwMode="auto">
            <a:xfrm>
              <a:off x="5304497" y="5605029"/>
              <a:ext cx="34925" cy="33338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0"/>
                    <a:pt x="1" y="0"/>
                  </a:cubicBezTo>
                  <a:cubicBezTo>
                    <a:pt x="0" y="0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2624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2" name="Freeform 185"/>
            <p:cNvSpPr/>
            <p:nvPr/>
          </p:nvSpPr>
          <p:spPr bwMode="auto">
            <a:xfrm>
              <a:off x="6255409" y="2407804"/>
              <a:ext cx="565150" cy="1733550"/>
            </a:xfrm>
            <a:custGeom>
              <a:avLst/>
              <a:gdLst>
                <a:gd name="T0" fmla="*/ 4 w 16"/>
                <a:gd name="T1" fmla="*/ 44 h 51"/>
                <a:gd name="T2" fmla="*/ 7 w 16"/>
                <a:gd name="T3" fmla="*/ 51 h 51"/>
                <a:gd name="T4" fmla="*/ 9 w 16"/>
                <a:gd name="T5" fmla="*/ 44 h 51"/>
                <a:gd name="T6" fmla="*/ 14 w 16"/>
                <a:gd name="T7" fmla="*/ 42 h 51"/>
                <a:gd name="T8" fmla="*/ 14 w 16"/>
                <a:gd name="T9" fmla="*/ 36 h 51"/>
                <a:gd name="T10" fmla="*/ 15 w 16"/>
                <a:gd name="T11" fmla="*/ 34 h 51"/>
                <a:gd name="T12" fmla="*/ 14 w 16"/>
                <a:gd name="T13" fmla="*/ 30 h 51"/>
                <a:gd name="T14" fmla="*/ 12 w 16"/>
                <a:gd name="T15" fmla="*/ 9 h 51"/>
                <a:gd name="T16" fmla="*/ 10 w 16"/>
                <a:gd name="T17" fmla="*/ 0 h 51"/>
                <a:gd name="T18" fmla="*/ 1 w 16"/>
                <a:gd name="T19" fmla="*/ 29 h 51"/>
                <a:gd name="T20" fmla="*/ 4 w 16"/>
                <a:gd name="T21" fmla="*/ 44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51">
                  <a:moveTo>
                    <a:pt x="4" y="44"/>
                  </a:moveTo>
                  <a:cubicBezTo>
                    <a:pt x="7" y="51"/>
                    <a:pt x="7" y="51"/>
                    <a:pt x="7" y="51"/>
                  </a:cubicBezTo>
                  <a:cubicBezTo>
                    <a:pt x="7" y="51"/>
                    <a:pt x="10" y="45"/>
                    <a:pt x="9" y="44"/>
                  </a:cubicBezTo>
                  <a:cubicBezTo>
                    <a:pt x="9" y="42"/>
                    <a:pt x="11" y="45"/>
                    <a:pt x="14" y="42"/>
                  </a:cubicBezTo>
                  <a:cubicBezTo>
                    <a:pt x="16" y="40"/>
                    <a:pt x="14" y="36"/>
                    <a:pt x="14" y="36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30"/>
                    <a:pt x="12" y="10"/>
                    <a:pt x="12" y="9"/>
                  </a:cubicBezTo>
                  <a:cubicBezTo>
                    <a:pt x="12" y="7"/>
                    <a:pt x="12" y="1"/>
                    <a:pt x="10" y="0"/>
                  </a:cubicBezTo>
                  <a:cubicBezTo>
                    <a:pt x="10" y="0"/>
                    <a:pt x="0" y="27"/>
                    <a:pt x="1" y="29"/>
                  </a:cubicBezTo>
                  <a:cubicBezTo>
                    <a:pt x="1" y="31"/>
                    <a:pt x="4" y="44"/>
                    <a:pt x="4" y="44"/>
                  </a:cubicBezTo>
                  <a:close/>
                </a:path>
              </a:pathLst>
            </a:custGeom>
            <a:solidFill>
              <a:srgbClr val="F5F7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3" name="Freeform 186"/>
            <p:cNvSpPr/>
            <p:nvPr/>
          </p:nvSpPr>
          <p:spPr bwMode="auto">
            <a:xfrm>
              <a:off x="4845709" y="2407804"/>
              <a:ext cx="493713" cy="1631950"/>
            </a:xfrm>
            <a:custGeom>
              <a:avLst/>
              <a:gdLst>
                <a:gd name="T0" fmla="*/ 8 w 14"/>
                <a:gd name="T1" fmla="*/ 0 h 48"/>
                <a:gd name="T2" fmla="*/ 6 w 14"/>
                <a:gd name="T3" fmla="*/ 9 h 48"/>
                <a:gd name="T4" fmla="*/ 2 w 14"/>
                <a:gd name="T5" fmla="*/ 23 h 48"/>
                <a:gd name="T6" fmla="*/ 2 w 14"/>
                <a:gd name="T7" fmla="*/ 32 h 48"/>
                <a:gd name="T8" fmla="*/ 5 w 14"/>
                <a:gd name="T9" fmla="*/ 38 h 48"/>
                <a:gd name="T10" fmla="*/ 5 w 14"/>
                <a:gd name="T11" fmla="*/ 42 h 48"/>
                <a:gd name="T12" fmla="*/ 8 w 14"/>
                <a:gd name="T13" fmla="*/ 48 h 48"/>
                <a:gd name="T14" fmla="*/ 14 w 14"/>
                <a:gd name="T15" fmla="*/ 40 h 48"/>
                <a:gd name="T16" fmla="*/ 14 w 14"/>
                <a:gd name="T17" fmla="*/ 32 h 48"/>
                <a:gd name="T18" fmla="*/ 11 w 14"/>
                <a:gd name="T19" fmla="*/ 5 h 48"/>
                <a:gd name="T20" fmla="*/ 8 w 14"/>
                <a:gd name="T2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48">
                  <a:moveTo>
                    <a:pt x="8" y="0"/>
                  </a:moveTo>
                  <a:cubicBezTo>
                    <a:pt x="8" y="0"/>
                    <a:pt x="7" y="6"/>
                    <a:pt x="6" y="9"/>
                  </a:cubicBezTo>
                  <a:cubicBezTo>
                    <a:pt x="6" y="11"/>
                    <a:pt x="3" y="22"/>
                    <a:pt x="2" y="23"/>
                  </a:cubicBezTo>
                  <a:cubicBezTo>
                    <a:pt x="1" y="24"/>
                    <a:pt x="0" y="30"/>
                    <a:pt x="2" y="32"/>
                  </a:cubicBezTo>
                  <a:cubicBezTo>
                    <a:pt x="4" y="33"/>
                    <a:pt x="5" y="36"/>
                    <a:pt x="5" y="38"/>
                  </a:cubicBezTo>
                  <a:cubicBezTo>
                    <a:pt x="4" y="39"/>
                    <a:pt x="2" y="40"/>
                    <a:pt x="5" y="42"/>
                  </a:cubicBezTo>
                  <a:cubicBezTo>
                    <a:pt x="7" y="44"/>
                    <a:pt x="5" y="48"/>
                    <a:pt x="8" y="48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9"/>
                    <a:pt x="11" y="5"/>
                  </a:cubicBezTo>
                  <a:cubicBezTo>
                    <a:pt x="8" y="0"/>
                    <a:pt x="8" y="0"/>
                    <a:pt x="8" y="0"/>
                  </a:cubicBezTo>
                  <a:close/>
                </a:path>
              </a:pathLst>
            </a:custGeom>
            <a:solidFill>
              <a:srgbClr val="F5F7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4" name="Freeform 187"/>
            <p:cNvSpPr/>
            <p:nvPr/>
          </p:nvSpPr>
          <p:spPr bwMode="auto">
            <a:xfrm>
              <a:off x="4917147" y="6694054"/>
              <a:ext cx="493713" cy="373063"/>
            </a:xfrm>
            <a:custGeom>
              <a:avLst/>
              <a:gdLst>
                <a:gd name="T0" fmla="*/ 5 w 14"/>
                <a:gd name="T1" fmla="*/ 0 h 11"/>
                <a:gd name="T2" fmla="*/ 1 w 14"/>
                <a:gd name="T3" fmla="*/ 9 h 11"/>
                <a:gd name="T4" fmla="*/ 12 w 14"/>
                <a:gd name="T5" fmla="*/ 7 h 11"/>
                <a:gd name="T6" fmla="*/ 13 w 14"/>
                <a:gd name="T7" fmla="*/ 5 h 11"/>
                <a:gd name="T8" fmla="*/ 14 w 14"/>
                <a:gd name="T9" fmla="*/ 1 h 11"/>
                <a:gd name="T10" fmla="*/ 5 w 14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1">
                  <a:moveTo>
                    <a:pt x="5" y="0"/>
                  </a:moveTo>
                  <a:cubicBezTo>
                    <a:pt x="5" y="0"/>
                    <a:pt x="0" y="6"/>
                    <a:pt x="1" y="9"/>
                  </a:cubicBezTo>
                  <a:cubicBezTo>
                    <a:pt x="1" y="9"/>
                    <a:pt x="12" y="11"/>
                    <a:pt x="12" y="7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4" y="6"/>
                    <a:pt x="14" y="1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5" name="Freeform 188"/>
            <p:cNvSpPr/>
            <p:nvPr/>
          </p:nvSpPr>
          <p:spPr bwMode="auto">
            <a:xfrm>
              <a:off x="6220484" y="6590867"/>
              <a:ext cx="528638" cy="476250"/>
            </a:xfrm>
            <a:custGeom>
              <a:avLst/>
              <a:gdLst>
                <a:gd name="T0" fmla="*/ 0 w 15"/>
                <a:gd name="T1" fmla="*/ 3 h 14"/>
                <a:gd name="T2" fmla="*/ 0 w 15"/>
                <a:gd name="T3" fmla="*/ 8 h 14"/>
                <a:gd name="T4" fmla="*/ 5 w 15"/>
                <a:gd name="T5" fmla="*/ 10 h 14"/>
                <a:gd name="T6" fmla="*/ 5 w 15"/>
                <a:gd name="T7" fmla="*/ 12 h 14"/>
                <a:gd name="T8" fmla="*/ 5 w 15"/>
                <a:gd name="T9" fmla="*/ 12 h 14"/>
                <a:gd name="T10" fmla="*/ 15 w 15"/>
                <a:gd name="T11" fmla="*/ 13 h 14"/>
                <a:gd name="T12" fmla="*/ 15 w 15"/>
                <a:gd name="T13" fmla="*/ 11 h 14"/>
                <a:gd name="T14" fmla="*/ 9 w 15"/>
                <a:gd name="T15" fmla="*/ 3 h 14"/>
                <a:gd name="T16" fmla="*/ 0 w 15"/>
                <a:gd name="T17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4">
                  <a:moveTo>
                    <a:pt x="0" y="3"/>
                  </a:moveTo>
                  <a:cubicBezTo>
                    <a:pt x="0" y="3"/>
                    <a:pt x="0" y="6"/>
                    <a:pt x="0" y="8"/>
                  </a:cubicBezTo>
                  <a:cubicBezTo>
                    <a:pt x="0" y="8"/>
                    <a:pt x="3" y="10"/>
                    <a:pt x="5" y="10"/>
                  </a:cubicBezTo>
                  <a:cubicBezTo>
                    <a:pt x="5" y="10"/>
                    <a:pt x="5" y="12"/>
                    <a:pt x="5" y="12"/>
                  </a:cubicBezTo>
                  <a:cubicBezTo>
                    <a:pt x="6" y="13"/>
                    <a:pt x="5" y="12"/>
                    <a:pt x="5" y="12"/>
                  </a:cubicBezTo>
                  <a:cubicBezTo>
                    <a:pt x="5" y="12"/>
                    <a:pt x="13" y="14"/>
                    <a:pt x="15" y="13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0" y="5"/>
                    <a:pt x="9" y="3"/>
                  </a:cubicBezTo>
                  <a:cubicBezTo>
                    <a:pt x="9" y="0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6" name="Freeform 189"/>
            <p:cNvSpPr/>
            <p:nvPr/>
          </p:nvSpPr>
          <p:spPr bwMode="auto">
            <a:xfrm>
              <a:off x="6255409" y="2509404"/>
              <a:ext cx="493713" cy="1223963"/>
            </a:xfrm>
            <a:custGeom>
              <a:avLst/>
              <a:gdLst>
                <a:gd name="T0" fmla="*/ 3 w 14"/>
                <a:gd name="T1" fmla="*/ 27 h 36"/>
                <a:gd name="T2" fmla="*/ 6 w 14"/>
                <a:gd name="T3" fmla="*/ 25 h 36"/>
                <a:gd name="T4" fmla="*/ 6 w 14"/>
                <a:gd name="T5" fmla="*/ 24 h 36"/>
                <a:gd name="T6" fmla="*/ 11 w 14"/>
                <a:gd name="T7" fmla="*/ 24 h 36"/>
                <a:gd name="T8" fmla="*/ 6 w 14"/>
                <a:gd name="T9" fmla="*/ 21 h 36"/>
                <a:gd name="T10" fmla="*/ 8 w 14"/>
                <a:gd name="T11" fmla="*/ 18 h 36"/>
                <a:gd name="T12" fmla="*/ 9 w 14"/>
                <a:gd name="T13" fmla="*/ 12 h 36"/>
                <a:gd name="T14" fmla="*/ 9 w 14"/>
                <a:gd name="T15" fmla="*/ 0 h 36"/>
                <a:gd name="T16" fmla="*/ 4 w 14"/>
                <a:gd name="T17" fmla="*/ 12 h 36"/>
                <a:gd name="T18" fmla="*/ 0 w 14"/>
                <a:gd name="T19" fmla="*/ 26 h 36"/>
                <a:gd name="T20" fmla="*/ 2 w 14"/>
                <a:gd name="T21" fmla="*/ 36 h 36"/>
                <a:gd name="T22" fmla="*/ 6 w 14"/>
                <a:gd name="T23" fmla="*/ 35 h 36"/>
                <a:gd name="T24" fmla="*/ 4 w 14"/>
                <a:gd name="T25" fmla="*/ 27 h 36"/>
                <a:gd name="T26" fmla="*/ 12 w 14"/>
                <a:gd name="T27" fmla="*/ 31 h 36"/>
                <a:gd name="T28" fmla="*/ 13 w 14"/>
                <a:gd name="T29" fmla="*/ 33 h 36"/>
                <a:gd name="T30" fmla="*/ 14 w 14"/>
                <a:gd name="T31" fmla="*/ 31 h 36"/>
                <a:gd name="T32" fmla="*/ 13 w 14"/>
                <a:gd name="T33" fmla="*/ 30 h 36"/>
                <a:gd name="T34" fmla="*/ 3 w 14"/>
                <a:gd name="T35" fmla="*/ 2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" h="36">
                  <a:moveTo>
                    <a:pt x="3" y="27"/>
                  </a:moveTo>
                  <a:cubicBezTo>
                    <a:pt x="3" y="27"/>
                    <a:pt x="4" y="25"/>
                    <a:pt x="6" y="25"/>
                  </a:cubicBezTo>
                  <a:cubicBezTo>
                    <a:pt x="6" y="25"/>
                    <a:pt x="4" y="24"/>
                    <a:pt x="6" y="24"/>
                  </a:cubicBezTo>
                  <a:cubicBezTo>
                    <a:pt x="7" y="23"/>
                    <a:pt x="8" y="22"/>
                    <a:pt x="11" y="24"/>
                  </a:cubicBezTo>
                  <a:cubicBezTo>
                    <a:pt x="11" y="24"/>
                    <a:pt x="10" y="21"/>
                    <a:pt x="6" y="21"/>
                  </a:cubicBezTo>
                  <a:cubicBezTo>
                    <a:pt x="6" y="21"/>
                    <a:pt x="6" y="19"/>
                    <a:pt x="8" y="18"/>
                  </a:cubicBezTo>
                  <a:cubicBezTo>
                    <a:pt x="10" y="17"/>
                    <a:pt x="7" y="13"/>
                    <a:pt x="9" y="12"/>
                  </a:cubicBezTo>
                  <a:cubicBezTo>
                    <a:pt x="11" y="10"/>
                    <a:pt x="9" y="0"/>
                    <a:pt x="9" y="0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2" y="19"/>
                    <a:pt x="0" y="25"/>
                    <a:pt x="0" y="26"/>
                  </a:cubicBezTo>
                  <a:cubicBezTo>
                    <a:pt x="0" y="27"/>
                    <a:pt x="1" y="32"/>
                    <a:pt x="2" y="36"/>
                  </a:cubicBezTo>
                  <a:cubicBezTo>
                    <a:pt x="3" y="35"/>
                    <a:pt x="5" y="34"/>
                    <a:pt x="6" y="35"/>
                  </a:cubicBezTo>
                  <a:cubicBezTo>
                    <a:pt x="6" y="35"/>
                    <a:pt x="3" y="27"/>
                    <a:pt x="4" y="27"/>
                  </a:cubicBezTo>
                  <a:cubicBezTo>
                    <a:pt x="4" y="27"/>
                    <a:pt x="11" y="29"/>
                    <a:pt x="12" y="31"/>
                  </a:cubicBezTo>
                  <a:cubicBezTo>
                    <a:pt x="12" y="31"/>
                    <a:pt x="12" y="32"/>
                    <a:pt x="13" y="33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1" y="29"/>
                    <a:pt x="7" y="27"/>
                    <a:pt x="3" y="27"/>
                  </a:cubicBez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7" name="Freeform 190"/>
            <p:cNvSpPr/>
            <p:nvPr/>
          </p:nvSpPr>
          <p:spPr bwMode="auto">
            <a:xfrm>
              <a:off x="6326847" y="3768292"/>
              <a:ext cx="211138" cy="134938"/>
            </a:xfrm>
            <a:custGeom>
              <a:avLst/>
              <a:gdLst>
                <a:gd name="T0" fmla="*/ 0 w 6"/>
                <a:gd name="T1" fmla="*/ 0 h 4"/>
                <a:gd name="T2" fmla="*/ 0 w 6"/>
                <a:gd name="T3" fmla="*/ 1 h 4"/>
                <a:gd name="T4" fmla="*/ 6 w 6"/>
                <a:gd name="T5" fmla="*/ 4 h 4"/>
                <a:gd name="T6" fmla="*/ 0 w 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2" y="1"/>
                    <a:pt x="4" y="1"/>
                    <a:pt x="6" y="4"/>
                  </a:cubicBezTo>
                  <a:cubicBezTo>
                    <a:pt x="6" y="4"/>
                    <a:pt x="4" y="0"/>
                    <a:pt x="0" y="0"/>
                  </a:cubicBez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8" name="Freeform 191"/>
            <p:cNvSpPr/>
            <p:nvPr/>
          </p:nvSpPr>
          <p:spPr bwMode="auto">
            <a:xfrm>
              <a:off x="4882222" y="2509404"/>
              <a:ext cx="457200" cy="1020763"/>
            </a:xfrm>
            <a:custGeom>
              <a:avLst/>
              <a:gdLst>
                <a:gd name="T0" fmla="*/ 9 w 13"/>
                <a:gd name="T1" fmla="*/ 0 h 30"/>
                <a:gd name="T2" fmla="*/ 10 w 13"/>
                <a:gd name="T3" fmla="*/ 13 h 30"/>
                <a:gd name="T4" fmla="*/ 11 w 13"/>
                <a:gd name="T5" fmla="*/ 18 h 30"/>
                <a:gd name="T6" fmla="*/ 7 w 13"/>
                <a:gd name="T7" fmla="*/ 13 h 30"/>
                <a:gd name="T8" fmla="*/ 9 w 13"/>
                <a:gd name="T9" fmla="*/ 19 h 30"/>
                <a:gd name="T10" fmla="*/ 6 w 13"/>
                <a:gd name="T11" fmla="*/ 16 h 30"/>
                <a:gd name="T12" fmla="*/ 9 w 13"/>
                <a:gd name="T13" fmla="*/ 21 h 30"/>
                <a:gd name="T14" fmla="*/ 1 w 13"/>
                <a:gd name="T15" fmla="*/ 22 h 30"/>
                <a:gd name="T16" fmla="*/ 0 w 13"/>
                <a:gd name="T17" fmla="*/ 23 h 30"/>
                <a:gd name="T18" fmla="*/ 9 w 13"/>
                <a:gd name="T19" fmla="*/ 24 h 30"/>
                <a:gd name="T20" fmla="*/ 2 w 13"/>
                <a:gd name="T21" fmla="*/ 27 h 30"/>
                <a:gd name="T22" fmla="*/ 11 w 13"/>
                <a:gd name="T23" fmla="*/ 26 h 30"/>
                <a:gd name="T24" fmla="*/ 13 w 13"/>
                <a:gd name="T25" fmla="*/ 30 h 30"/>
                <a:gd name="T26" fmla="*/ 13 w 13"/>
                <a:gd name="T27" fmla="*/ 29 h 30"/>
                <a:gd name="T28" fmla="*/ 10 w 13"/>
                <a:gd name="T29" fmla="*/ 2 h 30"/>
                <a:gd name="T30" fmla="*/ 9 w 13"/>
                <a:gd name="T3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30">
                  <a:moveTo>
                    <a:pt x="9" y="0"/>
                  </a:moveTo>
                  <a:cubicBezTo>
                    <a:pt x="9" y="3"/>
                    <a:pt x="9" y="11"/>
                    <a:pt x="10" y="13"/>
                  </a:cubicBezTo>
                  <a:cubicBezTo>
                    <a:pt x="12" y="16"/>
                    <a:pt x="11" y="18"/>
                    <a:pt x="11" y="1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8" y="18"/>
                    <a:pt x="6" y="16"/>
                  </a:cubicBezTo>
                  <a:cubicBezTo>
                    <a:pt x="6" y="16"/>
                    <a:pt x="7" y="20"/>
                    <a:pt x="9" y="21"/>
                  </a:cubicBezTo>
                  <a:cubicBezTo>
                    <a:pt x="9" y="21"/>
                    <a:pt x="1" y="20"/>
                    <a:pt x="1" y="22"/>
                  </a:cubicBezTo>
                  <a:cubicBezTo>
                    <a:pt x="1" y="22"/>
                    <a:pt x="1" y="23"/>
                    <a:pt x="0" y="23"/>
                  </a:cubicBezTo>
                  <a:cubicBezTo>
                    <a:pt x="0" y="23"/>
                    <a:pt x="5" y="21"/>
                    <a:pt x="9" y="24"/>
                  </a:cubicBezTo>
                  <a:cubicBezTo>
                    <a:pt x="9" y="24"/>
                    <a:pt x="3" y="24"/>
                    <a:pt x="2" y="27"/>
                  </a:cubicBezTo>
                  <a:cubicBezTo>
                    <a:pt x="2" y="27"/>
                    <a:pt x="7" y="24"/>
                    <a:pt x="11" y="26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3" y="29"/>
                    <a:pt x="13" y="6"/>
                    <a:pt x="10" y="2"/>
                  </a:cubicBezTo>
                  <a:cubicBezTo>
                    <a:pt x="10" y="1"/>
                    <a:pt x="9" y="0"/>
                    <a:pt x="9" y="0"/>
                  </a:cubicBez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9" name="Freeform 192"/>
            <p:cNvSpPr/>
            <p:nvPr/>
          </p:nvSpPr>
          <p:spPr bwMode="auto">
            <a:xfrm>
              <a:off x="5021922" y="3530167"/>
              <a:ext cx="317500" cy="238125"/>
            </a:xfrm>
            <a:custGeom>
              <a:avLst/>
              <a:gdLst>
                <a:gd name="T0" fmla="*/ 0 w 9"/>
                <a:gd name="T1" fmla="*/ 7 h 7"/>
                <a:gd name="T2" fmla="*/ 9 w 9"/>
                <a:gd name="T3" fmla="*/ 2 h 7"/>
                <a:gd name="T4" fmla="*/ 9 w 9"/>
                <a:gd name="T5" fmla="*/ 0 h 7"/>
                <a:gd name="T6" fmla="*/ 0 w 9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0" y="7"/>
                  </a:moveTo>
                  <a:cubicBezTo>
                    <a:pt x="0" y="7"/>
                    <a:pt x="5" y="3"/>
                    <a:pt x="9" y="2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1" y="4"/>
                    <a:pt x="0" y="7"/>
                  </a:cubicBez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0" name="Freeform 193"/>
            <p:cNvSpPr/>
            <p:nvPr/>
          </p:nvSpPr>
          <p:spPr bwMode="auto">
            <a:xfrm>
              <a:off x="4986997" y="3563504"/>
              <a:ext cx="1657350" cy="3300413"/>
            </a:xfrm>
            <a:custGeom>
              <a:avLst/>
              <a:gdLst>
                <a:gd name="T0" fmla="*/ 2 w 47"/>
                <a:gd name="T1" fmla="*/ 93 h 97"/>
                <a:gd name="T2" fmla="*/ 13 w 47"/>
                <a:gd name="T3" fmla="*/ 92 h 97"/>
                <a:gd name="T4" fmla="*/ 12 w 47"/>
                <a:gd name="T5" fmla="*/ 81 h 97"/>
                <a:gd name="T6" fmla="*/ 17 w 47"/>
                <a:gd name="T7" fmla="*/ 50 h 97"/>
                <a:gd name="T8" fmla="*/ 23 w 47"/>
                <a:gd name="T9" fmla="*/ 28 h 97"/>
                <a:gd name="T10" fmla="*/ 24 w 47"/>
                <a:gd name="T11" fmla="*/ 31 h 97"/>
                <a:gd name="T12" fmla="*/ 35 w 47"/>
                <a:gd name="T13" fmla="*/ 92 h 97"/>
                <a:gd name="T14" fmla="*/ 45 w 47"/>
                <a:gd name="T15" fmla="*/ 93 h 97"/>
                <a:gd name="T16" fmla="*/ 45 w 47"/>
                <a:gd name="T17" fmla="*/ 84 h 97"/>
                <a:gd name="T18" fmla="*/ 44 w 47"/>
                <a:gd name="T19" fmla="*/ 68 h 97"/>
                <a:gd name="T20" fmla="*/ 44 w 47"/>
                <a:gd name="T21" fmla="*/ 45 h 97"/>
                <a:gd name="T22" fmla="*/ 43 w 47"/>
                <a:gd name="T23" fmla="*/ 19 h 97"/>
                <a:gd name="T24" fmla="*/ 43 w 47"/>
                <a:gd name="T25" fmla="*/ 16 h 97"/>
                <a:gd name="T26" fmla="*/ 40 w 47"/>
                <a:gd name="T27" fmla="*/ 10 h 97"/>
                <a:gd name="T28" fmla="*/ 39 w 47"/>
                <a:gd name="T29" fmla="*/ 2 h 97"/>
                <a:gd name="T30" fmla="*/ 23 w 47"/>
                <a:gd name="T31" fmla="*/ 4 h 97"/>
                <a:gd name="T32" fmla="*/ 11 w 47"/>
                <a:gd name="T33" fmla="*/ 0 h 97"/>
                <a:gd name="T34" fmla="*/ 10 w 47"/>
                <a:gd name="T35" fmla="*/ 4 h 97"/>
                <a:gd name="T36" fmla="*/ 2 w 47"/>
                <a:gd name="T37" fmla="*/ 14 h 97"/>
                <a:gd name="T38" fmla="*/ 4 w 47"/>
                <a:gd name="T39" fmla="*/ 18 h 97"/>
                <a:gd name="T40" fmla="*/ 4 w 47"/>
                <a:gd name="T41" fmla="*/ 42 h 97"/>
                <a:gd name="T42" fmla="*/ 2 w 47"/>
                <a:gd name="T43" fmla="*/ 72 h 97"/>
                <a:gd name="T44" fmla="*/ 1 w 47"/>
                <a:gd name="T45" fmla="*/ 86 h 97"/>
                <a:gd name="T46" fmla="*/ 2 w 47"/>
                <a:gd name="T47" fmla="*/ 93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97">
                  <a:moveTo>
                    <a:pt x="2" y="93"/>
                  </a:moveTo>
                  <a:cubicBezTo>
                    <a:pt x="2" y="93"/>
                    <a:pt x="12" y="95"/>
                    <a:pt x="13" y="92"/>
                  </a:cubicBezTo>
                  <a:cubicBezTo>
                    <a:pt x="14" y="89"/>
                    <a:pt x="12" y="81"/>
                    <a:pt x="12" y="81"/>
                  </a:cubicBezTo>
                  <a:cubicBezTo>
                    <a:pt x="12" y="81"/>
                    <a:pt x="17" y="50"/>
                    <a:pt x="17" y="50"/>
                  </a:cubicBezTo>
                  <a:cubicBezTo>
                    <a:pt x="18" y="49"/>
                    <a:pt x="21" y="37"/>
                    <a:pt x="23" y="28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4" y="31"/>
                    <a:pt x="30" y="85"/>
                    <a:pt x="35" y="92"/>
                  </a:cubicBezTo>
                  <a:cubicBezTo>
                    <a:pt x="35" y="92"/>
                    <a:pt x="42" y="97"/>
                    <a:pt x="45" y="93"/>
                  </a:cubicBezTo>
                  <a:cubicBezTo>
                    <a:pt x="45" y="93"/>
                    <a:pt x="47" y="91"/>
                    <a:pt x="45" y="84"/>
                  </a:cubicBezTo>
                  <a:cubicBezTo>
                    <a:pt x="45" y="84"/>
                    <a:pt x="46" y="73"/>
                    <a:pt x="44" y="68"/>
                  </a:cubicBezTo>
                  <a:cubicBezTo>
                    <a:pt x="44" y="68"/>
                    <a:pt x="44" y="49"/>
                    <a:pt x="44" y="45"/>
                  </a:cubicBezTo>
                  <a:cubicBezTo>
                    <a:pt x="44" y="41"/>
                    <a:pt x="42" y="22"/>
                    <a:pt x="43" y="19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9" y="2"/>
                    <a:pt x="28" y="5"/>
                    <a:pt x="23" y="4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3" y="11"/>
                    <a:pt x="2" y="14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8"/>
                    <a:pt x="3" y="37"/>
                    <a:pt x="4" y="42"/>
                  </a:cubicBezTo>
                  <a:cubicBezTo>
                    <a:pt x="4" y="42"/>
                    <a:pt x="2" y="67"/>
                    <a:pt x="2" y="72"/>
                  </a:cubicBezTo>
                  <a:cubicBezTo>
                    <a:pt x="2" y="72"/>
                    <a:pt x="0" y="84"/>
                    <a:pt x="1" y="86"/>
                  </a:cubicBezTo>
                  <a:cubicBezTo>
                    <a:pt x="1" y="88"/>
                    <a:pt x="2" y="93"/>
                    <a:pt x="2" y="93"/>
                  </a:cubicBezTo>
                  <a:close/>
                </a:path>
              </a:pathLst>
            </a:custGeom>
            <a:solidFill>
              <a:srgbClr val="2624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1" name="Rectangle 194"/>
            <p:cNvSpPr>
              <a:spLocks noChangeArrowheads="1"/>
            </p:cNvSpPr>
            <p:nvPr/>
          </p:nvSpPr>
          <p:spPr bwMode="auto">
            <a:xfrm>
              <a:off x="6044272" y="4039754"/>
              <a:ext cx="1588" cy="3492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2" name="Freeform 195"/>
            <p:cNvSpPr/>
            <p:nvPr/>
          </p:nvSpPr>
          <p:spPr bwMode="auto">
            <a:xfrm>
              <a:off x="6291922" y="4176279"/>
              <a:ext cx="0" cy="33338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3" name="Freeform 196"/>
            <p:cNvSpPr/>
            <p:nvPr/>
          </p:nvSpPr>
          <p:spPr bwMode="auto">
            <a:xfrm>
              <a:off x="6291922" y="444774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4" name="Freeform 197"/>
            <p:cNvSpPr/>
            <p:nvPr/>
          </p:nvSpPr>
          <p:spPr bwMode="auto">
            <a:xfrm>
              <a:off x="5058434" y="3836554"/>
              <a:ext cx="1444625" cy="2925763"/>
            </a:xfrm>
            <a:custGeom>
              <a:avLst/>
              <a:gdLst>
                <a:gd name="T0" fmla="*/ 40 w 41"/>
                <a:gd name="T1" fmla="*/ 86 h 86"/>
                <a:gd name="T2" fmla="*/ 38 w 41"/>
                <a:gd name="T3" fmla="*/ 76 h 86"/>
                <a:gd name="T4" fmla="*/ 37 w 41"/>
                <a:gd name="T5" fmla="*/ 68 h 86"/>
                <a:gd name="T6" fmla="*/ 41 w 41"/>
                <a:gd name="T7" fmla="*/ 56 h 86"/>
                <a:gd name="T8" fmla="*/ 35 w 41"/>
                <a:gd name="T9" fmla="*/ 60 h 86"/>
                <a:gd name="T10" fmla="*/ 35 w 41"/>
                <a:gd name="T11" fmla="*/ 52 h 86"/>
                <a:gd name="T12" fmla="*/ 33 w 41"/>
                <a:gd name="T13" fmla="*/ 34 h 86"/>
                <a:gd name="T14" fmla="*/ 33 w 41"/>
                <a:gd name="T15" fmla="*/ 46 h 86"/>
                <a:gd name="T16" fmla="*/ 29 w 41"/>
                <a:gd name="T17" fmla="*/ 26 h 86"/>
                <a:gd name="T18" fmla="*/ 35 w 41"/>
                <a:gd name="T19" fmla="*/ 18 h 86"/>
                <a:gd name="T20" fmla="*/ 25 w 41"/>
                <a:gd name="T21" fmla="*/ 18 h 86"/>
                <a:gd name="T22" fmla="*/ 35 w 41"/>
                <a:gd name="T23" fmla="*/ 11 h 86"/>
                <a:gd name="T24" fmla="*/ 24 w 41"/>
                <a:gd name="T25" fmla="*/ 14 h 86"/>
                <a:gd name="T26" fmla="*/ 28 w 41"/>
                <a:gd name="T27" fmla="*/ 7 h 86"/>
                <a:gd name="T28" fmla="*/ 19 w 41"/>
                <a:gd name="T29" fmla="*/ 9 h 86"/>
                <a:gd name="T30" fmla="*/ 11 w 41"/>
                <a:gd name="T31" fmla="*/ 0 h 86"/>
                <a:gd name="T32" fmla="*/ 14 w 41"/>
                <a:gd name="T33" fmla="*/ 11 h 86"/>
                <a:gd name="T34" fmla="*/ 8 w 41"/>
                <a:gd name="T35" fmla="*/ 8 h 86"/>
                <a:gd name="T36" fmla="*/ 3 w 41"/>
                <a:gd name="T37" fmla="*/ 1 h 86"/>
                <a:gd name="T38" fmla="*/ 0 w 41"/>
                <a:gd name="T39" fmla="*/ 6 h 86"/>
                <a:gd name="T40" fmla="*/ 1 w 41"/>
                <a:gd name="T41" fmla="*/ 8 h 86"/>
                <a:gd name="T42" fmla="*/ 17 w 41"/>
                <a:gd name="T43" fmla="*/ 18 h 86"/>
                <a:gd name="T44" fmla="*/ 6 w 41"/>
                <a:gd name="T45" fmla="*/ 16 h 86"/>
                <a:gd name="T46" fmla="*/ 14 w 41"/>
                <a:gd name="T47" fmla="*/ 21 h 86"/>
                <a:gd name="T48" fmla="*/ 10 w 41"/>
                <a:gd name="T49" fmla="*/ 36 h 86"/>
                <a:gd name="T50" fmla="*/ 10 w 41"/>
                <a:gd name="T51" fmla="*/ 51 h 86"/>
                <a:gd name="T52" fmla="*/ 6 w 41"/>
                <a:gd name="T53" fmla="*/ 41 h 86"/>
                <a:gd name="T54" fmla="*/ 5 w 41"/>
                <a:gd name="T55" fmla="*/ 60 h 86"/>
                <a:gd name="T56" fmla="*/ 8 w 41"/>
                <a:gd name="T57" fmla="*/ 75 h 86"/>
                <a:gd name="T58" fmla="*/ 2 w 41"/>
                <a:gd name="T59" fmla="*/ 65 h 86"/>
                <a:gd name="T60" fmla="*/ 5 w 41"/>
                <a:gd name="T61" fmla="*/ 79 h 86"/>
                <a:gd name="T62" fmla="*/ 5 w 41"/>
                <a:gd name="T63" fmla="*/ 85 h 86"/>
                <a:gd name="T64" fmla="*/ 11 w 41"/>
                <a:gd name="T65" fmla="*/ 84 h 86"/>
                <a:gd name="T66" fmla="*/ 10 w 41"/>
                <a:gd name="T67" fmla="*/ 73 h 86"/>
                <a:gd name="T68" fmla="*/ 15 w 41"/>
                <a:gd name="T69" fmla="*/ 42 h 86"/>
                <a:gd name="T70" fmla="*/ 21 w 41"/>
                <a:gd name="T71" fmla="*/ 20 h 86"/>
                <a:gd name="T72" fmla="*/ 22 w 41"/>
                <a:gd name="T73" fmla="*/ 23 h 86"/>
                <a:gd name="T74" fmla="*/ 33 w 41"/>
                <a:gd name="T75" fmla="*/ 84 h 86"/>
                <a:gd name="T76" fmla="*/ 40 w 41"/>
                <a:gd name="T7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" h="86">
                  <a:moveTo>
                    <a:pt x="40" y="86"/>
                  </a:moveTo>
                  <a:cubicBezTo>
                    <a:pt x="40" y="82"/>
                    <a:pt x="39" y="78"/>
                    <a:pt x="38" y="76"/>
                  </a:cubicBezTo>
                  <a:cubicBezTo>
                    <a:pt x="37" y="73"/>
                    <a:pt x="37" y="68"/>
                    <a:pt x="37" y="68"/>
                  </a:cubicBezTo>
                  <a:cubicBezTo>
                    <a:pt x="40" y="67"/>
                    <a:pt x="41" y="56"/>
                    <a:pt x="41" y="56"/>
                  </a:cubicBezTo>
                  <a:cubicBezTo>
                    <a:pt x="41" y="56"/>
                    <a:pt x="37" y="60"/>
                    <a:pt x="35" y="60"/>
                  </a:cubicBezTo>
                  <a:cubicBezTo>
                    <a:pt x="34" y="59"/>
                    <a:pt x="34" y="57"/>
                    <a:pt x="35" y="52"/>
                  </a:cubicBezTo>
                  <a:cubicBezTo>
                    <a:pt x="36" y="47"/>
                    <a:pt x="33" y="34"/>
                    <a:pt x="33" y="34"/>
                  </a:cubicBezTo>
                  <a:cubicBezTo>
                    <a:pt x="34" y="38"/>
                    <a:pt x="33" y="46"/>
                    <a:pt x="33" y="46"/>
                  </a:cubicBezTo>
                  <a:cubicBezTo>
                    <a:pt x="33" y="46"/>
                    <a:pt x="29" y="31"/>
                    <a:pt x="29" y="26"/>
                  </a:cubicBezTo>
                  <a:cubicBezTo>
                    <a:pt x="28" y="23"/>
                    <a:pt x="34" y="19"/>
                    <a:pt x="35" y="18"/>
                  </a:cubicBezTo>
                  <a:cubicBezTo>
                    <a:pt x="30" y="21"/>
                    <a:pt x="25" y="18"/>
                    <a:pt x="25" y="18"/>
                  </a:cubicBezTo>
                  <a:cubicBezTo>
                    <a:pt x="27" y="17"/>
                    <a:pt x="33" y="12"/>
                    <a:pt x="35" y="11"/>
                  </a:cubicBezTo>
                  <a:cubicBezTo>
                    <a:pt x="32" y="13"/>
                    <a:pt x="24" y="14"/>
                    <a:pt x="24" y="14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6" y="11"/>
                    <a:pt x="22" y="13"/>
                    <a:pt x="19" y="9"/>
                  </a:cubicBezTo>
                  <a:cubicBezTo>
                    <a:pt x="16" y="4"/>
                    <a:pt x="11" y="0"/>
                    <a:pt x="11" y="0"/>
                  </a:cubicBezTo>
                  <a:cubicBezTo>
                    <a:pt x="13" y="3"/>
                    <a:pt x="14" y="11"/>
                    <a:pt x="14" y="11"/>
                  </a:cubicBezTo>
                  <a:cubicBezTo>
                    <a:pt x="14" y="11"/>
                    <a:pt x="14" y="10"/>
                    <a:pt x="8" y="8"/>
                  </a:cubicBezTo>
                  <a:cubicBezTo>
                    <a:pt x="4" y="7"/>
                    <a:pt x="3" y="4"/>
                    <a:pt x="3" y="1"/>
                  </a:cubicBezTo>
                  <a:cubicBezTo>
                    <a:pt x="2" y="3"/>
                    <a:pt x="1" y="5"/>
                    <a:pt x="0" y="6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6" y="16"/>
                    <a:pt x="19" y="15"/>
                    <a:pt x="17" y="18"/>
                  </a:cubicBezTo>
                  <a:cubicBezTo>
                    <a:pt x="14" y="20"/>
                    <a:pt x="6" y="16"/>
                    <a:pt x="6" y="16"/>
                  </a:cubicBezTo>
                  <a:cubicBezTo>
                    <a:pt x="8" y="19"/>
                    <a:pt x="14" y="21"/>
                    <a:pt x="14" y="21"/>
                  </a:cubicBezTo>
                  <a:cubicBezTo>
                    <a:pt x="14" y="21"/>
                    <a:pt x="14" y="27"/>
                    <a:pt x="10" y="36"/>
                  </a:cubicBezTo>
                  <a:cubicBezTo>
                    <a:pt x="6" y="44"/>
                    <a:pt x="10" y="51"/>
                    <a:pt x="10" y="51"/>
                  </a:cubicBezTo>
                  <a:cubicBezTo>
                    <a:pt x="6" y="51"/>
                    <a:pt x="6" y="41"/>
                    <a:pt x="6" y="41"/>
                  </a:cubicBezTo>
                  <a:cubicBezTo>
                    <a:pt x="6" y="41"/>
                    <a:pt x="6" y="55"/>
                    <a:pt x="5" y="60"/>
                  </a:cubicBezTo>
                  <a:cubicBezTo>
                    <a:pt x="4" y="65"/>
                    <a:pt x="8" y="75"/>
                    <a:pt x="8" y="75"/>
                  </a:cubicBezTo>
                  <a:cubicBezTo>
                    <a:pt x="4" y="75"/>
                    <a:pt x="2" y="65"/>
                    <a:pt x="2" y="65"/>
                  </a:cubicBezTo>
                  <a:cubicBezTo>
                    <a:pt x="2" y="66"/>
                    <a:pt x="3" y="75"/>
                    <a:pt x="5" y="79"/>
                  </a:cubicBezTo>
                  <a:cubicBezTo>
                    <a:pt x="6" y="81"/>
                    <a:pt x="5" y="83"/>
                    <a:pt x="5" y="85"/>
                  </a:cubicBezTo>
                  <a:cubicBezTo>
                    <a:pt x="7" y="85"/>
                    <a:pt x="10" y="85"/>
                    <a:pt x="11" y="84"/>
                  </a:cubicBezTo>
                  <a:cubicBezTo>
                    <a:pt x="12" y="81"/>
                    <a:pt x="10" y="73"/>
                    <a:pt x="10" y="73"/>
                  </a:cubicBezTo>
                  <a:cubicBezTo>
                    <a:pt x="10" y="73"/>
                    <a:pt x="15" y="42"/>
                    <a:pt x="15" y="42"/>
                  </a:cubicBezTo>
                  <a:cubicBezTo>
                    <a:pt x="16" y="41"/>
                    <a:pt x="19" y="29"/>
                    <a:pt x="21" y="20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3"/>
                    <a:pt x="28" y="77"/>
                    <a:pt x="33" y="84"/>
                  </a:cubicBezTo>
                  <a:cubicBezTo>
                    <a:pt x="33" y="84"/>
                    <a:pt x="37" y="86"/>
                    <a:pt x="40" y="8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5" name="Freeform 198"/>
            <p:cNvSpPr/>
            <p:nvPr/>
          </p:nvSpPr>
          <p:spPr bwMode="auto">
            <a:xfrm>
              <a:off x="5128284" y="2134754"/>
              <a:ext cx="1479550" cy="1735138"/>
            </a:xfrm>
            <a:custGeom>
              <a:avLst/>
              <a:gdLst>
                <a:gd name="T0" fmla="*/ 3 w 42"/>
                <a:gd name="T1" fmla="*/ 37 h 51"/>
                <a:gd name="T2" fmla="*/ 6 w 42"/>
                <a:gd name="T3" fmla="*/ 42 h 51"/>
                <a:gd name="T4" fmla="*/ 11 w 42"/>
                <a:gd name="T5" fmla="*/ 46 h 51"/>
                <a:gd name="T6" fmla="*/ 35 w 42"/>
                <a:gd name="T7" fmla="*/ 44 h 51"/>
                <a:gd name="T8" fmla="*/ 37 w 42"/>
                <a:gd name="T9" fmla="*/ 41 h 51"/>
                <a:gd name="T10" fmla="*/ 37 w 42"/>
                <a:gd name="T11" fmla="*/ 33 h 51"/>
                <a:gd name="T12" fmla="*/ 40 w 42"/>
                <a:gd name="T13" fmla="*/ 22 h 51"/>
                <a:gd name="T14" fmla="*/ 42 w 42"/>
                <a:gd name="T15" fmla="*/ 8 h 51"/>
                <a:gd name="T16" fmla="*/ 28 w 42"/>
                <a:gd name="T17" fmla="*/ 0 h 51"/>
                <a:gd name="T18" fmla="*/ 21 w 42"/>
                <a:gd name="T19" fmla="*/ 0 h 51"/>
                <a:gd name="T20" fmla="*/ 15 w 42"/>
                <a:gd name="T21" fmla="*/ 0 h 51"/>
                <a:gd name="T22" fmla="*/ 0 w 42"/>
                <a:gd name="T23" fmla="*/ 8 h 51"/>
                <a:gd name="T24" fmla="*/ 4 w 42"/>
                <a:gd name="T25" fmla="*/ 24 h 51"/>
                <a:gd name="T26" fmla="*/ 3 w 42"/>
                <a:gd name="T27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51">
                  <a:moveTo>
                    <a:pt x="3" y="37"/>
                  </a:moveTo>
                  <a:cubicBezTo>
                    <a:pt x="3" y="37"/>
                    <a:pt x="2" y="42"/>
                    <a:pt x="6" y="42"/>
                  </a:cubicBezTo>
                  <a:cubicBezTo>
                    <a:pt x="9" y="43"/>
                    <a:pt x="11" y="46"/>
                    <a:pt x="11" y="46"/>
                  </a:cubicBezTo>
                  <a:cubicBezTo>
                    <a:pt x="11" y="46"/>
                    <a:pt x="24" y="51"/>
                    <a:pt x="35" y="44"/>
                  </a:cubicBezTo>
                  <a:cubicBezTo>
                    <a:pt x="35" y="44"/>
                    <a:pt x="36" y="43"/>
                    <a:pt x="37" y="41"/>
                  </a:cubicBezTo>
                  <a:cubicBezTo>
                    <a:pt x="37" y="39"/>
                    <a:pt x="36" y="36"/>
                    <a:pt x="37" y="33"/>
                  </a:cubicBezTo>
                  <a:cubicBezTo>
                    <a:pt x="37" y="30"/>
                    <a:pt x="40" y="25"/>
                    <a:pt x="40" y="22"/>
                  </a:cubicBezTo>
                  <a:cubicBezTo>
                    <a:pt x="40" y="19"/>
                    <a:pt x="42" y="8"/>
                    <a:pt x="42" y="8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3" y="4"/>
                    <a:pt x="0" y="8"/>
                  </a:cubicBezTo>
                  <a:cubicBezTo>
                    <a:pt x="0" y="8"/>
                    <a:pt x="3" y="15"/>
                    <a:pt x="4" y="24"/>
                  </a:cubicBezTo>
                  <a:cubicBezTo>
                    <a:pt x="6" y="33"/>
                    <a:pt x="2" y="33"/>
                    <a:pt x="3" y="37"/>
                  </a:cubicBezTo>
                  <a:close/>
                </a:path>
              </a:pathLst>
            </a:custGeom>
            <a:solidFill>
              <a:srgbClr val="F5F7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6" name="Freeform 199"/>
            <p:cNvSpPr/>
            <p:nvPr/>
          </p:nvSpPr>
          <p:spPr bwMode="auto">
            <a:xfrm>
              <a:off x="5410859" y="3426979"/>
              <a:ext cx="104775" cy="204788"/>
            </a:xfrm>
            <a:custGeom>
              <a:avLst/>
              <a:gdLst>
                <a:gd name="T0" fmla="*/ 0 w 3"/>
                <a:gd name="T1" fmla="*/ 0 h 6"/>
                <a:gd name="T2" fmla="*/ 3 w 3"/>
                <a:gd name="T3" fmla="*/ 6 h 6"/>
                <a:gd name="T4" fmla="*/ 0 w 3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6">
                  <a:moveTo>
                    <a:pt x="0" y="0"/>
                  </a:moveTo>
                  <a:cubicBezTo>
                    <a:pt x="1" y="3"/>
                    <a:pt x="3" y="6"/>
                    <a:pt x="3" y="6"/>
                  </a:cubicBezTo>
                  <a:cubicBezTo>
                    <a:pt x="3" y="6"/>
                    <a:pt x="2" y="2"/>
                    <a:pt x="0" y="0"/>
                  </a:cubicBez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7" name="Freeform 200"/>
            <p:cNvSpPr/>
            <p:nvPr/>
          </p:nvSpPr>
          <p:spPr bwMode="auto">
            <a:xfrm>
              <a:off x="5198134" y="2577667"/>
              <a:ext cx="388938" cy="1054100"/>
            </a:xfrm>
            <a:custGeom>
              <a:avLst/>
              <a:gdLst>
                <a:gd name="T0" fmla="*/ 4 w 11"/>
                <a:gd name="T1" fmla="*/ 25 h 31"/>
                <a:gd name="T2" fmla="*/ 6 w 11"/>
                <a:gd name="T3" fmla="*/ 25 h 31"/>
                <a:gd name="T4" fmla="*/ 5 w 11"/>
                <a:gd name="T5" fmla="*/ 24 h 31"/>
                <a:gd name="T6" fmla="*/ 6 w 11"/>
                <a:gd name="T7" fmla="*/ 18 h 31"/>
                <a:gd name="T8" fmla="*/ 11 w 11"/>
                <a:gd name="T9" fmla="*/ 26 h 31"/>
                <a:gd name="T10" fmla="*/ 4 w 11"/>
                <a:gd name="T11" fmla="*/ 9 h 31"/>
                <a:gd name="T12" fmla="*/ 6 w 11"/>
                <a:gd name="T13" fmla="*/ 7 h 31"/>
                <a:gd name="T14" fmla="*/ 0 w 11"/>
                <a:gd name="T15" fmla="*/ 0 h 31"/>
                <a:gd name="T16" fmla="*/ 2 w 11"/>
                <a:gd name="T17" fmla="*/ 11 h 31"/>
                <a:gd name="T18" fmla="*/ 1 w 11"/>
                <a:gd name="T19" fmla="*/ 24 h 31"/>
                <a:gd name="T20" fmla="*/ 4 w 11"/>
                <a:gd name="T21" fmla="*/ 29 h 31"/>
                <a:gd name="T22" fmla="*/ 7 w 11"/>
                <a:gd name="T23" fmla="*/ 31 h 31"/>
                <a:gd name="T24" fmla="*/ 7 w 11"/>
                <a:gd name="T25" fmla="*/ 31 h 31"/>
                <a:gd name="T26" fmla="*/ 4 w 11"/>
                <a:gd name="T27" fmla="*/ 2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31">
                  <a:moveTo>
                    <a:pt x="4" y="25"/>
                  </a:moveTo>
                  <a:cubicBezTo>
                    <a:pt x="4" y="25"/>
                    <a:pt x="5" y="25"/>
                    <a:pt x="6" y="25"/>
                  </a:cubicBezTo>
                  <a:cubicBezTo>
                    <a:pt x="5" y="25"/>
                    <a:pt x="5" y="24"/>
                    <a:pt x="5" y="24"/>
                  </a:cubicBezTo>
                  <a:cubicBezTo>
                    <a:pt x="4" y="21"/>
                    <a:pt x="5" y="17"/>
                    <a:pt x="6" y="18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2"/>
                    <a:pt x="4" y="9"/>
                    <a:pt x="4" y="9"/>
                  </a:cubicBezTo>
                  <a:cubicBezTo>
                    <a:pt x="2" y="6"/>
                    <a:pt x="6" y="7"/>
                    <a:pt x="6" y="7"/>
                  </a:cubicBezTo>
                  <a:cubicBezTo>
                    <a:pt x="6" y="6"/>
                    <a:pt x="2" y="3"/>
                    <a:pt x="0" y="0"/>
                  </a:cubicBezTo>
                  <a:cubicBezTo>
                    <a:pt x="1" y="3"/>
                    <a:pt x="2" y="7"/>
                    <a:pt x="2" y="11"/>
                  </a:cubicBezTo>
                  <a:cubicBezTo>
                    <a:pt x="4" y="20"/>
                    <a:pt x="0" y="20"/>
                    <a:pt x="1" y="24"/>
                  </a:cubicBezTo>
                  <a:cubicBezTo>
                    <a:pt x="1" y="24"/>
                    <a:pt x="0" y="29"/>
                    <a:pt x="4" y="29"/>
                  </a:cubicBezTo>
                  <a:cubicBezTo>
                    <a:pt x="5" y="30"/>
                    <a:pt x="6" y="30"/>
                    <a:pt x="7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5" y="29"/>
                    <a:pt x="1" y="25"/>
                    <a:pt x="4" y="25"/>
                  </a:cubicBez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8" name="Freeform 201"/>
            <p:cNvSpPr/>
            <p:nvPr/>
          </p:nvSpPr>
          <p:spPr bwMode="auto">
            <a:xfrm>
              <a:off x="6079197" y="2339542"/>
              <a:ext cx="458788" cy="1325563"/>
            </a:xfrm>
            <a:custGeom>
              <a:avLst/>
              <a:gdLst>
                <a:gd name="T0" fmla="*/ 13 w 13"/>
                <a:gd name="T1" fmla="*/ 16 h 39"/>
                <a:gd name="T2" fmla="*/ 13 w 13"/>
                <a:gd name="T3" fmla="*/ 12 h 39"/>
                <a:gd name="T4" fmla="*/ 13 w 13"/>
                <a:gd name="T5" fmla="*/ 3 h 39"/>
                <a:gd name="T6" fmla="*/ 12 w 13"/>
                <a:gd name="T7" fmla="*/ 8 h 39"/>
                <a:gd name="T8" fmla="*/ 8 w 13"/>
                <a:gd name="T9" fmla="*/ 0 h 39"/>
                <a:gd name="T10" fmla="*/ 12 w 13"/>
                <a:gd name="T11" fmla="*/ 12 h 39"/>
                <a:gd name="T12" fmla="*/ 9 w 13"/>
                <a:gd name="T13" fmla="*/ 18 h 39"/>
                <a:gd name="T14" fmla="*/ 4 w 13"/>
                <a:gd name="T15" fmla="*/ 17 h 39"/>
                <a:gd name="T16" fmla="*/ 8 w 13"/>
                <a:gd name="T17" fmla="*/ 22 h 39"/>
                <a:gd name="T18" fmla="*/ 6 w 13"/>
                <a:gd name="T19" fmla="*/ 25 h 39"/>
                <a:gd name="T20" fmla="*/ 0 w 13"/>
                <a:gd name="T21" fmla="*/ 25 h 39"/>
                <a:gd name="T22" fmla="*/ 7 w 13"/>
                <a:gd name="T23" fmla="*/ 34 h 39"/>
                <a:gd name="T24" fmla="*/ 7 w 13"/>
                <a:gd name="T25" fmla="*/ 39 h 39"/>
                <a:gd name="T26" fmla="*/ 8 w 13"/>
                <a:gd name="T27" fmla="*/ 38 h 39"/>
                <a:gd name="T28" fmla="*/ 10 w 13"/>
                <a:gd name="T29" fmla="*/ 35 h 39"/>
                <a:gd name="T30" fmla="*/ 10 w 13"/>
                <a:gd name="T31" fmla="*/ 27 h 39"/>
                <a:gd name="T32" fmla="*/ 13 w 13"/>
                <a:gd name="T33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" h="39">
                  <a:moveTo>
                    <a:pt x="13" y="16"/>
                  </a:moveTo>
                  <a:cubicBezTo>
                    <a:pt x="13" y="15"/>
                    <a:pt x="13" y="13"/>
                    <a:pt x="13" y="12"/>
                  </a:cubicBezTo>
                  <a:cubicBezTo>
                    <a:pt x="13" y="9"/>
                    <a:pt x="13" y="3"/>
                    <a:pt x="13" y="3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8"/>
                    <a:pt x="8" y="0"/>
                    <a:pt x="8" y="0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1" y="17"/>
                    <a:pt x="9" y="18"/>
                  </a:cubicBezTo>
                  <a:cubicBezTo>
                    <a:pt x="8" y="20"/>
                    <a:pt x="4" y="17"/>
                    <a:pt x="4" y="17"/>
                  </a:cubicBezTo>
                  <a:cubicBezTo>
                    <a:pt x="4" y="19"/>
                    <a:pt x="8" y="22"/>
                    <a:pt x="8" y="22"/>
                  </a:cubicBezTo>
                  <a:cubicBezTo>
                    <a:pt x="8" y="22"/>
                    <a:pt x="9" y="24"/>
                    <a:pt x="6" y="25"/>
                  </a:cubicBezTo>
                  <a:cubicBezTo>
                    <a:pt x="4" y="27"/>
                    <a:pt x="0" y="25"/>
                    <a:pt x="0" y="25"/>
                  </a:cubicBezTo>
                  <a:cubicBezTo>
                    <a:pt x="0" y="25"/>
                    <a:pt x="4" y="32"/>
                    <a:pt x="7" y="34"/>
                  </a:cubicBezTo>
                  <a:cubicBezTo>
                    <a:pt x="9" y="35"/>
                    <a:pt x="8" y="37"/>
                    <a:pt x="7" y="39"/>
                  </a:cubicBezTo>
                  <a:cubicBezTo>
                    <a:pt x="8" y="39"/>
                    <a:pt x="8" y="39"/>
                    <a:pt x="8" y="38"/>
                  </a:cubicBezTo>
                  <a:cubicBezTo>
                    <a:pt x="8" y="38"/>
                    <a:pt x="9" y="37"/>
                    <a:pt x="10" y="35"/>
                  </a:cubicBezTo>
                  <a:cubicBezTo>
                    <a:pt x="10" y="33"/>
                    <a:pt x="9" y="30"/>
                    <a:pt x="10" y="27"/>
                  </a:cubicBezTo>
                  <a:cubicBezTo>
                    <a:pt x="10" y="24"/>
                    <a:pt x="13" y="19"/>
                    <a:pt x="13" y="16"/>
                  </a:cubicBez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59" name="Freeform 202"/>
            <p:cNvSpPr/>
            <p:nvPr/>
          </p:nvSpPr>
          <p:spPr bwMode="auto">
            <a:xfrm>
              <a:off x="5656922" y="2134754"/>
              <a:ext cx="528638" cy="306388"/>
            </a:xfrm>
            <a:custGeom>
              <a:avLst/>
              <a:gdLst>
                <a:gd name="T0" fmla="*/ 13 w 15"/>
                <a:gd name="T1" fmla="*/ 0 h 9"/>
                <a:gd name="T2" fmla="*/ 6 w 15"/>
                <a:gd name="T3" fmla="*/ 0 h 9"/>
                <a:gd name="T4" fmla="*/ 0 w 15"/>
                <a:gd name="T5" fmla="*/ 0 h 9"/>
                <a:gd name="T6" fmla="*/ 0 w 15"/>
                <a:gd name="T7" fmla="*/ 0 h 9"/>
                <a:gd name="T8" fmla="*/ 0 w 15"/>
                <a:gd name="T9" fmla="*/ 9 h 9"/>
                <a:gd name="T10" fmla="*/ 4 w 15"/>
                <a:gd name="T11" fmla="*/ 5 h 9"/>
                <a:gd name="T12" fmla="*/ 8 w 15"/>
                <a:gd name="T13" fmla="*/ 5 h 9"/>
                <a:gd name="T14" fmla="*/ 11 w 15"/>
                <a:gd name="T15" fmla="*/ 8 h 9"/>
                <a:gd name="T16" fmla="*/ 15 w 15"/>
                <a:gd name="T17" fmla="*/ 1 h 9"/>
                <a:gd name="T18" fmla="*/ 13 w 15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9">
                  <a:moveTo>
                    <a:pt x="13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4" y="6"/>
                    <a:pt x="15" y="1"/>
                  </a:cubicBezTo>
                  <a:lnTo>
                    <a:pt x="13" y="0"/>
                  </a:ln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0" name="Freeform 203"/>
            <p:cNvSpPr/>
            <p:nvPr/>
          </p:nvSpPr>
          <p:spPr bwMode="auto">
            <a:xfrm>
              <a:off x="5691847" y="1760104"/>
              <a:ext cx="423863" cy="511175"/>
            </a:xfrm>
            <a:custGeom>
              <a:avLst/>
              <a:gdLst>
                <a:gd name="T0" fmla="*/ 0 w 12"/>
                <a:gd name="T1" fmla="*/ 7 h 15"/>
                <a:gd name="T2" fmla="*/ 0 w 12"/>
                <a:gd name="T3" fmla="*/ 9 h 15"/>
                <a:gd name="T4" fmla="*/ 5 w 12"/>
                <a:gd name="T5" fmla="*/ 15 h 15"/>
                <a:gd name="T6" fmla="*/ 9 w 12"/>
                <a:gd name="T7" fmla="*/ 13 h 15"/>
                <a:gd name="T8" fmla="*/ 11 w 12"/>
                <a:gd name="T9" fmla="*/ 8 h 15"/>
                <a:gd name="T10" fmla="*/ 11 w 12"/>
                <a:gd name="T11" fmla="*/ 2 h 15"/>
                <a:gd name="T12" fmla="*/ 0 w 12"/>
                <a:gd name="T1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">
                  <a:moveTo>
                    <a:pt x="0" y="7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4" y="14"/>
                    <a:pt x="5" y="15"/>
                  </a:cubicBezTo>
                  <a:cubicBezTo>
                    <a:pt x="6" y="15"/>
                    <a:pt x="9" y="13"/>
                    <a:pt x="9" y="13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4"/>
                    <a:pt x="11" y="2"/>
                  </a:cubicBezTo>
                  <a:cubicBezTo>
                    <a:pt x="12" y="0"/>
                    <a:pt x="2" y="6"/>
                    <a:pt x="0" y="7"/>
                  </a:cubicBezTo>
                  <a:close/>
                </a:path>
              </a:pathLst>
            </a:custGeom>
            <a:solidFill>
              <a:srgbClr val="D69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1" name="Freeform 204"/>
            <p:cNvSpPr/>
            <p:nvPr/>
          </p:nvSpPr>
          <p:spPr bwMode="auto">
            <a:xfrm>
              <a:off x="5763284" y="1931554"/>
              <a:ext cx="280988" cy="339725"/>
            </a:xfrm>
            <a:custGeom>
              <a:avLst/>
              <a:gdLst>
                <a:gd name="T0" fmla="*/ 8 w 8"/>
                <a:gd name="T1" fmla="*/ 0 h 10"/>
                <a:gd name="T2" fmla="*/ 5 w 8"/>
                <a:gd name="T3" fmla="*/ 4 h 10"/>
                <a:gd name="T4" fmla="*/ 0 w 8"/>
                <a:gd name="T5" fmla="*/ 6 h 10"/>
                <a:gd name="T6" fmla="*/ 3 w 8"/>
                <a:gd name="T7" fmla="*/ 10 h 10"/>
                <a:gd name="T8" fmla="*/ 7 w 8"/>
                <a:gd name="T9" fmla="*/ 8 h 10"/>
                <a:gd name="T10" fmla="*/ 8 w 8"/>
                <a:gd name="T11" fmla="*/ 5 h 10"/>
                <a:gd name="T12" fmla="*/ 8 w 8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0">
                  <a:moveTo>
                    <a:pt x="8" y="0"/>
                  </a:moveTo>
                  <a:cubicBezTo>
                    <a:pt x="8" y="0"/>
                    <a:pt x="6" y="3"/>
                    <a:pt x="5" y="4"/>
                  </a:cubicBezTo>
                  <a:cubicBezTo>
                    <a:pt x="5" y="5"/>
                    <a:pt x="2" y="6"/>
                    <a:pt x="0" y="6"/>
                  </a:cubicBezTo>
                  <a:cubicBezTo>
                    <a:pt x="1" y="8"/>
                    <a:pt x="3" y="10"/>
                    <a:pt x="3" y="10"/>
                  </a:cubicBezTo>
                  <a:cubicBezTo>
                    <a:pt x="4" y="10"/>
                    <a:pt x="7" y="8"/>
                    <a:pt x="7" y="8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8" y="0"/>
                    <a:pt x="8" y="0"/>
                  </a:cubicBezTo>
                  <a:close/>
                </a:path>
              </a:pathLst>
            </a:custGeom>
            <a:solidFill>
              <a:srgbClr val="EBB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2" name="Freeform 205"/>
            <p:cNvSpPr/>
            <p:nvPr/>
          </p:nvSpPr>
          <p:spPr bwMode="auto">
            <a:xfrm>
              <a:off x="5691847" y="2169679"/>
              <a:ext cx="352425" cy="1462088"/>
            </a:xfrm>
            <a:custGeom>
              <a:avLst/>
              <a:gdLst>
                <a:gd name="T0" fmla="*/ 0 w 10"/>
                <a:gd name="T1" fmla="*/ 39 h 43"/>
                <a:gd name="T2" fmla="*/ 3 w 10"/>
                <a:gd name="T3" fmla="*/ 43 h 43"/>
                <a:gd name="T4" fmla="*/ 9 w 10"/>
                <a:gd name="T5" fmla="*/ 40 h 43"/>
                <a:gd name="T6" fmla="*/ 9 w 10"/>
                <a:gd name="T7" fmla="*/ 13 h 43"/>
                <a:gd name="T8" fmla="*/ 7 w 10"/>
                <a:gd name="T9" fmla="*/ 7 h 43"/>
                <a:gd name="T10" fmla="*/ 8 w 10"/>
                <a:gd name="T11" fmla="*/ 4 h 43"/>
                <a:gd name="T12" fmla="*/ 4 w 10"/>
                <a:gd name="T13" fmla="*/ 2 h 43"/>
                <a:gd name="T14" fmla="*/ 3 w 10"/>
                <a:gd name="T15" fmla="*/ 5 h 43"/>
                <a:gd name="T16" fmla="*/ 3 w 10"/>
                <a:gd name="T17" fmla="*/ 9 h 43"/>
                <a:gd name="T18" fmla="*/ 1 w 10"/>
                <a:gd name="T19" fmla="*/ 13 h 43"/>
                <a:gd name="T20" fmla="*/ 0 w 10"/>
                <a:gd name="T21" fmla="*/ 3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43">
                  <a:moveTo>
                    <a:pt x="0" y="39"/>
                  </a:moveTo>
                  <a:cubicBezTo>
                    <a:pt x="3" y="43"/>
                    <a:pt x="3" y="43"/>
                    <a:pt x="3" y="43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9" y="40"/>
                    <a:pt x="10" y="14"/>
                    <a:pt x="9" y="13"/>
                  </a:cubicBezTo>
                  <a:cubicBezTo>
                    <a:pt x="8" y="11"/>
                    <a:pt x="7" y="7"/>
                    <a:pt x="7" y="7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7" y="0"/>
                    <a:pt x="4" y="2"/>
                  </a:cubicBezTo>
                  <a:cubicBezTo>
                    <a:pt x="1" y="3"/>
                    <a:pt x="3" y="5"/>
                    <a:pt x="3" y="5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13"/>
                    <a:pt x="1" y="13"/>
                    <a:pt x="1" y="13"/>
                  </a:cubicBezTo>
                  <a:lnTo>
                    <a:pt x="0" y="39"/>
                  </a:lnTo>
                  <a:close/>
                </a:path>
              </a:pathLst>
            </a:custGeom>
            <a:solidFill>
              <a:srgbClr val="2624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3" name="Freeform 206"/>
            <p:cNvSpPr/>
            <p:nvPr/>
          </p:nvSpPr>
          <p:spPr bwMode="auto">
            <a:xfrm>
              <a:off x="5656922" y="2033154"/>
              <a:ext cx="176213" cy="374650"/>
            </a:xfrm>
            <a:custGeom>
              <a:avLst/>
              <a:gdLst>
                <a:gd name="T0" fmla="*/ 22 w 111"/>
                <a:gd name="T1" fmla="*/ 0 h 236"/>
                <a:gd name="T2" fmla="*/ 0 w 111"/>
                <a:gd name="T3" fmla="*/ 107 h 236"/>
                <a:gd name="T4" fmla="*/ 22 w 111"/>
                <a:gd name="T5" fmla="*/ 236 h 236"/>
                <a:gd name="T6" fmla="*/ 111 w 111"/>
                <a:gd name="T7" fmla="*/ 128 h 236"/>
                <a:gd name="T8" fmla="*/ 22 w 111"/>
                <a:gd name="T9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36">
                  <a:moveTo>
                    <a:pt x="22" y="0"/>
                  </a:moveTo>
                  <a:lnTo>
                    <a:pt x="0" y="107"/>
                  </a:lnTo>
                  <a:lnTo>
                    <a:pt x="22" y="236"/>
                  </a:lnTo>
                  <a:lnTo>
                    <a:pt x="111" y="128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F5F7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4" name="Freeform 207"/>
            <p:cNvSpPr/>
            <p:nvPr/>
          </p:nvSpPr>
          <p:spPr bwMode="auto">
            <a:xfrm>
              <a:off x="5587072" y="1250517"/>
              <a:ext cx="633413" cy="577850"/>
            </a:xfrm>
            <a:custGeom>
              <a:avLst/>
              <a:gdLst>
                <a:gd name="T0" fmla="*/ 1 w 18"/>
                <a:gd name="T1" fmla="*/ 5 h 17"/>
                <a:gd name="T2" fmla="*/ 0 w 18"/>
                <a:gd name="T3" fmla="*/ 4 h 17"/>
                <a:gd name="T4" fmla="*/ 5 w 18"/>
                <a:gd name="T5" fmla="*/ 0 h 17"/>
                <a:gd name="T6" fmla="*/ 12 w 18"/>
                <a:gd name="T7" fmla="*/ 0 h 17"/>
                <a:gd name="T8" fmla="*/ 17 w 18"/>
                <a:gd name="T9" fmla="*/ 5 h 17"/>
                <a:gd name="T10" fmla="*/ 18 w 18"/>
                <a:gd name="T11" fmla="*/ 10 h 17"/>
                <a:gd name="T12" fmla="*/ 16 w 18"/>
                <a:gd name="T13" fmla="*/ 16 h 17"/>
                <a:gd name="T14" fmla="*/ 1 w 18"/>
                <a:gd name="T15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7">
                  <a:moveTo>
                    <a:pt x="1" y="5"/>
                  </a:moveTo>
                  <a:cubicBezTo>
                    <a:pt x="1" y="5"/>
                    <a:pt x="0" y="4"/>
                    <a:pt x="0" y="4"/>
                  </a:cubicBezTo>
                  <a:cubicBezTo>
                    <a:pt x="1" y="3"/>
                    <a:pt x="3" y="0"/>
                    <a:pt x="5" y="0"/>
                  </a:cubicBezTo>
                  <a:cubicBezTo>
                    <a:pt x="7" y="0"/>
                    <a:pt x="12" y="0"/>
                    <a:pt x="12" y="0"/>
                  </a:cubicBezTo>
                  <a:cubicBezTo>
                    <a:pt x="12" y="0"/>
                    <a:pt x="15" y="2"/>
                    <a:pt x="17" y="5"/>
                  </a:cubicBezTo>
                  <a:cubicBezTo>
                    <a:pt x="18" y="7"/>
                    <a:pt x="18" y="10"/>
                    <a:pt x="18" y="10"/>
                  </a:cubicBezTo>
                  <a:cubicBezTo>
                    <a:pt x="18" y="10"/>
                    <a:pt x="18" y="14"/>
                    <a:pt x="16" y="16"/>
                  </a:cubicBezTo>
                  <a:cubicBezTo>
                    <a:pt x="16" y="16"/>
                    <a:pt x="10" y="17"/>
                    <a:pt x="1" y="5"/>
                  </a:cubicBezTo>
                  <a:close/>
                </a:path>
              </a:pathLst>
            </a:custGeom>
            <a:solidFill>
              <a:srgbClr val="2624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5" name="Freeform 208"/>
            <p:cNvSpPr/>
            <p:nvPr/>
          </p:nvSpPr>
          <p:spPr bwMode="auto">
            <a:xfrm>
              <a:off x="5939497" y="2033154"/>
              <a:ext cx="246063" cy="374650"/>
            </a:xfrm>
            <a:custGeom>
              <a:avLst/>
              <a:gdLst>
                <a:gd name="T0" fmla="*/ 0 w 7"/>
                <a:gd name="T1" fmla="*/ 6 h 11"/>
                <a:gd name="T2" fmla="*/ 3 w 7"/>
                <a:gd name="T3" fmla="*/ 11 h 11"/>
                <a:gd name="T4" fmla="*/ 7 w 7"/>
                <a:gd name="T5" fmla="*/ 4 h 11"/>
                <a:gd name="T6" fmla="*/ 4 w 7"/>
                <a:gd name="T7" fmla="*/ 0 h 11"/>
                <a:gd name="T8" fmla="*/ 0 w 7"/>
                <a:gd name="T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1">
                  <a:moveTo>
                    <a:pt x="0" y="6"/>
                  </a:move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7" y="5"/>
                    <a:pt x="7" y="4"/>
                  </a:cubicBezTo>
                  <a:cubicBezTo>
                    <a:pt x="7" y="4"/>
                    <a:pt x="4" y="1"/>
                    <a:pt x="4" y="0"/>
                  </a:cubicBezTo>
                  <a:cubicBezTo>
                    <a:pt x="4" y="0"/>
                    <a:pt x="2" y="5"/>
                    <a:pt x="0" y="6"/>
                  </a:cubicBezTo>
                  <a:close/>
                </a:path>
              </a:pathLst>
            </a:custGeom>
            <a:solidFill>
              <a:srgbClr val="F5F7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6" name="Freeform 209"/>
            <p:cNvSpPr/>
            <p:nvPr/>
          </p:nvSpPr>
          <p:spPr bwMode="auto">
            <a:xfrm>
              <a:off x="5550559" y="1387042"/>
              <a:ext cx="635000" cy="679450"/>
            </a:xfrm>
            <a:custGeom>
              <a:avLst/>
              <a:gdLst>
                <a:gd name="T0" fmla="*/ 3 w 18"/>
                <a:gd name="T1" fmla="*/ 19 h 20"/>
                <a:gd name="T2" fmla="*/ 6 w 18"/>
                <a:gd name="T3" fmla="*/ 20 h 20"/>
                <a:gd name="T4" fmla="*/ 12 w 18"/>
                <a:gd name="T5" fmla="*/ 17 h 20"/>
                <a:gd name="T6" fmla="*/ 14 w 18"/>
                <a:gd name="T7" fmla="*/ 14 h 20"/>
                <a:gd name="T8" fmla="*/ 15 w 18"/>
                <a:gd name="T9" fmla="*/ 14 h 20"/>
                <a:gd name="T10" fmla="*/ 17 w 18"/>
                <a:gd name="T11" fmla="*/ 11 h 20"/>
                <a:gd name="T12" fmla="*/ 17 w 18"/>
                <a:gd name="T13" fmla="*/ 8 h 20"/>
                <a:gd name="T14" fmla="*/ 15 w 18"/>
                <a:gd name="T15" fmla="*/ 8 h 20"/>
                <a:gd name="T16" fmla="*/ 13 w 18"/>
                <a:gd name="T17" fmla="*/ 10 h 20"/>
                <a:gd name="T18" fmla="*/ 13 w 18"/>
                <a:gd name="T19" fmla="*/ 10 h 20"/>
                <a:gd name="T20" fmla="*/ 13 w 18"/>
                <a:gd name="T21" fmla="*/ 8 h 20"/>
                <a:gd name="T22" fmla="*/ 11 w 18"/>
                <a:gd name="T23" fmla="*/ 5 h 20"/>
                <a:gd name="T24" fmla="*/ 12 w 18"/>
                <a:gd name="T25" fmla="*/ 4 h 20"/>
                <a:gd name="T26" fmla="*/ 9 w 18"/>
                <a:gd name="T27" fmla="*/ 1 h 20"/>
                <a:gd name="T28" fmla="*/ 2 w 18"/>
                <a:gd name="T29" fmla="*/ 1 h 20"/>
                <a:gd name="T30" fmla="*/ 1 w 18"/>
                <a:gd name="T31" fmla="*/ 6 h 20"/>
                <a:gd name="T32" fmla="*/ 1 w 18"/>
                <a:gd name="T33" fmla="*/ 7 h 20"/>
                <a:gd name="T34" fmla="*/ 0 w 18"/>
                <a:gd name="T35" fmla="*/ 11 h 20"/>
                <a:gd name="T36" fmla="*/ 2 w 18"/>
                <a:gd name="T37" fmla="*/ 17 h 20"/>
                <a:gd name="T38" fmla="*/ 3 w 18"/>
                <a:gd name="T39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" h="20">
                  <a:moveTo>
                    <a:pt x="3" y="19"/>
                  </a:moveTo>
                  <a:cubicBezTo>
                    <a:pt x="3" y="19"/>
                    <a:pt x="5" y="20"/>
                    <a:pt x="6" y="20"/>
                  </a:cubicBezTo>
                  <a:cubicBezTo>
                    <a:pt x="6" y="20"/>
                    <a:pt x="10" y="19"/>
                    <a:pt x="12" y="17"/>
                  </a:cubicBezTo>
                  <a:cubicBezTo>
                    <a:pt x="13" y="15"/>
                    <a:pt x="14" y="14"/>
                    <a:pt x="14" y="14"/>
                  </a:cubicBezTo>
                  <a:cubicBezTo>
                    <a:pt x="14" y="14"/>
                    <a:pt x="15" y="14"/>
                    <a:pt x="15" y="14"/>
                  </a:cubicBezTo>
                  <a:cubicBezTo>
                    <a:pt x="16" y="14"/>
                    <a:pt x="17" y="11"/>
                    <a:pt x="17" y="11"/>
                  </a:cubicBezTo>
                  <a:cubicBezTo>
                    <a:pt x="17" y="11"/>
                    <a:pt x="18" y="8"/>
                    <a:pt x="17" y="8"/>
                  </a:cubicBezTo>
                  <a:cubicBezTo>
                    <a:pt x="16" y="7"/>
                    <a:pt x="15" y="8"/>
                    <a:pt x="15" y="8"/>
                  </a:cubicBezTo>
                  <a:cubicBezTo>
                    <a:pt x="15" y="8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8"/>
                    <a:pt x="13" y="8"/>
                  </a:cubicBezTo>
                  <a:cubicBezTo>
                    <a:pt x="13" y="7"/>
                    <a:pt x="11" y="5"/>
                    <a:pt x="11" y="5"/>
                  </a:cubicBezTo>
                  <a:cubicBezTo>
                    <a:pt x="11" y="4"/>
                    <a:pt x="12" y="4"/>
                    <a:pt x="12" y="4"/>
                  </a:cubicBezTo>
                  <a:cubicBezTo>
                    <a:pt x="12" y="3"/>
                    <a:pt x="10" y="1"/>
                    <a:pt x="9" y="1"/>
                  </a:cubicBezTo>
                  <a:cubicBezTo>
                    <a:pt x="9" y="1"/>
                    <a:pt x="4" y="0"/>
                    <a:pt x="2" y="1"/>
                  </a:cubicBezTo>
                  <a:cubicBezTo>
                    <a:pt x="2" y="1"/>
                    <a:pt x="1" y="3"/>
                    <a:pt x="1" y="6"/>
                  </a:cubicBezTo>
                  <a:cubicBezTo>
                    <a:pt x="1" y="6"/>
                    <a:pt x="1" y="7"/>
                    <a:pt x="1" y="7"/>
                  </a:cubicBezTo>
                  <a:cubicBezTo>
                    <a:pt x="1" y="8"/>
                    <a:pt x="0" y="9"/>
                    <a:pt x="0" y="11"/>
                  </a:cubicBezTo>
                  <a:cubicBezTo>
                    <a:pt x="0" y="14"/>
                    <a:pt x="2" y="16"/>
                    <a:pt x="2" y="17"/>
                  </a:cubicBezTo>
                  <a:cubicBezTo>
                    <a:pt x="2" y="18"/>
                    <a:pt x="2" y="19"/>
                    <a:pt x="3" y="19"/>
                  </a:cubicBezTo>
                  <a:close/>
                </a:path>
              </a:pathLst>
            </a:custGeom>
            <a:solidFill>
              <a:srgbClr val="F2C2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67" name="Freeform 210"/>
            <p:cNvSpPr/>
            <p:nvPr/>
          </p:nvSpPr>
          <p:spPr bwMode="auto">
            <a:xfrm>
              <a:off x="5621997" y="1420379"/>
              <a:ext cx="563563" cy="646113"/>
            </a:xfrm>
            <a:custGeom>
              <a:avLst/>
              <a:gdLst>
                <a:gd name="T0" fmla="*/ 15 w 16"/>
                <a:gd name="T1" fmla="*/ 7 h 19"/>
                <a:gd name="T2" fmla="*/ 13 w 16"/>
                <a:gd name="T3" fmla="*/ 7 h 19"/>
                <a:gd name="T4" fmla="*/ 11 w 16"/>
                <a:gd name="T5" fmla="*/ 9 h 19"/>
                <a:gd name="T6" fmla="*/ 11 w 16"/>
                <a:gd name="T7" fmla="*/ 9 h 19"/>
                <a:gd name="T8" fmla="*/ 11 w 16"/>
                <a:gd name="T9" fmla="*/ 7 h 19"/>
                <a:gd name="T10" fmla="*/ 9 w 16"/>
                <a:gd name="T11" fmla="*/ 4 h 19"/>
                <a:gd name="T12" fmla="*/ 10 w 16"/>
                <a:gd name="T13" fmla="*/ 3 h 19"/>
                <a:gd name="T14" fmla="*/ 7 w 16"/>
                <a:gd name="T15" fmla="*/ 0 h 19"/>
                <a:gd name="T16" fmla="*/ 7 w 16"/>
                <a:gd name="T17" fmla="*/ 0 h 19"/>
                <a:gd name="T18" fmla="*/ 4 w 16"/>
                <a:gd name="T19" fmla="*/ 4 h 19"/>
                <a:gd name="T20" fmla="*/ 6 w 16"/>
                <a:gd name="T21" fmla="*/ 5 h 19"/>
                <a:gd name="T22" fmla="*/ 7 w 16"/>
                <a:gd name="T23" fmla="*/ 7 h 19"/>
                <a:gd name="T24" fmla="*/ 8 w 16"/>
                <a:gd name="T25" fmla="*/ 8 h 19"/>
                <a:gd name="T26" fmla="*/ 8 w 16"/>
                <a:gd name="T27" fmla="*/ 11 h 19"/>
                <a:gd name="T28" fmla="*/ 5 w 16"/>
                <a:gd name="T29" fmla="*/ 11 h 19"/>
                <a:gd name="T30" fmla="*/ 6 w 16"/>
                <a:gd name="T31" fmla="*/ 15 h 19"/>
                <a:gd name="T32" fmla="*/ 3 w 16"/>
                <a:gd name="T33" fmla="*/ 18 h 19"/>
                <a:gd name="T34" fmla="*/ 0 w 16"/>
                <a:gd name="T35" fmla="*/ 17 h 19"/>
                <a:gd name="T36" fmla="*/ 1 w 16"/>
                <a:gd name="T37" fmla="*/ 18 h 19"/>
                <a:gd name="T38" fmla="*/ 4 w 16"/>
                <a:gd name="T39" fmla="*/ 19 h 19"/>
                <a:gd name="T40" fmla="*/ 10 w 16"/>
                <a:gd name="T41" fmla="*/ 16 h 19"/>
                <a:gd name="T42" fmla="*/ 12 w 16"/>
                <a:gd name="T43" fmla="*/ 13 h 19"/>
                <a:gd name="T44" fmla="*/ 13 w 16"/>
                <a:gd name="T45" fmla="*/ 13 h 19"/>
                <a:gd name="T46" fmla="*/ 15 w 16"/>
                <a:gd name="T47" fmla="*/ 10 h 19"/>
                <a:gd name="T48" fmla="*/ 15 w 16"/>
                <a:gd name="T49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" h="19">
                  <a:moveTo>
                    <a:pt x="15" y="7"/>
                  </a:moveTo>
                  <a:cubicBezTo>
                    <a:pt x="14" y="6"/>
                    <a:pt x="13" y="7"/>
                    <a:pt x="13" y="7"/>
                  </a:cubicBezTo>
                  <a:cubicBezTo>
                    <a:pt x="13" y="7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7"/>
                    <a:pt x="11" y="7"/>
                  </a:cubicBezTo>
                  <a:cubicBezTo>
                    <a:pt x="11" y="6"/>
                    <a:pt x="9" y="4"/>
                    <a:pt x="9" y="4"/>
                  </a:cubicBezTo>
                  <a:cubicBezTo>
                    <a:pt x="9" y="3"/>
                    <a:pt x="10" y="3"/>
                    <a:pt x="10" y="3"/>
                  </a:cubicBezTo>
                  <a:cubicBezTo>
                    <a:pt x="10" y="2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"/>
                    <a:pt x="4" y="4"/>
                    <a:pt x="4" y="4"/>
                  </a:cubicBezTo>
                  <a:cubicBezTo>
                    <a:pt x="5" y="4"/>
                    <a:pt x="6" y="5"/>
                    <a:pt x="6" y="5"/>
                  </a:cubicBezTo>
                  <a:cubicBezTo>
                    <a:pt x="6" y="5"/>
                    <a:pt x="7" y="7"/>
                    <a:pt x="7" y="7"/>
                  </a:cubicBezTo>
                  <a:cubicBezTo>
                    <a:pt x="7" y="7"/>
                    <a:pt x="8" y="7"/>
                    <a:pt x="8" y="8"/>
                  </a:cubicBezTo>
                  <a:cubicBezTo>
                    <a:pt x="8" y="8"/>
                    <a:pt x="8" y="10"/>
                    <a:pt x="8" y="11"/>
                  </a:cubicBezTo>
                  <a:cubicBezTo>
                    <a:pt x="7" y="12"/>
                    <a:pt x="5" y="11"/>
                    <a:pt x="5" y="11"/>
                  </a:cubicBezTo>
                  <a:cubicBezTo>
                    <a:pt x="6" y="12"/>
                    <a:pt x="6" y="14"/>
                    <a:pt x="6" y="15"/>
                  </a:cubicBezTo>
                  <a:cubicBezTo>
                    <a:pt x="6" y="16"/>
                    <a:pt x="4" y="17"/>
                    <a:pt x="3" y="18"/>
                  </a:cubicBezTo>
                  <a:cubicBezTo>
                    <a:pt x="3" y="18"/>
                    <a:pt x="1" y="17"/>
                    <a:pt x="0" y="17"/>
                  </a:cubicBezTo>
                  <a:cubicBezTo>
                    <a:pt x="0" y="18"/>
                    <a:pt x="0" y="18"/>
                    <a:pt x="1" y="18"/>
                  </a:cubicBezTo>
                  <a:cubicBezTo>
                    <a:pt x="1" y="18"/>
                    <a:pt x="3" y="19"/>
                    <a:pt x="4" y="19"/>
                  </a:cubicBezTo>
                  <a:cubicBezTo>
                    <a:pt x="4" y="19"/>
                    <a:pt x="8" y="18"/>
                    <a:pt x="10" y="16"/>
                  </a:cubicBezTo>
                  <a:cubicBezTo>
                    <a:pt x="11" y="14"/>
                    <a:pt x="12" y="13"/>
                    <a:pt x="12" y="13"/>
                  </a:cubicBezTo>
                  <a:cubicBezTo>
                    <a:pt x="12" y="13"/>
                    <a:pt x="13" y="13"/>
                    <a:pt x="13" y="13"/>
                  </a:cubicBezTo>
                  <a:cubicBezTo>
                    <a:pt x="14" y="13"/>
                    <a:pt x="15" y="10"/>
                    <a:pt x="15" y="10"/>
                  </a:cubicBezTo>
                  <a:cubicBezTo>
                    <a:pt x="15" y="10"/>
                    <a:pt x="16" y="7"/>
                    <a:pt x="15" y="7"/>
                  </a:cubicBezTo>
                  <a:close/>
                </a:path>
              </a:pathLst>
            </a:custGeom>
            <a:solidFill>
              <a:srgbClr val="EBB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68" name="组合 67"/>
          <p:cNvGrpSpPr/>
          <p:nvPr/>
        </p:nvGrpSpPr>
        <p:grpSpPr>
          <a:xfrm>
            <a:off x="503310" y="3169075"/>
            <a:ext cx="1432709" cy="2348620"/>
            <a:chOff x="3944938" y="3621088"/>
            <a:chExt cx="1778000" cy="2914651"/>
          </a:xfrm>
        </p:grpSpPr>
        <p:sp>
          <p:nvSpPr>
            <p:cNvPr id="69" name="Freeform 126"/>
            <p:cNvSpPr>
              <a:spLocks noEditPoints="1"/>
            </p:cNvSpPr>
            <p:nvPr/>
          </p:nvSpPr>
          <p:spPr bwMode="auto">
            <a:xfrm>
              <a:off x="4091361" y="3786494"/>
              <a:ext cx="1263651" cy="1381128"/>
            </a:xfrm>
            <a:custGeom>
              <a:avLst/>
              <a:gdLst>
                <a:gd name="T0" fmla="*/ 411 w 628"/>
                <a:gd name="T1" fmla="*/ 695 h 734"/>
                <a:gd name="T2" fmla="*/ 411 w 628"/>
                <a:gd name="T3" fmla="*/ 706 h 734"/>
                <a:gd name="T4" fmla="*/ 442 w 628"/>
                <a:gd name="T5" fmla="*/ 725 h 734"/>
                <a:gd name="T6" fmla="*/ 475 w 628"/>
                <a:gd name="T7" fmla="*/ 734 h 734"/>
                <a:gd name="T8" fmla="*/ 480 w 628"/>
                <a:gd name="T9" fmla="*/ 727 h 734"/>
                <a:gd name="T10" fmla="*/ 437 w 628"/>
                <a:gd name="T11" fmla="*/ 711 h 734"/>
                <a:gd name="T12" fmla="*/ 411 w 628"/>
                <a:gd name="T13" fmla="*/ 695 h 734"/>
                <a:gd name="T14" fmla="*/ 238 w 628"/>
                <a:gd name="T15" fmla="*/ 340 h 734"/>
                <a:gd name="T16" fmla="*/ 244 w 628"/>
                <a:gd name="T17" fmla="*/ 380 h 734"/>
                <a:gd name="T18" fmla="*/ 231 w 628"/>
                <a:gd name="T19" fmla="*/ 409 h 734"/>
                <a:gd name="T20" fmla="*/ 233 w 628"/>
                <a:gd name="T21" fmla="*/ 413 h 734"/>
                <a:gd name="T22" fmla="*/ 253 w 628"/>
                <a:gd name="T23" fmla="*/ 416 h 734"/>
                <a:gd name="T24" fmla="*/ 260 w 628"/>
                <a:gd name="T25" fmla="*/ 366 h 734"/>
                <a:gd name="T26" fmla="*/ 249 w 628"/>
                <a:gd name="T27" fmla="*/ 340 h 734"/>
                <a:gd name="T28" fmla="*/ 238 w 628"/>
                <a:gd name="T29" fmla="*/ 340 h 734"/>
                <a:gd name="T30" fmla="*/ 486 w 628"/>
                <a:gd name="T31" fmla="*/ 79 h 734"/>
                <a:gd name="T32" fmla="*/ 487 w 628"/>
                <a:gd name="T33" fmla="*/ 112 h 734"/>
                <a:gd name="T34" fmla="*/ 542 w 628"/>
                <a:gd name="T35" fmla="*/ 58 h 734"/>
                <a:gd name="T36" fmla="*/ 609 w 628"/>
                <a:gd name="T37" fmla="*/ 17 h 734"/>
                <a:gd name="T38" fmla="*/ 628 w 628"/>
                <a:gd name="T39" fmla="*/ 14 h 734"/>
                <a:gd name="T40" fmla="*/ 625 w 628"/>
                <a:gd name="T41" fmla="*/ 3 h 734"/>
                <a:gd name="T42" fmla="*/ 600 w 628"/>
                <a:gd name="T43" fmla="*/ 6 h 734"/>
                <a:gd name="T44" fmla="*/ 546 w 628"/>
                <a:gd name="T45" fmla="*/ 25 h 734"/>
                <a:gd name="T46" fmla="*/ 512 w 628"/>
                <a:gd name="T47" fmla="*/ 50 h 734"/>
                <a:gd name="T48" fmla="*/ 486 w 628"/>
                <a:gd name="T49" fmla="*/ 79 h 734"/>
                <a:gd name="T50" fmla="*/ 0 w 628"/>
                <a:gd name="T51" fmla="*/ 285 h 734"/>
                <a:gd name="T52" fmla="*/ 18 w 628"/>
                <a:gd name="T53" fmla="*/ 312 h 734"/>
                <a:gd name="T54" fmla="*/ 24 w 628"/>
                <a:gd name="T55" fmla="*/ 326 h 734"/>
                <a:gd name="T56" fmla="*/ 28 w 628"/>
                <a:gd name="T57" fmla="*/ 316 h 734"/>
                <a:gd name="T58" fmla="*/ 6 w 628"/>
                <a:gd name="T59" fmla="*/ 258 h 734"/>
                <a:gd name="T60" fmla="*/ 0 w 628"/>
                <a:gd name="T61" fmla="*/ 285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28" h="734">
                  <a:moveTo>
                    <a:pt x="411" y="695"/>
                  </a:moveTo>
                  <a:cubicBezTo>
                    <a:pt x="411" y="706"/>
                    <a:pt x="411" y="706"/>
                    <a:pt x="411" y="706"/>
                  </a:cubicBezTo>
                  <a:cubicBezTo>
                    <a:pt x="411" y="706"/>
                    <a:pt x="424" y="716"/>
                    <a:pt x="442" y="725"/>
                  </a:cubicBezTo>
                  <a:cubicBezTo>
                    <a:pt x="460" y="734"/>
                    <a:pt x="470" y="734"/>
                    <a:pt x="475" y="734"/>
                  </a:cubicBezTo>
                  <a:cubicBezTo>
                    <a:pt x="479" y="733"/>
                    <a:pt x="480" y="727"/>
                    <a:pt x="480" y="727"/>
                  </a:cubicBezTo>
                  <a:cubicBezTo>
                    <a:pt x="480" y="727"/>
                    <a:pt x="461" y="725"/>
                    <a:pt x="437" y="711"/>
                  </a:cubicBezTo>
                  <a:cubicBezTo>
                    <a:pt x="412" y="698"/>
                    <a:pt x="411" y="695"/>
                    <a:pt x="411" y="695"/>
                  </a:cubicBezTo>
                  <a:close/>
                  <a:moveTo>
                    <a:pt x="238" y="340"/>
                  </a:moveTo>
                  <a:cubicBezTo>
                    <a:pt x="238" y="340"/>
                    <a:pt x="249" y="358"/>
                    <a:pt x="244" y="380"/>
                  </a:cubicBezTo>
                  <a:cubicBezTo>
                    <a:pt x="240" y="401"/>
                    <a:pt x="231" y="409"/>
                    <a:pt x="231" y="409"/>
                  </a:cubicBezTo>
                  <a:cubicBezTo>
                    <a:pt x="233" y="413"/>
                    <a:pt x="233" y="413"/>
                    <a:pt x="233" y="413"/>
                  </a:cubicBezTo>
                  <a:cubicBezTo>
                    <a:pt x="253" y="416"/>
                    <a:pt x="253" y="416"/>
                    <a:pt x="253" y="416"/>
                  </a:cubicBezTo>
                  <a:cubicBezTo>
                    <a:pt x="253" y="416"/>
                    <a:pt x="264" y="391"/>
                    <a:pt x="260" y="366"/>
                  </a:cubicBezTo>
                  <a:cubicBezTo>
                    <a:pt x="255" y="341"/>
                    <a:pt x="249" y="340"/>
                    <a:pt x="249" y="340"/>
                  </a:cubicBezTo>
                  <a:cubicBezTo>
                    <a:pt x="238" y="340"/>
                    <a:pt x="238" y="340"/>
                    <a:pt x="238" y="340"/>
                  </a:cubicBezTo>
                  <a:close/>
                  <a:moveTo>
                    <a:pt x="486" y="79"/>
                  </a:moveTo>
                  <a:cubicBezTo>
                    <a:pt x="487" y="112"/>
                    <a:pt x="487" y="112"/>
                    <a:pt x="487" y="112"/>
                  </a:cubicBezTo>
                  <a:cubicBezTo>
                    <a:pt x="487" y="112"/>
                    <a:pt x="515" y="78"/>
                    <a:pt x="542" y="58"/>
                  </a:cubicBezTo>
                  <a:cubicBezTo>
                    <a:pt x="570" y="38"/>
                    <a:pt x="590" y="20"/>
                    <a:pt x="609" y="17"/>
                  </a:cubicBezTo>
                  <a:cubicBezTo>
                    <a:pt x="628" y="14"/>
                    <a:pt x="628" y="14"/>
                    <a:pt x="628" y="14"/>
                  </a:cubicBezTo>
                  <a:cubicBezTo>
                    <a:pt x="625" y="3"/>
                    <a:pt x="625" y="3"/>
                    <a:pt x="625" y="3"/>
                  </a:cubicBezTo>
                  <a:cubicBezTo>
                    <a:pt x="625" y="3"/>
                    <a:pt x="622" y="0"/>
                    <a:pt x="600" y="6"/>
                  </a:cubicBezTo>
                  <a:cubicBezTo>
                    <a:pt x="578" y="12"/>
                    <a:pt x="560" y="15"/>
                    <a:pt x="546" y="25"/>
                  </a:cubicBezTo>
                  <a:cubicBezTo>
                    <a:pt x="532" y="34"/>
                    <a:pt x="530" y="32"/>
                    <a:pt x="512" y="50"/>
                  </a:cubicBezTo>
                  <a:cubicBezTo>
                    <a:pt x="493" y="69"/>
                    <a:pt x="486" y="79"/>
                    <a:pt x="486" y="79"/>
                  </a:cubicBezTo>
                  <a:close/>
                  <a:moveTo>
                    <a:pt x="0" y="285"/>
                  </a:moveTo>
                  <a:cubicBezTo>
                    <a:pt x="0" y="285"/>
                    <a:pt x="14" y="306"/>
                    <a:pt x="18" y="312"/>
                  </a:cubicBezTo>
                  <a:cubicBezTo>
                    <a:pt x="22" y="318"/>
                    <a:pt x="24" y="326"/>
                    <a:pt x="24" y="326"/>
                  </a:cubicBezTo>
                  <a:cubicBezTo>
                    <a:pt x="28" y="316"/>
                    <a:pt x="28" y="316"/>
                    <a:pt x="28" y="316"/>
                  </a:cubicBezTo>
                  <a:cubicBezTo>
                    <a:pt x="6" y="258"/>
                    <a:pt x="6" y="258"/>
                    <a:pt x="6" y="258"/>
                  </a:cubicBezTo>
                  <a:lnTo>
                    <a:pt x="0" y="2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0" name="AutoShape 266"/>
            <p:cNvSpPr>
              <a:spLocks noChangeAspect="1" noChangeArrowheads="1" noTextEdit="1"/>
            </p:cNvSpPr>
            <p:nvPr/>
          </p:nvSpPr>
          <p:spPr bwMode="auto">
            <a:xfrm>
              <a:off x="3944938" y="3656013"/>
              <a:ext cx="1778000" cy="2844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1" name="Freeform 268"/>
            <p:cNvSpPr/>
            <p:nvPr/>
          </p:nvSpPr>
          <p:spPr bwMode="auto">
            <a:xfrm>
              <a:off x="4362451" y="4000501"/>
              <a:ext cx="244475" cy="171450"/>
            </a:xfrm>
            <a:custGeom>
              <a:avLst/>
              <a:gdLst>
                <a:gd name="T0" fmla="*/ 14 w 14"/>
                <a:gd name="T1" fmla="*/ 5 h 10"/>
                <a:gd name="T2" fmla="*/ 12 w 14"/>
                <a:gd name="T3" fmla="*/ 2 h 10"/>
                <a:gd name="T4" fmla="*/ 0 w 14"/>
                <a:gd name="T5" fmla="*/ 1 h 10"/>
                <a:gd name="T6" fmla="*/ 3 w 14"/>
                <a:gd name="T7" fmla="*/ 9 h 10"/>
                <a:gd name="T8" fmla="*/ 14 w 14"/>
                <a:gd name="T9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0">
                  <a:moveTo>
                    <a:pt x="14" y="5"/>
                  </a:move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" y="0"/>
                    <a:pt x="0" y="1"/>
                  </a:cubicBezTo>
                  <a:cubicBezTo>
                    <a:pt x="0" y="1"/>
                    <a:pt x="1" y="9"/>
                    <a:pt x="3" y="9"/>
                  </a:cubicBezTo>
                  <a:cubicBezTo>
                    <a:pt x="5" y="10"/>
                    <a:pt x="13" y="5"/>
                    <a:pt x="14" y="5"/>
                  </a:cubicBezTo>
                  <a:close/>
                </a:path>
              </a:pathLst>
            </a:custGeom>
            <a:solidFill>
              <a:srgbClr val="F2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2" name="Freeform 269"/>
            <p:cNvSpPr/>
            <p:nvPr/>
          </p:nvSpPr>
          <p:spPr bwMode="auto">
            <a:xfrm>
              <a:off x="5443538" y="4033838"/>
              <a:ext cx="260350" cy="293688"/>
            </a:xfrm>
            <a:custGeom>
              <a:avLst/>
              <a:gdLst>
                <a:gd name="T0" fmla="*/ 1 w 15"/>
                <a:gd name="T1" fmla="*/ 16 h 17"/>
                <a:gd name="T2" fmla="*/ 4 w 15"/>
                <a:gd name="T3" fmla="*/ 17 h 17"/>
                <a:gd name="T4" fmla="*/ 10 w 15"/>
                <a:gd name="T5" fmla="*/ 13 h 17"/>
                <a:gd name="T6" fmla="*/ 11 w 15"/>
                <a:gd name="T7" fmla="*/ 10 h 17"/>
                <a:gd name="T8" fmla="*/ 13 w 15"/>
                <a:gd name="T9" fmla="*/ 6 h 17"/>
                <a:gd name="T10" fmla="*/ 12 w 15"/>
                <a:gd name="T11" fmla="*/ 7 h 17"/>
                <a:gd name="T12" fmla="*/ 13 w 15"/>
                <a:gd name="T13" fmla="*/ 5 h 17"/>
                <a:gd name="T14" fmla="*/ 15 w 15"/>
                <a:gd name="T15" fmla="*/ 1 h 17"/>
                <a:gd name="T16" fmla="*/ 13 w 15"/>
                <a:gd name="T17" fmla="*/ 1 h 17"/>
                <a:gd name="T18" fmla="*/ 13 w 15"/>
                <a:gd name="T19" fmla="*/ 1 h 17"/>
                <a:gd name="T20" fmla="*/ 10 w 15"/>
                <a:gd name="T21" fmla="*/ 3 h 17"/>
                <a:gd name="T22" fmla="*/ 7 w 15"/>
                <a:gd name="T23" fmla="*/ 8 h 17"/>
                <a:gd name="T24" fmla="*/ 3 w 15"/>
                <a:gd name="T25" fmla="*/ 11 h 17"/>
                <a:gd name="T26" fmla="*/ 0 w 15"/>
                <a:gd name="T27" fmla="*/ 12 h 17"/>
                <a:gd name="T28" fmla="*/ 1 w 15"/>
                <a:gd name="T2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17">
                  <a:moveTo>
                    <a:pt x="1" y="16"/>
                  </a:moveTo>
                  <a:cubicBezTo>
                    <a:pt x="1" y="16"/>
                    <a:pt x="3" y="17"/>
                    <a:pt x="4" y="17"/>
                  </a:cubicBezTo>
                  <a:cubicBezTo>
                    <a:pt x="5" y="16"/>
                    <a:pt x="10" y="13"/>
                    <a:pt x="10" y="13"/>
                  </a:cubicBezTo>
                  <a:cubicBezTo>
                    <a:pt x="10" y="13"/>
                    <a:pt x="10" y="11"/>
                    <a:pt x="11" y="10"/>
                  </a:cubicBezTo>
                  <a:cubicBezTo>
                    <a:pt x="12" y="9"/>
                    <a:pt x="14" y="7"/>
                    <a:pt x="13" y="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6"/>
                    <a:pt x="13" y="5"/>
                  </a:cubicBezTo>
                  <a:cubicBezTo>
                    <a:pt x="13" y="5"/>
                    <a:pt x="15" y="2"/>
                    <a:pt x="15" y="1"/>
                  </a:cubicBezTo>
                  <a:cubicBezTo>
                    <a:pt x="15" y="0"/>
                    <a:pt x="14" y="1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2" y="2"/>
                    <a:pt x="10" y="3"/>
                    <a:pt x="10" y="3"/>
                  </a:cubicBezTo>
                  <a:cubicBezTo>
                    <a:pt x="9" y="5"/>
                    <a:pt x="8" y="7"/>
                    <a:pt x="7" y="8"/>
                  </a:cubicBezTo>
                  <a:cubicBezTo>
                    <a:pt x="7" y="8"/>
                    <a:pt x="5" y="9"/>
                    <a:pt x="3" y="11"/>
                  </a:cubicBezTo>
                  <a:cubicBezTo>
                    <a:pt x="1" y="13"/>
                    <a:pt x="0" y="12"/>
                    <a:pt x="0" y="12"/>
                  </a:cubicBezTo>
                  <a:cubicBezTo>
                    <a:pt x="0" y="12"/>
                    <a:pt x="0" y="15"/>
                    <a:pt x="1" y="16"/>
                  </a:cubicBezTo>
                  <a:close/>
                </a:path>
              </a:pathLst>
            </a:custGeom>
            <a:solidFill>
              <a:srgbClr val="F1B1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3" name="Freeform 270"/>
            <p:cNvSpPr/>
            <p:nvPr/>
          </p:nvSpPr>
          <p:spPr bwMode="auto">
            <a:xfrm>
              <a:off x="5461001" y="4051301"/>
              <a:ext cx="242888" cy="276225"/>
            </a:xfrm>
            <a:custGeom>
              <a:avLst/>
              <a:gdLst>
                <a:gd name="T0" fmla="*/ 14 w 14"/>
                <a:gd name="T1" fmla="*/ 0 h 16"/>
                <a:gd name="T2" fmla="*/ 13 w 14"/>
                <a:gd name="T3" fmla="*/ 0 h 16"/>
                <a:gd name="T4" fmla="*/ 11 w 14"/>
                <a:gd name="T5" fmla="*/ 4 h 16"/>
                <a:gd name="T6" fmla="*/ 10 w 14"/>
                <a:gd name="T7" fmla="*/ 7 h 16"/>
                <a:gd name="T8" fmla="*/ 11 w 14"/>
                <a:gd name="T9" fmla="*/ 7 h 16"/>
                <a:gd name="T10" fmla="*/ 8 w 14"/>
                <a:gd name="T11" fmla="*/ 11 h 16"/>
                <a:gd name="T12" fmla="*/ 3 w 14"/>
                <a:gd name="T13" fmla="*/ 14 h 16"/>
                <a:gd name="T14" fmla="*/ 0 w 14"/>
                <a:gd name="T15" fmla="*/ 13 h 16"/>
                <a:gd name="T16" fmla="*/ 0 w 14"/>
                <a:gd name="T17" fmla="*/ 15 h 16"/>
                <a:gd name="T18" fmla="*/ 0 w 14"/>
                <a:gd name="T19" fmla="*/ 15 h 16"/>
                <a:gd name="T20" fmla="*/ 3 w 14"/>
                <a:gd name="T21" fmla="*/ 16 h 16"/>
                <a:gd name="T22" fmla="*/ 9 w 14"/>
                <a:gd name="T23" fmla="*/ 12 h 16"/>
                <a:gd name="T24" fmla="*/ 10 w 14"/>
                <a:gd name="T25" fmla="*/ 9 h 16"/>
                <a:gd name="T26" fmla="*/ 12 w 14"/>
                <a:gd name="T27" fmla="*/ 5 h 16"/>
                <a:gd name="T28" fmla="*/ 11 w 14"/>
                <a:gd name="T29" fmla="*/ 6 h 16"/>
                <a:gd name="T30" fmla="*/ 12 w 14"/>
                <a:gd name="T31" fmla="*/ 4 h 16"/>
                <a:gd name="T32" fmla="*/ 14 w 14"/>
                <a:gd name="T3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" h="16">
                  <a:moveTo>
                    <a:pt x="14" y="0"/>
                  </a:moveTo>
                  <a:cubicBezTo>
                    <a:pt x="14" y="0"/>
                    <a:pt x="14" y="0"/>
                    <a:pt x="13" y="0"/>
                  </a:cubicBezTo>
                  <a:cubicBezTo>
                    <a:pt x="14" y="1"/>
                    <a:pt x="11" y="4"/>
                    <a:pt x="11" y="4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1" y="6"/>
                    <a:pt x="11" y="7"/>
                  </a:cubicBezTo>
                  <a:cubicBezTo>
                    <a:pt x="10" y="8"/>
                    <a:pt x="8" y="11"/>
                    <a:pt x="8" y="11"/>
                  </a:cubicBezTo>
                  <a:cubicBezTo>
                    <a:pt x="8" y="11"/>
                    <a:pt x="6" y="13"/>
                    <a:pt x="3" y="14"/>
                  </a:cubicBezTo>
                  <a:cubicBezTo>
                    <a:pt x="1" y="16"/>
                    <a:pt x="0" y="13"/>
                    <a:pt x="0" y="1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2" y="16"/>
                    <a:pt x="3" y="16"/>
                  </a:cubicBezTo>
                  <a:cubicBezTo>
                    <a:pt x="4" y="15"/>
                    <a:pt x="9" y="12"/>
                    <a:pt x="9" y="12"/>
                  </a:cubicBezTo>
                  <a:cubicBezTo>
                    <a:pt x="9" y="12"/>
                    <a:pt x="9" y="10"/>
                    <a:pt x="10" y="9"/>
                  </a:cubicBezTo>
                  <a:cubicBezTo>
                    <a:pt x="11" y="8"/>
                    <a:pt x="13" y="6"/>
                    <a:pt x="12" y="5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5"/>
                    <a:pt x="12" y="4"/>
                  </a:cubicBezTo>
                  <a:cubicBezTo>
                    <a:pt x="12" y="4"/>
                    <a:pt x="14" y="1"/>
                    <a:pt x="14" y="0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4" name="Freeform 271"/>
            <p:cNvSpPr/>
            <p:nvPr/>
          </p:nvSpPr>
          <p:spPr bwMode="auto">
            <a:xfrm>
              <a:off x="5600701" y="4138613"/>
              <a:ext cx="52388" cy="68263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2 w 3"/>
                <a:gd name="T5" fmla="*/ 0 h 4"/>
                <a:gd name="T6" fmla="*/ 0 w 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cubicBezTo>
                    <a:pt x="0" y="4"/>
                    <a:pt x="2" y="2"/>
                    <a:pt x="3" y="2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5" name="Freeform 272"/>
            <p:cNvSpPr/>
            <p:nvPr/>
          </p:nvSpPr>
          <p:spPr bwMode="auto">
            <a:xfrm>
              <a:off x="5600701" y="4068763"/>
              <a:ext cx="69850" cy="69850"/>
            </a:xfrm>
            <a:custGeom>
              <a:avLst/>
              <a:gdLst>
                <a:gd name="T0" fmla="*/ 0 w 4"/>
                <a:gd name="T1" fmla="*/ 4 h 4"/>
                <a:gd name="T2" fmla="*/ 2 w 4"/>
                <a:gd name="T3" fmla="*/ 2 h 4"/>
                <a:gd name="T4" fmla="*/ 4 w 4"/>
                <a:gd name="T5" fmla="*/ 0 h 4"/>
                <a:gd name="T6" fmla="*/ 2 w 4"/>
                <a:gd name="T7" fmla="*/ 2 h 4"/>
                <a:gd name="T8" fmla="*/ 0 w 4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cubicBezTo>
                    <a:pt x="0" y="4"/>
                    <a:pt x="1" y="3"/>
                    <a:pt x="2" y="2"/>
                  </a:cubicBezTo>
                  <a:cubicBezTo>
                    <a:pt x="2" y="2"/>
                    <a:pt x="4" y="0"/>
                    <a:pt x="4" y="0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6" name="Freeform 273"/>
            <p:cNvSpPr/>
            <p:nvPr/>
          </p:nvSpPr>
          <p:spPr bwMode="auto">
            <a:xfrm>
              <a:off x="5495926" y="4171951"/>
              <a:ext cx="69850" cy="155575"/>
            </a:xfrm>
            <a:custGeom>
              <a:avLst/>
              <a:gdLst>
                <a:gd name="T0" fmla="*/ 3 w 4"/>
                <a:gd name="T1" fmla="*/ 0 h 9"/>
                <a:gd name="T2" fmla="*/ 0 w 4"/>
                <a:gd name="T3" fmla="*/ 2 h 9"/>
                <a:gd name="T4" fmla="*/ 2 w 4"/>
                <a:gd name="T5" fmla="*/ 9 h 9"/>
                <a:gd name="T6" fmla="*/ 3 w 4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9">
                  <a:moveTo>
                    <a:pt x="3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4" y="4"/>
                    <a:pt x="3" y="0"/>
                  </a:cubicBezTo>
                  <a:close/>
                </a:path>
              </a:pathLst>
            </a:custGeom>
            <a:solidFill>
              <a:srgbClr val="BABA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7" name="Freeform 274"/>
            <p:cNvSpPr/>
            <p:nvPr/>
          </p:nvSpPr>
          <p:spPr bwMode="auto">
            <a:xfrm>
              <a:off x="4084638" y="4983163"/>
              <a:ext cx="139700" cy="206375"/>
            </a:xfrm>
            <a:custGeom>
              <a:avLst/>
              <a:gdLst>
                <a:gd name="T0" fmla="*/ 0 w 8"/>
                <a:gd name="T1" fmla="*/ 0 h 12"/>
                <a:gd name="T2" fmla="*/ 0 w 8"/>
                <a:gd name="T3" fmla="*/ 10 h 12"/>
                <a:gd name="T4" fmla="*/ 8 w 8"/>
                <a:gd name="T5" fmla="*/ 12 h 12"/>
                <a:gd name="T6" fmla="*/ 4 w 8"/>
                <a:gd name="T7" fmla="*/ 0 h 12"/>
                <a:gd name="T8" fmla="*/ 0 w 8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0" y="0"/>
                  </a:moveTo>
                  <a:cubicBezTo>
                    <a:pt x="0" y="0"/>
                    <a:pt x="0" y="9"/>
                    <a:pt x="0" y="10"/>
                  </a:cubicBezTo>
                  <a:cubicBezTo>
                    <a:pt x="1" y="11"/>
                    <a:pt x="8" y="12"/>
                    <a:pt x="8" y="12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8" name="Freeform 275"/>
            <p:cNvSpPr/>
            <p:nvPr/>
          </p:nvSpPr>
          <p:spPr bwMode="auto">
            <a:xfrm>
              <a:off x="4362451" y="3879851"/>
              <a:ext cx="209550" cy="258763"/>
            </a:xfrm>
            <a:custGeom>
              <a:avLst/>
              <a:gdLst>
                <a:gd name="T0" fmla="*/ 12 w 12"/>
                <a:gd name="T1" fmla="*/ 7 h 15"/>
                <a:gd name="T2" fmla="*/ 11 w 12"/>
                <a:gd name="T3" fmla="*/ 9 h 15"/>
                <a:gd name="T4" fmla="*/ 6 w 12"/>
                <a:gd name="T5" fmla="*/ 15 h 15"/>
                <a:gd name="T6" fmla="*/ 2 w 12"/>
                <a:gd name="T7" fmla="*/ 13 h 15"/>
                <a:gd name="T8" fmla="*/ 0 w 12"/>
                <a:gd name="T9" fmla="*/ 8 h 15"/>
                <a:gd name="T10" fmla="*/ 0 w 12"/>
                <a:gd name="T11" fmla="*/ 2 h 15"/>
                <a:gd name="T12" fmla="*/ 12 w 12"/>
                <a:gd name="T13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">
                  <a:moveTo>
                    <a:pt x="12" y="7"/>
                  </a:move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7" y="14"/>
                    <a:pt x="6" y="15"/>
                  </a:cubicBezTo>
                  <a:cubicBezTo>
                    <a:pt x="5" y="15"/>
                    <a:pt x="2" y="13"/>
                    <a:pt x="2" y="13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1" y="4"/>
                    <a:pt x="0" y="2"/>
                  </a:cubicBezTo>
                  <a:cubicBezTo>
                    <a:pt x="0" y="0"/>
                    <a:pt x="9" y="6"/>
                    <a:pt x="12" y="7"/>
                  </a:cubicBezTo>
                  <a:close/>
                </a:path>
              </a:pathLst>
            </a:custGeom>
            <a:solidFill>
              <a:srgbClr val="D081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79" name="Freeform 276"/>
            <p:cNvSpPr/>
            <p:nvPr/>
          </p:nvSpPr>
          <p:spPr bwMode="auto">
            <a:xfrm>
              <a:off x="4379913" y="3965576"/>
              <a:ext cx="157163" cy="173038"/>
            </a:xfrm>
            <a:custGeom>
              <a:avLst/>
              <a:gdLst>
                <a:gd name="T0" fmla="*/ 1 w 9"/>
                <a:gd name="T1" fmla="*/ 0 h 10"/>
                <a:gd name="T2" fmla="*/ 3 w 9"/>
                <a:gd name="T3" fmla="*/ 4 h 10"/>
                <a:gd name="T4" fmla="*/ 9 w 9"/>
                <a:gd name="T5" fmla="*/ 6 h 10"/>
                <a:gd name="T6" fmla="*/ 5 w 9"/>
                <a:gd name="T7" fmla="*/ 10 h 10"/>
                <a:gd name="T8" fmla="*/ 1 w 9"/>
                <a:gd name="T9" fmla="*/ 8 h 10"/>
                <a:gd name="T10" fmla="*/ 0 w 9"/>
                <a:gd name="T11" fmla="*/ 5 h 10"/>
                <a:gd name="T12" fmla="*/ 1 w 9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1" y="0"/>
                  </a:moveTo>
                  <a:cubicBezTo>
                    <a:pt x="1" y="0"/>
                    <a:pt x="3" y="3"/>
                    <a:pt x="3" y="4"/>
                  </a:cubicBezTo>
                  <a:cubicBezTo>
                    <a:pt x="4" y="5"/>
                    <a:pt x="7" y="6"/>
                    <a:pt x="9" y="6"/>
                  </a:cubicBezTo>
                  <a:cubicBezTo>
                    <a:pt x="7" y="8"/>
                    <a:pt x="6" y="9"/>
                    <a:pt x="5" y="10"/>
                  </a:cubicBezTo>
                  <a:cubicBezTo>
                    <a:pt x="4" y="10"/>
                    <a:pt x="1" y="8"/>
                    <a:pt x="1" y="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4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0" name="Freeform 277"/>
            <p:cNvSpPr/>
            <p:nvPr/>
          </p:nvSpPr>
          <p:spPr bwMode="auto">
            <a:xfrm>
              <a:off x="4310063" y="3621088"/>
              <a:ext cx="296863" cy="309563"/>
            </a:xfrm>
            <a:custGeom>
              <a:avLst/>
              <a:gdLst>
                <a:gd name="T0" fmla="*/ 16 w 17"/>
                <a:gd name="T1" fmla="*/ 6 h 18"/>
                <a:gd name="T2" fmla="*/ 17 w 17"/>
                <a:gd name="T3" fmla="*/ 4 h 18"/>
                <a:gd name="T4" fmla="*/ 13 w 17"/>
                <a:gd name="T5" fmla="*/ 1 h 18"/>
                <a:gd name="T6" fmla="*/ 6 w 17"/>
                <a:gd name="T7" fmla="*/ 1 h 18"/>
                <a:gd name="T8" fmla="*/ 1 w 17"/>
                <a:gd name="T9" fmla="*/ 5 h 18"/>
                <a:gd name="T10" fmla="*/ 0 w 17"/>
                <a:gd name="T11" fmla="*/ 10 h 18"/>
                <a:gd name="T12" fmla="*/ 2 w 17"/>
                <a:gd name="T13" fmla="*/ 16 h 18"/>
                <a:gd name="T14" fmla="*/ 16 w 17"/>
                <a:gd name="T15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8">
                  <a:moveTo>
                    <a:pt x="16" y="6"/>
                  </a:moveTo>
                  <a:cubicBezTo>
                    <a:pt x="16" y="6"/>
                    <a:pt x="17" y="5"/>
                    <a:pt x="17" y="4"/>
                  </a:cubicBezTo>
                  <a:cubicBezTo>
                    <a:pt x="17" y="4"/>
                    <a:pt x="15" y="1"/>
                    <a:pt x="13" y="1"/>
                  </a:cubicBezTo>
                  <a:cubicBezTo>
                    <a:pt x="11" y="0"/>
                    <a:pt x="6" y="1"/>
                    <a:pt x="6" y="1"/>
                  </a:cubicBezTo>
                  <a:cubicBezTo>
                    <a:pt x="6" y="1"/>
                    <a:pt x="2" y="3"/>
                    <a:pt x="1" y="5"/>
                  </a:cubicBezTo>
                  <a:cubicBezTo>
                    <a:pt x="0" y="8"/>
                    <a:pt x="0" y="10"/>
                    <a:pt x="0" y="10"/>
                  </a:cubicBezTo>
                  <a:cubicBezTo>
                    <a:pt x="0" y="10"/>
                    <a:pt x="0" y="14"/>
                    <a:pt x="2" y="16"/>
                  </a:cubicBezTo>
                  <a:cubicBezTo>
                    <a:pt x="2" y="16"/>
                    <a:pt x="7" y="18"/>
                    <a:pt x="16" y="6"/>
                  </a:cubicBez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1" name="Freeform 278"/>
            <p:cNvSpPr/>
            <p:nvPr/>
          </p:nvSpPr>
          <p:spPr bwMode="auto">
            <a:xfrm>
              <a:off x="4310063" y="3706813"/>
              <a:ext cx="331788" cy="327025"/>
            </a:xfrm>
            <a:custGeom>
              <a:avLst/>
              <a:gdLst>
                <a:gd name="T0" fmla="*/ 15 w 19"/>
                <a:gd name="T1" fmla="*/ 18 h 19"/>
                <a:gd name="T2" fmla="*/ 13 w 19"/>
                <a:gd name="T3" fmla="*/ 19 h 19"/>
                <a:gd name="T4" fmla="*/ 7 w 19"/>
                <a:gd name="T5" fmla="*/ 16 h 19"/>
                <a:gd name="T6" fmla="*/ 5 w 19"/>
                <a:gd name="T7" fmla="*/ 13 h 19"/>
                <a:gd name="T8" fmla="*/ 4 w 19"/>
                <a:gd name="T9" fmla="*/ 13 h 19"/>
                <a:gd name="T10" fmla="*/ 2 w 19"/>
                <a:gd name="T11" fmla="*/ 10 h 19"/>
                <a:gd name="T12" fmla="*/ 1 w 19"/>
                <a:gd name="T13" fmla="*/ 7 h 19"/>
                <a:gd name="T14" fmla="*/ 4 w 19"/>
                <a:gd name="T15" fmla="*/ 7 h 19"/>
                <a:gd name="T16" fmla="*/ 5 w 19"/>
                <a:gd name="T17" fmla="*/ 10 h 19"/>
                <a:gd name="T18" fmla="*/ 6 w 19"/>
                <a:gd name="T19" fmla="*/ 10 h 19"/>
                <a:gd name="T20" fmla="*/ 5 w 19"/>
                <a:gd name="T21" fmla="*/ 7 h 19"/>
                <a:gd name="T22" fmla="*/ 8 w 19"/>
                <a:gd name="T23" fmla="*/ 4 h 19"/>
                <a:gd name="T24" fmla="*/ 7 w 19"/>
                <a:gd name="T25" fmla="*/ 3 h 19"/>
                <a:gd name="T26" fmla="*/ 9 w 19"/>
                <a:gd name="T27" fmla="*/ 1 h 19"/>
                <a:gd name="T28" fmla="*/ 16 w 19"/>
                <a:gd name="T29" fmla="*/ 1 h 19"/>
                <a:gd name="T30" fmla="*/ 18 w 19"/>
                <a:gd name="T31" fmla="*/ 5 h 19"/>
                <a:gd name="T32" fmla="*/ 17 w 19"/>
                <a:gd name="T33" fmla="*/ 7 h 19"/>
                <a:gd name="T34" fmla="*/ 18 w 19"/>
                <a:gd name="T35" fmla="*/ 11 h 19"/>
                <a:gd name="T36" fmla="*/ 16 w 19"/>
                <a:gd name="T37" fmla="*/ 16 h 19"/>
                <a:gd name="T38" fmla="*/ 15 w 19"/>
                <a:gd name="T39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" h="19">
                  <a:moveTo>
                    <a:pt x="15" y="18"/>
                  </a:moveTo>
                  <a:cubicBezTo>
                    <a:pt x="15" y="18"/>
                    <a:pt x="13" y="19"/>
                    <a:pt x="13" y="19"/>
                  </a:cubicBezTo>
                  <a:cubicBezTo>
                    <a:pt x="12" y="19"/>
                    <a:pt x="9" y="18"/>
                    <a:pt x="7" y="16"/>
                  </a:cubicBezTo>
                  <a:cubicBezTo>
                    <a:pt x="5" y="14"/>
                    <a:pt x="5" y="13"/>
                    <a:pt x="5" y="13"/>
                  </a:cubicBezTo>
                  <a:cubicBezTo>
                    <a:pt x="5" y="13"/>
                    <a:pt x="4" y="13"/>
                    <a:pt x="4" y="13"/>
                  </a:cubicBezTo>
                  <a:cubicBezTo>
                    <a:pt x="3" y="13"/>
                    <a:pt x="2" y="11"/>
                    <a:pt x="2" y="10"/>
                  </a:cubicBezTo>
                  <a:cubicBezTo>
                    <a:pt x="1" y="10"/>
                    <a:pt x="0" y="8"/>
                    <a:pt x="1" y="7"/>
                  </a:cubicBezTo>
                  <a:cubicBezTo>
                    <a:pt x="2" y="6"/>
                    <a:pt x="4" y="7"/>
                    <a:pt x="4" y="7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5" y="8"/>
                    <a:pt x="5" y="7"/>
                  </a:cubicBezTo>
                  <a:cubicBezTo>
                    <a:pt x="6" y="7"/>
                    <a:pt x="8" y="4"/>
                    <a:pt x="8" y="4"/>
                  </a:cubicBezTo>
                  <a:cubicBezTo>
                    <a:pt x="8" y="4"/>
                    <a:pt x="7" y="3"/>
                    <a:pt x="7" y="3"/>
                  </a:cubicBezTo>
                  <a:cubicBezTo>
                    <a:pt x="7" y="3"/>
                    <a:pt x="9" y="1"/>
                    <a:pt x="9" y="1"/>
                  </a:cubicBezTo>
                  <a:cubicBezTo>
                    <a:pt x="10" y="0"/>
                    <a:pt x="14" y="0"/>
                    <a:pt x="16" y="1"/>
                  </a:cubicBezTo>
                  <a:cubicBezTo>
                    <a:pt x="16" y="1"/>
                    <a:pt x="18" y="3"/>
                    <a:pt x="18" y="5"/>
                  </a:cubicBezTo>
                  <a:cubicBezTo>
                    <a:pt x="18" y="5"/>
                    <a:pt x="18" y="6"/>
                    <a:pt x="17" y="7"/>
                  </a:cubicBezTo>
                  <a:cubicBezTo>
                    <a:pt x="17" y="7"/>
                    <a:pt x="19" y="8"/>
                    <a:pt x="18" y="11"/>
                  </a:cubicBezTo>
                  <a:cubicBezTo>
                    <a:pt x="18" y="13"/>
                    <a:pt x="17" y="15"/>
                    <a:pt x="16" y="16"/>
                  </a:cubicBezTo>
                  <a:cubicBezTo>
                    <a:pt x="16" y="17"/>
                    <a:pt x="16" y="18"/>
                    <a:pt x="15" y="18"/>
                  </a:cubicBezTo>
                  <a:close/>
                </a:path>
              </a:pathLst>
            </a:custGeom>
            <a:solidFill>
              <a:srgbClr val="F1B1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2" name="Freeform 279"/>
            <p:cNvSpPr/>
            <p:nvPr/>
          </p:nvSpPr>
          <p:spPr bwMode="auto">
            <a:xfrm>
              <a:off x="4310063" y="3706813"/>
              <a:ext cx="279400" cy="327025"/>
            </a:xfrm>
            <a:custGeom>
              <a:avLst/>
              <a:gdLst>
                <a:gd name="T0" fmla="*/ 1 w 16"/>
                <a:gd name="T1" fmla="*/ 7 h 19"/>
                <a:gd name="T2" fmla="*/ 4 w 16"/>
                <a:gd name="T3" fmla="*/ 7 h 19"/>
                <a:gd name="T4" fmla="*/ 5 w 16"/>
                <a:gd name="T5" fmla="*/ 10 h 19"/>
                <a:gd name="T6" fmla="*/ 6 w 16"/>
                <a:gd name="T7" fmla="*/ 10 h 19"/>
                <a:gd name="T8" fmla="*/ 5 w 16"/>
                <a:gd name="T9" fmla="*/ 7 h 19"/>
                <a:gd name="T10" fmla="*/ 8 w 16"/>
                <a:gd name="T11" fmla="*/ 4 h 19"/>
                <a:gd name="T12" fmla="*/ 7 w 16"/>
                <a:gd name="T13" fmla="*/ 3 h 19"/>
                <a:gd name="T14" fmla="*/ 9 w 16"/>
                <a:gd name="T15" fmla="*/ 1 h 19"/>
                <a:gd name="T16" fmla="*/ 10 w 16"/>
                <a:gd name="T17" fmla="*/ 0 h 19"/>
                <a:gd name="T18" fmla="*/ 12 w 16"/>
                <a:gd name="T19" fmla="*/ 5 h 19"/>
                <a:gd name="T20" fmla="*/ 10 w 16"/>
                <a:gd name="T21" fmla="*/ 6 h 19"/>
                <a:gd name="T22" fmla="*/ 10 w 16"/>
                <a:gd name="T23" fmla="*/ 7 h 19"/>
                <a:gd name="T24" fmla="*/ 8 w 16"/>
                <a:gd name="T25" fmla="*/ 8 h 19"/>
                <a:gd name="T26" fmla="*/ 9 w 16"/>
                <a:gd name="T27" fmla="*/ 11 h 19"/>
                <a:gd name="T28" fmla="*/ 11 w 16"/>
                <a:gd name="T29" fmla="*/ 11 h 19"/>
                <a:gd name="T30" fmla="*/ 11 w 16"/>
                <a:gd name="T31" fmla="*/ 15 h 19"/>
                <a:gd name="T32" fmla="*/ 13 w 16"/>
                <a:gd name="T33" fmla="*/ 18 h 19"/>
                <a:gd name="T34" fmla="*/ 16 w 16"/>
                <a:gd name="T35" fmla="*/ 17 h 19"/>
                <a:gd name="T36" fmla="*/ 15 w 16"/>
                <a:gd name="T37" fmla="*/ 18 h 19"/>
                <a:gd name="T38" fmla="*/ 13 w 16"/>
                <a:gd name="T39" fmla="*/ 19 h 19"/>
                <a:gd name="T40" fmla="*/ 7 w 16"/>
                <a:gd name="T41" fmla="*/ 16 h 19"/>
                <a:gd name="T42" fmla="*/ 5 w 16"/>
                <a:gd name="T43" fmla="*/ 13 h 19"/>
                <a:gd name="T44" fmla="*/ 4 w 16"/>
                <a:gd name="T45" fmla="*/ 13 h 19"/>
                <a:gd name="T46" fmla="*/ 2 w 16"/>
                <a:gd name="T47" fmla="*/ 10 h 19"/>
                <a:gd name="T48" fmla="*/ 1 w 16"/>
                <a:gd name="T49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" h="19">
                  <a:moveTo>
                    <a:pt x="1" y="7"/>
                  </a:moveTo>
                  <a:cubicBezTo>
                    <a:pt x="2" y="6"/>
                    <a:pt x="4" y="7"/>
                    <a:pt x="4" y="7"/>
                  </a:cubicBezTo>
                  <a:cubicBezTo>
                    <a:pt x="4" y="8"/>
                    <a:pt x="5" y="10"/>
                    <a:pt x="5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5" y="8"/>
                    <a:pt x="5" y="7"/>
                  </a:cubicBezTo>
                  <a:cubicBezTo>
                    <a:pt x="6" y="7"/>
                    <a:pt x="8" y="4"/>
                    <a:pt x="8" y="4"/>
                  </a:cubicBezTo>
                  <a:cubicBezTo>
                    <a:pt x="8" y="4"/>
                    <a:pt x="7" y="3"/>
                    <a:pt x="7" y="3"/>
                  </a:cubicBezTo>
                  <a:cubicBezTo>
                    <a:pt x="7" y="3"/>
                    <a:pt x="9" y="1"/>
                    <a:pt x="9" y="1"/>
                  </a:cubicBezTo>
                  <a:cubicBezTo>
                    <a:pt x="9" y="0"/>
                    <a:pt x="9" y="0"/>
                    <a:pt x="10" y="0"/>
                  </a:cubicBezTo>
                  <a:cubicBezTo>
                    <a:pt x="11" y="2"/>
                    <a:pt x="12" y="5"/>
                    <a:pt x="12" y="5"/>
                  </a:cubicBezTo>
                  <a:cubicBezTo>
                    <a:pt x="11" y="5"/>
                    <a:pt x="10" y="6"/>
                    <a:pt x="10" y="6"/>
                  </a:cubicBezTo>
                  <a:cubicBezTo>
                    <a:pt x="10" y="6"/>
                    <a:pt x="10" y="7"/>
                    <a:pt x="10" y="7"/>
                  </a:cubicBezTo>
                  <a:cubicBezTo>
                    <a:pt x="9" y="8"/>
                    <a:pt x="8" y="8"/>
                    <a:pt x="8" y="8"/>
                  </a:cubicBezTo>
                  <a:cubicBezTo>
                    <a:pt x="8" y="8"/>
                    <a:pt x="8" y="10"/>
                    <a:pt x="9" y="11"/>
                  </a:cubicBezTo>
                  <a:cubicBezTo>
                    <a:pt x="10" y="12"/>
                    <a:pt x="11" y="11"/>
                    <a:pt x="11" y="11"/>
                  </a:cubicBezTo>
                  <a:cubicBezTo>
                    <a:pt x="10" y="12"/>
                    <a:pt x="11" y="14"/>
                    <a:pt x="11" y="15"/>
                  </a:cubicBezTo>
                  <a:cubicBezTo>
                    <a:pt x="11" y="16"/>
                    <a:pt x="12" y="17"/>
                    <a:pt x="13" y="18"/>
                  </a:cubicBezTo>
                  <a:cubicBezTo>
                    <a:pt x="14" y="18"/>
                    <a:pt x="15" y="18"/>
                    <a:pt x="16" y="17"/>
                  </a:cubicBezTo>
                  <a:cubicBezTo>
                    <a:pt x="16" y="18"/>
                    <a:pt x="16" y="18"/>
                    <a:pt x="15" y="18"/>
                  </a:cubicBezTo>
                  <a:cubicBezTo>
                    <a:pt x="15" y="18"/>
                    <a:pt x="13" y="19"/>
                    <a:pt x="13" y="19"/>
                  </a:cubicBezTo>
                  <a:cubicBezTo>
                    <a:pt x="12" y="19"/>
                    <a:pt x="9" y="18"/>
                    <a:pt x="7" y="16"/>
                  </a:cubicBezTo>
                  <a:cubicBezTo>
                    <a:pt x="5" y="14"/>
                    <a:pt x="5" y="13"/>
                    <a:pt x="5" y="13"/>
                  </a:cubicBezTo>
                  <a:cubicBezTo>
                    <a:pt x="5" y="13"/>
                    <a:pt x="4" y="13"/>
                    <a:pt x="4" y="13"/>
                  </a:cubicBezTo>
                  <a:cubicBezTo>
                    <a:pt x="3" y="13"/>
                    <a:pt x="2" y="11"/>
                    <a:pt x="2" y="10"/>
                  </a:cubicBezTo>
                  <a:cubicBezTo>
                    <a:pt x="1" y="10"/>
                    <a:pt x="0" y="8"/>
                    <a:pt x="1" y="7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3" name="Freeform 280"/>
            <p:cNvSpPr/>
            <p:nvPr/>
          </p:nvSpPr>
          <p:spPr bwMode="auto">
            <a:xfrm>
              <a:off x="4154488" y="5776913"/>
              <a:ext cx="190500" cy="85725"/>
            </a:xfrm>
            <a:custGeom>
              <a:avLst/>
              <a:gdLst>
                <a:gd name="T0" fmla="*/ 5 w 11"/>
                <a:gd name="T1" fmla="*/ 5 h 5"/>
                <a:gd name="T2" fmla="*/ 6 w 11"/>
                <a:gd name="T3" fmla="*/ 0 h 5"/>
                <a:gd name="T4" fmla="*/ 5 w 11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5">
                  <a:moveTo>
                    <a:pt x="5" y="5"/>
                  </a:moveTo>
                  <a:cubicBezTo>
                    <a:pt x="10" y="5"/>
                    <a:pt x="11" y="0"/>
                    <a:pt x="6" y="0"/>
                  </a:cubicBezTo>
                  <a:cubicBezTo>
                    <a:pt x="2" y="0"/>
                    <a:pt x="0" y="5"/>
                    <a:pt x="5" y="5"/>
                  </a:cubicBez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4" name="Freeform 281"/>
            <p:cNvSpPr/>
            <p:nvPr/>
          </p:nvSpPr>
          <p:spPr bwMode="auto">
            <a:xfrm>
              <a:off x="4067176" y="6345238"/>
              <a:ext cx="225425" cy="190500"/>
            </a:xfrm>
            <a:custGeom>
              <a:avLst/>
              <a:gdLst>
                <a:gd name="T0" fmla="*/ 4 w 13"/>
                <a:gd name="T1" fmla="*/ 0 h 11"/>
                <a:gd name="T2" fmla="*/ 0 w 13"/>
                <a:gd name="T3" fmla="*/ 10 h 11"/>
                <a:gd name="T4" fmla="*/ 11 w 13"/>
                <a:gd name="T5" fmla="*/ 7 h 11"/>
                <a:gd name="T6" fmla="*/ 12 w 13"/>
                <a:gd name="T7" fmla="*/ 5 h 11"/>
                <a:gd name="T8" fmla="*/ 13 w 13"/>
                <a:gd name="T9" fmla="*/ 1 h 11"/>
                <a:gd name="T10" fmla="*/ 4 w 13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1">
                  <a:moveTo>
                    <a:pt x="4" y="0"/>
                  </a:moveTo>
                  <a:cubicBezTo>
                    <a:pt x="4" y="0"/>
                    <a:pt x="0" y="6"/>
                    <a:pt x="0" y="10"/>
                  </a:cubicBezTo>
                  <a:cubicBezTo>
                    <a:pt x="0" y="10"/>
                    <a:pt x="11" y="11"/>
                    <a:pt x="11" y="7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3" y="7"/>
                    <a:pt x="13" y="1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5" name="Freeform 282"/>
            <p:cNvSpPr/>
            <p:nvPr/>
          </p:nvSpPr>
          <p:spPr bwMode="auto">
            <a:xfrm>
              <a:off x="4676776" y="6311901"/>
              <a:ext cx="261938" cy="223838"/>
            </a:xfrm>
            <a:custGeom>
              <a:avLst/>
              <a:gdLst>
                <a:gd name="T0" fmla="*/ 1 w 15"/>
                <a:gd name="T1" fmla="*/ 2 h 13"/>
                <a:gd name="T2" fmla="*/ 1 w 15"/>
                <a:gd name="T3" fmla="*/ 7 h 13"/>
                <a:gd name="T4" fmla="*/ 5 w 15"/>
                <a:gd name="T5" fmla="*/ 9 h 13"/>
                <a:gd name="T6" fmla="*/ 6 w 15"/>
                <a:gd name="T7" fmla="*/ 12 h 13"/>
                <a:gd name="T8" fmla="*/ 5 w 15"/>
                <a:gd name="T9" fmla="*/ 11 h 13"/>
                <a:gd name="T10" fmla="*/ 15 w 15"/>
                <a:gd name="T11" fmla="*/ 12 h 13"/>
                <a:gd name="T12" fmla="*/ 15 w 15"/>
                <a:gd name="T13" fmla="*/ 10 h 13"/>
                <a:gd name="T14" fmla="*/ 10 w 15"/>
                <a:gd name="T15" fmla="*/ 2 h 13"/>
                <a:gd name="T16" fmla="*/ 1 w 15"/>
                <a:gd name="T17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3">
                  <a:moveTo>
                    <a:pt x="1" y="2"/>
                  </a:moveTo>
                  <a:cubicBezTo>
                    <a:pt x="1" y="2"/>
                    <a:pt x="0" y="6"/>
                    <a:pt x="1" y="7"/>
                  </a:cubicBezTo>
                  <a:cubicBezTo>
                    <a:pt x="1" y="7"/>
                    <a:pt x="3" y="9"/>
                    <a:pt x="5" y="9"/>
                  </a:cubicBezTo>
                  <a:cubicBezTo>
                    <a:pt x="5" y="9"/>
                    <a:pt x="5" y="11"/>
                    <a:pt x="6" y="12"/>
                  </a:cubicBezTo>
                  <a:cubicBezTo>
                    <a:pt x="6" y="12"/>
                    <a:pt x="5" y="11"/>
                    <a:pt x="5" y="11"/>
                  </a:cubicBezTo>
                  <a:cubicBezTo>
                    <a:pt x="5" y="11"/>
                    <a:pt x="13" y="13"/>
                    <a:pt x="15" y="12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1" y="5"/>
                    <a:pt x="10" y="2"/>
                  </a:cubicBezTo>
                  <a:cubicBezTo>
                    <a:pt x="9" y="0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6" name="Freeform 283"/>
            <p:cNvSpPr/>
            <p:nvPr/>
          </p:nvSpPr>
          <p:spPr bwMode="auto">
            <a:xfrm>
              <a:off x="4084638" y="4810126"/>
              <a:ext cx="819150" cy="1622425"/>
            </a:xfrm>
            <a:custGeom>
              <a:avLst/>
              <a:gdLst>
                <a:gd name="T0" fmla="*/ 3 w 47"/>
                <a:gd name="T1" fmla="*/ 90 h 94"/>
                <a:gd name="T2" fmla="*/ 13 w 47"/>
                <a:gd name="T3" fmla="*/ 89 h 94"/>
                <a:gd name="T4" fmla="*/ 12 w 47"/>
                <a:gd name="T5" fmla="*/ 79 h 94"/>
                <a:gd name="T6" fmla="*/ 17 w 47"/>
                <a:gd name="T7" fmla="*/ 48 h 94"/>
                <a:gd name="T8" fmla="*/ 23 w 47"/>
                <a:gd name="T9" fmla="*/ 27 h 94"/>
                <a:gd name="T10" fmla="*/ 24 w 47"/>
                <a:gd name="T11" fmla="*/ 30 h 94"/>
                <a:gd name="T12" fmla="*/ 35 w 47"/>
                <a:gd name="T13" fmla="*/ 89 h 94"/>
                <a:gd name="T14" fmla="*/ 45 w 47"/>
                <a:gd name="T15" fmla="*/ 91 h 94"/>
                <a:gd name="T16" fmla="*/ 45 w 47"/>
                <a:gd name="T17" fmla="*/ 82 h 94"/>
                <a:gd name="T18" fmla="*/ 44 w 47"/>
                <a:gd name="T19" fmla="*/ 66 h 94"/>
                <a:gd name="T20" fmla="*/ 43 w 47"/>
                <a:gd name="T21" fmla="*/ 44 h 94"/>
                <a:gd name="T22" fmla="*/ 42 w 47"/>
                <a:gd name="T23" fmla="*/ 18 h 94"/>
                <a:gd name="T24" fmla="*/ 42 w 47"/>
                <a:gd name="T25" fmla="*/ 15 h 94"/>
                <a:gd name="T26" fmla="*/ 39 w 47"/>
                <a:gd name="T27" fmla="*/ 9 h 94"/>
                <a:gd name="T28" fmla="*/ 39 w 47"/>
                <a:gd name="T29" fmla="*/ 2 h 94"/>
                <a:gd name="T30" fmla="*/ 22 w 47"/>
                <a:gd name="T31" fmla="*/ 4 h 94"/>
                <a:gd name="T32" fmla="*/ 11 w 47"/>
                <a:gd name="T33" fmla="*/ 0 h 94"/>
                <a:gd name="T34" fmla="*/ 10 w 47"/>
                <a:gd name="T35" fmla="*/ 4 h 94"/>
                <a:gd name="T36" fmla="*/ 3 w 47"/>
                <a:gd name="T37" fmla="*/ 13 h 94"/>
                <a:gd name="T38" fmla="*/ 5 w 47"/>
                <a:gd name="T39" fmla="*/ 18 h 94"/>
                <a:gd name="T40" fmla="*/ 5 w 47"/>
                <a:gd name="T41" fmla="*/ 41 h 94"/>
                <a:gd name="T42" fmla="*/ 3 w 47"/>
                <a:gd name="T43" fmla="*/ 70 h 94"/>
                <a:gd name="T44" fmla="*/ 1 w 47"/>
                <a:gd name="T45" fmla="*/ 83 h 94"/>
                <a:gd name="T46" fmla="*/ 3 w 47"/>
                <a:gd name="T47" fmla="*/ 9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94">
                  <a:moveTo>
                    <a:pt x="3" y="90"/>
                  </a:moveTo>
                  <a:cubicBezTo>
                    <a:pt x="3" y="90"/>
                    <a:pt x="12" y="92"/>
                    <a:pt x="13" y="89"/>
                  </a:cubicBezTo>
                  <a:cubicBezTo>
                    <a:pt x="14" y="86"/>
                    <a:pt x="12" y="79"/>
                    <a:pt x="12" y="79"/>
                  </a:cubicBezTo>
                  <a:cubicBezTo>
                    <a:pt x="12" y="79"/>
                    <a:pt x="17" y="49"/>
                    <a:pt x="17" y="48"/>
                  </a:cubicBezTo>
                  <a:cubicBezTo>
                    <a:pt x="18" y="48"/>
                    <a:pt x="21" y="36"/>
                    <a:pt x="23" y="27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30"/>
                    <a:pt x="29" y="83"/>
                    <a:pt x="35" y="89"/>
                  </a:cubicBezTo>
                  <a:cubicBezTo>
                    <a:pt x="35" y="89"/>
                    <a:pt x="41" y="94"/>
                    <a:pt x="45" y="91"/>
                  </a:cubicBezTo>
                  <a:cubicBezTo>
                    <a:pt x="45" y="91"/>
                    <a:pt x="47" y="89"/>
                    <a:pt x="45" y="82"/>
                  </a:cubicBezTo>
                  <a:cubicBezTo>
                    <a:pt x="45" y="82"/>
                    <a:pt x="46" y="71"/>
                    <a:pt x="44" y="66"/>
                  </a:cubicBezTo>
                  <a:cubicBezTo>
                    <a:pt x="44" y="66"/>
                    <a:pt x="43" y="48"/>
                    <a:pt x="43" y="44"/>
                  </a:cubicBezTo>
                  <a:cubicBezTo>
                    <a:pt x="43" y="40"/>
                    <a:pt x="41" y="21"/>
                    <a:pt x="42" y="18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9" y="2"/>
                    <a:pt x="28" y="5"/>
                    <a:pt x="22" y="4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4" y="11"/>
                    <a:pt x="3" y="13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3" y="36"/>
                    <a:pt x="5" y="41"/>
                  </a:cubicBezTo>
                  <a:cubicBezTo>
                    <a:pt x="5" y="41"/>
                    <a:pt x="2" y="65"/>
                    <a:pt x="3" y="70"/>
                  </a:cubicBezTo>
                  <a:cubicBezTo>
                    <a:pt x="3" y="70"/>
                    <a:pt x="0" y="81"/>
                    <a:pt x="1" y="83"/>
                  </a:cubicBezTo>
                  <a:cubicBezTo>
                    <a:pt x="2" y="86"/>
                    <a:pt x="3" y="90"/>
                    <a:pt x="3" y="90"/>
                  </a:cubicBez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7" name="Rectangle 284"/>
            <p:cNvSpPr>
              <a:spLocks noChangeArrowheads="1"/>
            </p:cNvSpPr>
            <p:nvPr/>
          </p:nvSpPr>
          <p:spPr bwMode="auto">
            <a:xfrm>
              <a:off x="4606926" y="5053013"/>
              <a:ext cx="1588" cy="158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8" name="Freeform 285"/>
            <p:cNvSpPr/>
            <p:nvPr/>
          </p:nvSpPr>
          <p:spPr bwMode="auto">
            <a:xfrm>
              <a:off x="4711701" y="5121276"/>
              <a:ext cx="17463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89" name="Freeform 286"/>
            <p:cNvSpPr/>
            <p:nvPr/>
          </p:nvSpPr>
          <p:spPr bwMode="auto">
            <a:xfrm>
              <a:off x="4711701" y="5241926"/>
              <a:ext cx="17463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0" name="Freeform 287"/>
            <p:cNvSpPr/>
            <p:nvPr/>
          </p:nvSpPr>
          <p:spPr bwMode="auto">
            <a:xfrm>
              <a:off x="4137026" y="4948238"/>
              <a:ext cx="679450" cy="1449388"/>
            </a:xfrm>
            <a:custGeom>
              <a:avLst/>
              <a:gdLst>
                <a:gd name="T0" fmla="*/ 39 w 39"/>
                <a:gd name="T1" fmla="*/ 84 h 84"/>
                <a:gd name="T2" fmla="*/ 37 w 39"/>
                <a:gd name="T3" fmla="*/ 74 h 84"/>
                <a:gd name="T4" fmla="*/ 35 w 39"/>
                <a:gd name="T5" fmla="*/ 66 h 84"/>
                <a:gd name="T6" fmla="*/ 39 w 39"/>
                <a:gd name="T7" fmla="*/ 54 h 84"/>
                <a:gd name="T8" fmla="*/ 34 w 39"/>
                <a:gd name="T9" fmla="*/ 58 h 84"/>
                <a:gd name="T10" fmla="*/ 34 w 39"/>
                <a:gd name="T11" fmla="*/ 51 h 84"/>
                <a:gd name="T12" fmla="*/ 32 w 39"/>
                <a:gd name="T13" fmla="*/ 32 h 84"/>
                <a:gd name="T14" fmla="*/ 32 w 39"/>
                <a:gd name="T15" fmla="*/ 44 h 84"/>
                <a:gd name="T16" fmla="*/ 27 w 39"/>
                <a:gd name="T17" fmla="*/ 25 h 84"/>
                <a:gd name="T18" fmla="*/ 33 w 39"/>
                <a:gd name="T19" fmla="*/ 17 h 84"/>
                <a:gd name="T20" fmla="*/ 24 w 39"/>
                <a:gd name="T21" fmla="*/ 17 h 84"/>
                <a:gd name="T22" fmla="*/ 33 w 39"/>
                <a:gd name="T23" fmla="*/ 10 h 84"/>
                <a:gd name="T24" fmla="*/ 23 w 39"/>
                <a:gd name="T25" fmla="*/ 14 h 84"/>
                <a:gd name="T26" fmla="*/ 27 w 39"/>
                <a:gd name="T27" fmla="*/ 6 h 84"/>
                <a:gd name="T28" fmla="*/ 18 w 39"/>
                <a:gd name="T29" fmla="*/ 8 h 84"/>
                <a:gd name="T30" fmla="*/ 10 w 39"/>
                <a:gd name="T31" fmla="*/ 0 h 84"/>
                <a:gd name="T32" fmla="*/ 13 w 39"/>
                <a:gd name="T33" fmla="*/ 11 h 84"/>
                <a:gd name="T34" fmla="*/ 7 w 39"/>
                <a:gd name="T35" fmla="*/ 7 h 84"/>
                <a:gd name="T36" fmla="*/ 3 w 39"/>
                <a:gd name="T37" fmla="*/ 1 h 84"/>
                <a:gd name="T38" fmla="*/ 0 w 39"/>
                <a:gd name="T39" fmla="*/ 5 h 84"/>
                <a:gd name="T40" fmla="*/ 1 w 39"/>
                <a:gd name="T41" fmla="*/ 7 h 84"/>
                <a:gd name="T42" fmla="*/ 16 w 39"/>
                <a:gd name="T43" fmla="*/ 17 h 84"/>
                <a:gd name="T44" fmla="*/ 5 w 39"/>
                <a:gd name="T45" fmla="*/ 15 h 84"/>
                <a:gd name="T46" fmla="*/ 13 w 39"/>
                <a:gd name="T47" fmla="*/ 20 h 84"/>
                <a:gd name="T48" fmla="*/ 9 w 39"/>
                <a:gd name="T49" fmla="*/ 34 h 84"/>
                <a:gd name="T50" fmla="*/ 9 w 39"/>
                <a:gd name="T51" fmla="*/ 50 h 84"/>
                <a:gd name="T52" fmla="*/ 5 w 39"/>
                <a:gd name="T53" fmla="*/ 40 h 84"/>
                <a:gd name="T54" fmla="*/ 4 w 39"/>
                <a:gd name="T55" fmla="*/ 58 h 84"/>
                <a:gd name="T56" fmla="*/ 7 w 39"/>
                <a:gd name="T57" fmla="*/ 73 h 84"/>
                <a:gd name="T58" fmla="*/ 2 w 39"/>
                <a:gd name="T59" fmla="*/ 63 h 84"/>
                <a:gd name="T60" fmla="*/ 4 w 39"/>
                <a:gd name="T61" fmla="*/ 76 h 84"/>
                <a:gd name="T62" fmla="*/ 4 w 39"/>
                <a:gd name="T63" fmla="*/ 83 h 84"/>
                <a:gd name="T64" fmla="*/ 10 w 39"/>
                <a:gd name="T65" fmla="*/ 81 h 84"/>
                <a:gd name="T66" fmla="*/ 9 w 39"/>
                <a:gd name="T67" fmla="*/ 71 h 84"/>
                <a:gd name="T68" fmla="*/ 14 w 39"/>
                <a:gd name="T69" fmla="*/ 40 h 84"/>
                <a:gd name="T70" fmla="*/ 20 w 39"/>
                <a:gd name="T71" fmla="*/ 19 h 84"/>
                <a:gd name="T72" fmla="*/ 21 w 39"/>
                <a:gd name="T73" fmla="*/ 22 h 84"/>
                <a:gd name="T74" fmla="*/ 32 w 39"/>
                <a:gd name="T75" fmla="*/ 81 h 84"/>
                <a:gd name="T76" fmla="*/ 39 w 39"/>
                <a:gd name="T77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9" h="84">
                  <a:moveTo>
                    <a:pt x="39" y="84"/>
                  </a:moveTo>
                  <a:cubicBezTo>
                    <a:pt x="38" y="80"/>
                    <a:pt x="38" y="76"/>
                    <a:pt x="37" y="74"/>
                  </a:cubicBezTo>
                  <a:cubicBezTo>
                    <a:pt x="35" y="71"/>
                    <a:pt x="35" y="66"/>
                    <a:pt x="35" y="66"/>
                  </a:cubicBezTo>
                  <a:cubicBezTo>
                    <a:pt x="38" y="65"/>
                    <a:pt x="39" y="54"/>
                    <a:pt x="39" y="54"/>
                  </a:cubicBezTo>
                  <a:cubicBezTo>
                    <a:pt x="39" y="54"/>
                    <a:pt x="35" y="59"/>
                    <a:pt x="34" y="58"/>
                  </a:cubicBezTo>
                  <a:cubicBezTo>
                    <a:pt x="32" y="58"/>
                    <a:pt x="33" y="56"/>
                    <a:pt x="34" y="51"/>
                  </a:cubicBezTo>
                  <a:cubicBezTo>
                    <a:pt x="34" y="46"/>
                    <a:pt x="32" y="32"/>
                    <a:pt x="32" y="32"/>
                  </a:cubicBezTo>
                  <a:cubicBezTo>
                    <a:pt x="32" y="37"/>
                    <a:pt x="32" y="44"/>
                    <a:pt x="32" y="44"/>
                  </a:cubicBezTo>
                  <a:cubicBezTo>
                    <a:pt x="32" y="44"/>
                    <a:pt x="28" y="30"/>
                    <a:pt x="27" y="25"/>
                  </a:cubicBezTo>
                  <a:cubicBezTo>
                    <a:pt x="27" y="22"/>
                    <a:pt x="32" y="18"/>
                    <a:pt x="33" y="17"/>
                  </a:cubicBezTo>
                  <a:cubicBezTo>
                    <a:pt x="28" y="20"/>
                    <a:pt x="24" y="17"/>
                    <a:pt x="24" y="17"/>
                  </a:cubicBezTo>
                  <a:cubicBezTo>
                    <a:pt x="26" y="16"/>
                    <a:pt x="31" y="12"/>
                    <a:pt x="33" y="10"/>
                  </a:cubicBezTo>
                  <a:cubicBezTo>
                    <a:pt x="30" y="12"/>
                    <a:pt x="23" y="14"/>
                    <a:pt x="23" y="14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5" y="10"/>
                    <a:pt x="20" y="12"/>
                    <a:pt x="18" y="8"/>
                  </a:cubicBezTo>
                  <a:cubicBezTo>
                    <a:pt x="15" y="4"/>
                    <a:pt x="10" y="0"/>
                    <a:pt x="10" y="0"/>
                  </a:cubicBezTo>
                  <a:cubicBezTo>
                    <a:pt x="12" y="3"/>
                    <a:pt x="13" y="11"/>
                    <a:pt x="13" y="11"/>
                  </a:cubicBezTo>
                  <a:cubicBezTo>
                    <a:pt x="13" y="11"/>
                    <a:pt x="13" y="10"/>
                    <a:pt x="7" y="7"/>
                  </a:cubicBezTo>
                  <a:cubicBezTo>
                    <a:pt x="4" y="6"/>
                    <a:pt x="3" y="3"/>
                    <a:pt x="3" y="1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3" y="17"/>
                    <a:pt x="18" y="15"/>
                    <a:pt x="16" y="17"/>
                  </a:cubicBezTo>
                  <a:cubicBezTo>
                    <a:pt x="13" y="19"/>
                    <a:pt x="5" y="15"/>
                    <a:pt x="5" y="15"/>
                  </a:cubicBezTo>
                  <a:cubicBezTo>
                    <a:pt x="7" y="19"/>
                    <a:pt x="13" y="20"/>
                    <a:pt x="13" y="20"/>
                  </a:cubicBezTo>
                  <a:cubicBezTo>
                    <a:pt x="13" y="20"/>
                    <a:pt x="13" y="26"/>
                    <a:pt x="9" y="34"/>
                  </a:cubicBezTo>
                  <a:cubicBezTo>
                    <a:pt x="5" y="43"/>
                    <a:pt x="9" y="50"/>
                    <a:pt x="9" y="50"/>
                  </a:cubicBezTo>
                  <a:cubicBezTo>
                    <a:pt x="6" y="49"/>
                    <a:pt x="5" y="40"/>
                    <a:pt x="5" y="40"/>
                  </a:cubicBezTo>
                  <a:cubicBezTo>
                    <a:pt x="5" y="40"/>
                    <a:pt x="5" y="53"/>
                    <a:pt x="4" y="58"/>
                  </a:cubicBezTo>
                  <a:cubicBezTo>
                    <a:pt x="3" y="63"/>
                    <a:pt x="7" y="73"/>
                    <a:pt x="7" y="73"/>
                  </a:cubicBezTo>
                  <a:cubicBezTo>
                    <a:pt x="3" y="73"/>
                    <a:pt x="2" y="63"/>
                    <a:pt x="2" y="63"/>
                  </a:cubicBezTo>
                  <a:cubicBezTo>
                    <a:pt x="1" y="64"/>
                    <a:pt x="3" y="73"/>
                    <a:pt x="4" y="76"/>
                  </a:cubicBezTo>
                  <a:cubicBezTo>
                    <a:pt x="5" y="78"/>
                    <a:pt x="5" y="81"/>
                    <a:pt x="4" y="83"/>
                  </a:cubicBezTo>
                  <a:cubicBezTo>
                    <a:pt x="7" y="83"/>
                    <a:pt x="10" y="83"/>
                    <a:pt x="10" y="81"/>
                  </a:cubicBezTo>
                  <a:cubicBezTo>
                    <a:pt x="11" y="78"/>
                    <a:pt x="9" y="71"/>
                    <a:pt x="9" y="71"/>
                  </a:cubicBezTo>
                  <a:cubicBezTo>
                    <a:pt x="9" y="71"/>
                    <a:pt x="14" y="41"/>
                    <a:pt x="14" y="40"/>
                  </a:cubicBezTo>
                  <a:cubicBezTo>
                    <a:pt x="15" y="40"/>
                    <a:pt x="18" y="28"/>
                    <a:pt x="20" y="19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22"/>
                    <a:pt x="26" y="75"/>
                    <a:pt x="32" y="81"/>
                  </a:cubicBezTo>
                  <a:cubicBezTo>
                    <a:pt x="32" y="81"/>
                    <a:pt x="35" y="84"/>
                    <a:pt x="39" y="8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1" name="Freeform 288"/>
            <p:cNvSpPr/>
            <p:nvPr/>
          </p:nvSpPr>
          <p:spPr bwMode="auto">
            <a:xfrm>
              <a:off x="4119563" y="4983163"/>
              <a:ext cx="104775" cy="155575"/>
            </a:xfrm>
            <a:custGeom>
              <a:avLst/>
              <a:gdLst>
                <a:gd name="T0" fmla="*/ 0 w 6"/>
                <a:gd name="T1" fmla="*/ 4 h 9"/>
                <a:gd name="T2" fmla="*/ 3 w 6"/>
                <a:gd name="T3" fmla="*/ 9 h 9"/>
                <a:gd name="T4" fmla="*/ 3 w 6"/>
                <a:gd name="T5" fmla="*/ 4 h 9"/>
                <a:gd name="T6" fmla="*/ 5 w 6"/>
                <a:gd name="T7" fmla="*/ 0 h 9"/>
                <a:gd name="T8" fmla="*/ 0 w 6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9">
                  <a:moveTo>
                    <a:pt x="0" y="4"/>
                  </a:moveTo>
                  <a:cubicBezTo>
                    <a:pt x="0" y="4"/>
                    <a:pt x="1" y="8"/>
                    <a:pt x="3" y="9"/>
                  </a:cubicBezTo>
                  <a:cubicBezTo>
                    <a:pt x="3" y="9"/>
                    <a:pt x="3" y="6"/>
                    <a:pt x="3" y="4"/>
                  </a:cubicBezTo>
                  <a:cubicBezTo>
                    <a:pt x="3" y="4"/>
                    <a:pt x="6" y="2"/>
                    <a:pt x="5" y="0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2" name="Freeform 289"/>
            <p:cNvSpPr/>
            <p:nvPr/>
          </p:nvSpPr>
          <p:spPr bwMode="auto">
            <a:xfrm>
              <a:off x="4171951" y="4017963"/>
              <a:ext cx="609600" cy="862013"/>
            </a:xfrm>
            <a:custGeom>
              <a:avLst/>
              <a:gdLst>
                <a:gd name="T0" fmla="*/ 11 w 35"/>
                <a:gd name="T1" fmla="*/ 0 h 50"/>
                <a:gd name="T2" fmla="*/ 15 w 35"/>
                <a:gd name="T3" fmla="*/ 5 h 50"/>
                <a:gd name="T4" fmla="*/ 22 w 35"/>
                <a:gd name="T5" fmla="*/ 4 h 50"/>
                <a:gd name="T6" fmla="*/ 29 w 35"/>
                <a:gd name="T7" fmla="*/ 34 h 50"/>
                <a:gd name="T8" fmla="*/ 35 w 35"/>
                <a:gd name="T9" fmla="*/ 49 h 50"/>
                <a:gd name="T10" fmla="*/ 17 w 35"/>
                <a:gd name="T11" fmla="*/ 50 h 50"/>
                <a:gd name="T12" fmla="*/ 1 w 35"/>
                <a:gd name="T13" fmla="*/ 49 h 50"/>
                <a:gd name="T14" fmla="*/ 0 w 35"/>
                <a:gd name="T15" fmla="*/ 15 h 50"/>
                <a:gd name="T16" fmla="*/ 11 w 35"/>
                <a:gd name="T17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50">
                  <a:moveTo>
                    <a:pt x="11" y="0"/>
                  </a:moveTo>
                  <a:cubicBezTo>
                    <a:pt x="11" y="0"/>
                    <a:pt x="13" y="5"/>
                    <a:pt x="15" y="5"/>
                  </a:cubicBezTo>
                  <a:cubicBezTo>
                    <a:pt x="15" y="5"/>
                    <a:pt x="19" y="7"/>
                    <a:pt x="22" y="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15"/>
                    <a:pt x="0" y="15"/>
                    <a:pt x="0" y="15"/>
                  </a:cubicBezTo>
                  <a:lnTo>
                    <a:pt x="11" y="0"/>
                  </a:lnTo>
                  <a:close/>
                </a:path>
              </a:pathLst>
            </a:custGeom>
            <a:solidFill>
              <a:srgbClr val="F2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3" name="Freeform 290"/>
            <p:cNvSpPr/>
            <p:nvPr/>
          </p:nvSpPr>
          <p:spPr bwMode="auto">
            <a:xfrm>
              <a:off x="4292601" y="4121151"/>
              <a:ext cx="122238" cy="120650"/>
            </a:xfrm>
            <a:custGeom>
              <a:avLst/>
              <a:gdLst>
                <a:gd name="T0" fmla="*/ 0 w 77"/>
                <a:gd name="T1" fmla="*/ 54 h 76"/>
                <a:gd name="T2" fmla="*/ 77 w 77"/>
                <a:gd name="T3" fmla="*/ 0 h 76"/>
                <a:gd name="T4" fmla="*/ 0 w 77"/>
                <a:gd name="T5" fmla="*/ 76 h 76"/>
                <a:gd name="T6" fmla="*/ 0 w 77"/>
                <a:gd name="T7" fmla="*/ 5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7" h="76">
                  <a:moveTo>
                    <a:pt x="0" y="54"/>
                  </a:moveTo>
                  <a:lnTo>
                    <a:pt x="77" y="0"/>
                  </a:lnTo>
                  <a:lnTo>
                    <a:pt x="0" y="76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rgbClr val="BABA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4" name="Freeform 291"/>
            <p:cNvSpPr/>
            <p:nvPr/>
          </p:nvSpPr>
          <p:spPr bwMode="auto">
            <a:xfrm>
              <a:off x="4467226" y="4138613"/>
              <a:ext cx="279400" cy="688975"/>
            </a:xfrm>
            <a:custGeom>
              <a:avLst/>
              <a:gdLst>
                <a:gd name="T0" fmla="*/ 0 w 16"/>
                <a:gd name="T1" fmla="*/ 0 h 40"/>
                <a:gd name="T2" fmla="*/ 6 w 16"/>
                <a:gd name="T3" fmla="*/ 5 h 40"/>
                <a:gd name="T4" fmla="*/ 11 w 16"/>
                <a:gd name="T5" fmla="*/ 22 h 40"/>
                <a:gd name="T6" fmla="*/ 16 w 16"/>
                <a:gd name="T7" fmla="*/ 38 h 40"/>
                <a:gd name="T8" fmla="*/ 4 w 16"/>
                <a:gd name="T9" fmla="*/ 37 h 40"/>
                <a:gd name="T10" fmla="*/ 10 w 16"/>
                <a:gd name="T11" fmla="*/ 33 h 40"/>
                <a:gd name="T12" fmla="*/ 4 w 16"/>
                <a:gd name="T13" fmla="*/ 25 h 40"/>
                <a:gd name="T14" fmla="*/ 6 w 16"/>
                <a:gd name="T15" fmla="*/ 21 h 40"/>
                <a:gd name="T16" fmla="*/ 5 w 16"/>
                <a:gd name="T17" fmla="*/ 7 h 40"/>
                <a:gd name="T18" fmla="*/ 0 w 16"/>
                <a:gd name="T1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40">
                  <a:moveTo>
                    <a:pt x="0" y="0"/>
                  </a:moveTo>
                  <a:cubicBezTo>
                    <a:pt x="6" y="5"/>
                    <a:pt x="6" y="5"/>
                    <a:pt x="6" y="5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7" y="40"/>
                    <a:pt x="4" y="37"/>
                  </a:cubicBezTo>
                  <a:cubicBezTo>
                    <a:pt x="4" y="37"/>
                    <a:pt x="10" y="39"/>
                    <a:pt x="10" y="33"/>
                  </a:cubicBezTo>
                  <a:cubicBezTo>
                    <a:pt x="9" y="27"/>
                    <a:pt x="6" y="28"/>
                    <a:pt x="4" y="25"/>
                  </a:cubicBezTo>
                  <a:cubicBezTo>
                    <a:pt x="4" y="25"/>
                    <a:pt x="6" y="25"/>
                    <a:pt x="6" y="21"/>
                  </a:cubicBezTo>
                  <a:cubicBezTo>
                    <a:pt x="6" y="16"/>
                    <a:pt x="5" y="7"/>
                    <a:pt x="5" y="7"/>
                  </a:cubicBezTo>
                  <a:cubicBezTo>
                    <a:pt x="5" y="7"/>
                    <a:pt x="3" y="4"/>
                    <a:pt x="0" y="0"/>
                  </a:cubicBezTo>
                  <a:close/>
                </a:path>
              </a:pathLst>
            </a:custGeom>
            <a:solidFill>
              <a:srgbClr val="BABA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5" name="Freeform 292"/>
            <p:cNvSpPr/>
            <p:nvPr/>
          </p:nvSpPr>
          <p:spPr bwMode="auto">
            <a:xfrm>
              <a:off x="3962401" y="4033838"/>
              <a:ext cx="382588" cy="1087438"/>
            </a:xfrm>
            <a:custGeom>
              <a:avLst/>
              <a:gdLst>
                <a:gd name="T0" fmla="*/ 9 w 22"/>
                <a:gd name="T1" fmla="*/ 63 h 63"/>
                <a:gd name="T2" fmla="*/ 15 w 22"/>
                <a:gd name="T3" fmla="*/ 56 h 63"/>
                <a:gd name="T4" fmla="*/ 20 w 22"/>
                <a:gd name="T5" fmla="*/ 33 h 63"/>
                <a:gd name="T6" fmla="*/ 22 w 22"/>
                <a:gd name="T7" fmla="*/ 0 h 63"/>
                <a:gd name="T8" fmla="*/ 18 w 22"/>
                <a:gd name="T9" fmla="*/ 4 h 63"/>
                <a:gd name="T10" fmla="*/ 5 w 22"/>
                <a:gd name="T11" fmla="*/ 7 h 63"/>
                <a:gd name="T12" fmla="*/ 0 w 22"/>
                <a:gd name="T13" fmla="*/ 35 h 63"/>
                <a:gd name="T14" fmla="*/ 2 w 22"/>
                <a:gd name="T15" fmla="*/ 47 h 63"/>
                <a:gd name="T16" fmla="*/ 9 w 22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63">
                  <a:moveTo>
                    <a:pt x="9" y="63"/>
                  </a:moveTo>
                  <a:cubicBezTo>
                    <a:pt x="9" y="63"/>
                    <a:pt x="10" y="58"/>
                    <a:pt x="15" y="56"/>
                  </a:cubicBezTo>
                  <a:cubicBezTo>
                    <a:pt x="15" y="56"/>
                    <a:pt x="20" y="44"/>
                    <a:pt x="20" y="33"/>
                  </a:cubicBezTo>
                  <a:cubicBezTo>
                    <a:pt x="21" y="21"/>
                    <a:pt x="20" y="4"/>
                    <a:pt x="22" y="0"/>
                  </a:cubicBezTo>
                  <a:cubicBezTo>
                    <a:pt x="22" y="0"/>
                    <a:pt x="20" y="1"/>
                    <a:pt x="18" y="4"/>
                  </a:cubicBezTo>
                  <a:cubicBezTo>
                    <a:pt x="18" y="4"/>
                    <a:pt x="8" y="5"/>
                    <a:pt x="5" y="7"/>
                  </a:cubicBezTo>
                  <a:cubicBezTo>
                    <a:pt x="5" y="7"/>
                    <a:pt x="1" y="17"/>
                    <a:pt x="0" y="35"/>
                  </a:cubicBezTo>
                  <a:cubicBezTo>
                    <a:pt x="0" y="35"/>
                    <a:pt x="2" y="45"/>
                    <a:pt x="2" y="47"/>
                  </a:cubicBezTo>
                  <a:cubicBezTo>
                    <a:pt x="3" y="48"/>
                    <a:pt x="6" y="56"/>
                    <a:pt x="9" y="63"/>
                  </a:cubicBez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6" name="Freeform 293"/>
            <p:cNvSpPr/>
            <p:nvPr/>
          </p:nvSpPr>
          <p:spPr bwMode="auto">
            <a:xfrm>
              <a:off x="4292601" y="4827588"/>
              <a:ext cx="436563" cy="103188"/>
            </a:xfrm>
            <a:custGeom>
              <a:avLst/>
              <a:gdLst>
                <a:gd name="T0" fmla="*/ 24 w 25"/>
                <a:gd name="T1" fmla="*/ 0 h 6"/>
                <a:gd name="T2" fmla="*/ 1 w 25"/>
                <a:gd name="T3" fmla="*/ 3 h 6"/>
                <a:gd name="T4" fmla="*/ 0 w 25"/>
                <a:gd name="T5" fmla="*/ 3 h 6"/>
                <a:gd name="T6" fmla="*/ 25 w 25"/>
                <a:gd name="T7" fmla="*/ 2 h 6"/>
                <a:gd name="T8" fmla="*/ 24 w 25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6">
                  <a:moveTo>
                    <a:pt x="24" y="0"/>
                  </a:moveTo>
                  <a:cubicBezTo>
                    <a:pt x="15" y="3"/>
                    <a:pt x="5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15" y="6"/>
                    <a:pt x="25" y="2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7" name="Freeform 294"/>
            <p:cNvSpPr/>
            <p:nvPr/>
          </p:nvSpPr>
          <p:spPr bwMode="auto">
            <a:xfrm>
              <a:off x="4189413" y="4138613"/>
              <a:ext cx="138113" cy="603250"/>
            </a:xfrm>
            <a:custGeom>
              <a:avLst/>
              <a:gdLst>
                <a:gd name="T0" fmla="*/ 6 w 8"/>
                <a:gd name="T1" fmla="*/ 35 h 35"/>
                <a:gd name="T2" fmla="*/ 7 w 8"/>
                <a:gd name="T3" fmla="*/ 27 h 35"/>
                <a:gd name="T4" fmla="*/ 8 w 8"/>
                <a:gd name="T5" fmla="*/ 25 h 35"/>
                <a:gd name="T6" fmla="*/ 1 w 8"/>
                <a:gd name="T7" fmla="*/ 4 h 35"/>
                <a:gd name="T8" fmla="*/ 4 w 8"/>
                <a:gd name="T9" fmla="*/ 3 h 35"/>
                <a:gd name="T10" fmla="*/ 1 w 8"/>
                <a:gd name="T11" fmla="*/ 0 h 35"/>
                <a:gd name="T12" fmla="*/ 3 w 8"/>
                <a:gd name="T13" fmla="*/ 3 h 35"/>
                <a:gd name="T14" fmla="*/ 0 w 8"/>
                <a:gd name="T15" fmla="*/ 4 h 35"/>
                <a:gd name="T16" fmla="*/ 6 w 8"/>
                <a:gd name="T1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35">
                  <a:moveTo>
                    <a:pt x="6" y="35"/>
                  </a:moveTo>
                  <a:cubicBezTo>
                    <a:pt x="7" y="32"/>
                    <a:pt x="7" y="29"/>
                    <a:pt x="7" y="27"/>
                  </a:cubicBezTo>
                  <a:cubicBezTo>
                    <a:pt x="7" y="26"/>
                    <a:pt x="7" y="26"/>
                    <a:pt x="8" y="25"/>
                  </a:cubicBezTo>
                  <a:cubicBezTo>
                    <a:pt x="5" y="17"/>
                    <a:pt x="1" y="4"/>
                    <a:pt x="1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2"/>
                    <a:pt x="1" y="0"/>
                    <a:pt x="1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1" y="4"/>
                    <a:pt x="0" y="4"/>
                    <a:pt x="0" y="4"/>
                  </a:cubicBezTo>
                  <a:cubicBezTo>
                    <a:pt x="4" y="17"/>
                    <a:pt x="6" y="28"/>
                    <a:pt x="6" y="3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8" name="Freeform 295"/>
            <p:cNvSpPr/>
            <p:nvPr/>
          </p:nvSpPr>
          <p:spPr bwMode="auto">
            <a:xfrm>
              <a:off x="4206876" y="4414838"/>
              <a:ext cx="17463" cy="68263"/>
            </a:xfrm>
            <a:custGeom>
              <a:avLst/>
              <a:gdLst>
                <a:gd name="T0" fmla="*/ 0 w 1"/>
                <a:gd name="T1" fmla="*/ 1 h 4"/>
                <a:gd name="T2" fmla="*/ 0 w 1"/>
                <a:gd name="T3" fmla="*/ 4 h 4"/>
                <a:gd name="T4" fmla="*/ 0 w 1"/>
                <a:gd name="T5" fmla="*/ 2 h 4"/>
                <a:gd name="T6" fmla="*/ 0 w 1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4">
                  <a:moveTo>
                    <a:pt x="0" y="1"/>
                  </a:moveTo>
                  <a:cubicBezTo>
                    <a:pt x="0" y="0"/>
                    <a:pt x="0" y="2"/>
                    <a:pt x="0" y="4"/>
                  </a:cubicBezTo>
                  <a:cubicBezTo>
                    <a:pt x="0" y="3"/>
                    <a:pt x="1" y="3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9" name="Freeform 296"/>
            <p:cNvSpPr/>
            <p:nvPr/>
          </p:nvSpPr>
          <p:spPr bwMode="auto">
            <a:xfrm>
              <a:off x="4014788" y="4224338"/>
              <a:ext cx="227013" cy="776288"/>
            </a:xfrm>
            <a:custGeom>
              <a:avLst/>
              <a:gdLst>
                <a:gd name="T0" fmla="*/ 13 w 13"/>
                <a:gd name="T1" fmla="*/ 42 h 45"/>
                <a:gd name="T2" fmla="*/ 12 w 13"/>
                <a:gd name="T3" fmla="*/ 33 h 45"/>
                <a:gd name="T4" fmla="*/ 11 w 13"/>
                <a:gd name="T5" fmla="*/ 15 h 45"/>
                <a:gd name="T6" fmla="*/ 10 w 13"/>
                <a:gd name="T7" fmla="*/ 28 h 45"/>
                <a:gd name="T8" fmla="*/ 9 w 13"/>
                <a:gd name="T9" fmla="*/ 12 h 45"/>
                <a:gd name="T10" fmla="*/ 9 w 13"/>
                <a:gd name="T11" fmla="*/ 33 h 45"/>
                <a:gd name="T12" fmla="*/ 5 w 13"/>
                <a:gd name="T13" fmla="*/ 20 h 45"/>
                <a:gd name="T14" fmla="*/ 4 w 13"/>
                <a:gd name="T15" fmla="*/ 0 h 45"/>
                <a:gd name="T16" fmla="*/ 4 w 13"/>
                <a:gd name="T17" fmla="*/ 19 h 45"/>
                <a:gd name="T18" fmla="*/ 0 w 13"/>
                <a:gd name="T19" fmla="*/ 14 h 45"/>
                <a:gd name="T20" fmla="*/ 3 w 13"/>
                <a:gd name="T21" fmla="*/ 20 h 45"/>
                <a:gd name="T22" fmla="*/ 2 w 13"/>
                <a:gd name="T23" fmla="*/ 22 h 45"/>
                <a:gd name="T24" fmla="*/ 4 w 13"/>
                <a:gd name="T25" fmla="*/ 24 h 45"/>
                <a:gd name="T26" fmla="*/ 0 w 13"/>
                <a:gd name="T27" fmla="*/ 26 h 45"/>
                <a:gd name="T28" fmla="*/ 4 w 13"/>
                <a:gd name="T29" fmla="*/ 26 h 45"/>
                <a:gd name="T30" fmla="*/ 1 w 13"/>
                <a:gd name="T31" fmla="*/ 27 h 45"/>
                <a:gd name="T32" fmla="*/ 6 w 13"/>
                <a:gd name="T33" fmla="*/ 30 h 45"/>
                <a:gd name="T34" fmla="*/ 12 w 13"/>
                <a:gd name="T35" fmla="*/ 45 h 45"/>
                <a:gd name="T36" fmla="*/ 13 w 13"/>
                <a:gd name="T37" fmla="*/ 4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" h="45">
                  <a:moveTo>
                    <a:pt x="13" y="42"/>
                  </a:moveTo>
                  <a:cubicBezTo>
                    <a:pt x="12" y="38"/>
                    <a:pt x="12" y="33"/>
                    <a:pt x="12" y="33"/>
                  </a:cubicBezTo>
                  <a:cubicBezTo>
                    <a:pt x="12" y="27"/>
                    <a:pt x="11" y="20"/>
                    <a:pt x="11" y="15"/>
                  </a:cubicBezTo>
                  <a:cubicBezTo>
                    <a:pt x="11" y="20"/>
                    <a:pt x="10" y="28"/>
                    <a:pt x="10" y="28"/>
                  </a:cubicBezTo>
                  <a:cubicBezTo>
                    <a:pt x="10" y="24"/>
                    <a:pt x="9" y="12"/>
                    <a:pt x="9" y="12"/>
                  </a:cubicBezTo>
                  <a:cubicBezTo>
                    <a:pt x="9" y="12"/>
                    <a:pt x="9" y="33"/>
                    <a:pt x="9" y="33"/>
                  </a:cubicBezTo>
                  <a:cubicBezTo>
                    <a:pt x="6" y="29"/>
                    <a:pt x="5" y="20"/>
                    <a:pt x="5" y="20"/>
                  </a:cubicBezTo>
                  <a:cubicBezTo>
                    <a:pt x="6" y="14"/>
                    <a:pt x="4" y="0"/>
                    <a:pt x="4" y="0"/>
                  </a:cubicBezTo>
                  <a:cubicBezTo>
                    <a:pt x="4" y="0"/>
                    <a:pt x="6" y="17"/>
                    <a:pt x="4" y="19"/>
                  </a:cubicBezTo>
                  <a:cubicBezTo>
                    <a:pt x="2" y="20"/>
                    <a:pt x="0" y="14"/>
                    <a:pt x="0" y="14"/>
                  </a:cubicBezTo>
                  <a:cubicBezTo>
                    <a:pt x="0" y="19"/>
                    <a:pt x="3" y="20"/>
                    <a:pt x="3" y="20"/>
                  </a:cubicBezTo>
                  <a:cubicBezTo>
                    <a:pt x="3" y="20"/>
                    <a:pt x="2" y="22"/>
                    <a:pt x="2" y="22"/>
                  </a:cubicBezTo>
                  <a:cubicBezTo>
                    <a:pt x="4" y="22"/>
                    <a:pt x="4" y="24"/>
                    <a:pt x="4" y="24"/>
                  </a:cubicBezTo>
                  <a:cubicBezTo>
                    <a:pt x="3" y="24"/>
                    <a:pt x="0" y="26"/>
                    <a:pt x="0" y="26"/>
                  </a:cubicBezTo>
                  <a:cubicBezTo>
                    <a:pt x="2" y="25"/>
                    <a:pt x="4" y="26"/>
                    <a:pt x="4" y="26"/>
                  </a:cubicBezTo>
                  <a:cubicBezTo>
                    <a:pt x="3" y="25"/>
                    <a:pt x="1" y="27"/>
                    <a:pt x="1" y="27"/>
                  </a:cubicBezTo>
                  <a:cubicBezTo>
                    <a:pt x="4" y="26"/>
                    <a:pt x="5" y="29"/>
                    <a:pt x="6" y="30"/>
                  </a:cubicBezTo>
                  <a:cubicBezTo>
                    <a:pt x="6" y="31"/>
                    <a:pt x="10" y="40"/>
                    <a:pt x="12" y="45"/>
                  </a:cubicBezTo>
                  <a:cubicBezTo>
                    <a:pt x="12" y="45"/>
                    <a:pt x="13" y="44"/>
                    <a:pt x="13" y="4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0" name="Freeform 297"/>
            <p:cNvSpPr/>
            <p:nvPr/>
          </p:nvSpPr>
          <p:spPr bwMode="auto">
            <a:xfrm>
              <a:off x="4537076" y="4068763"/>
              <a:ext cx="1028700" cy="1155700"/>
            </a:xfrm>
            <a:custGeom>
              <a:avLst/>
              <a:gdLst>
                <a:gd name="T0" fmla="*/ 0 w 59"/>
                <a:gd name="T1" fmla="*/ 2 h 67"/>
                <a:gd name="T2" fmla="*/ 2 w 59"/>
                <a:gd name="T3" fmla="*/ 28 h 67"/>
                <a:gd name="T4" fmla="*/ 21 w 59"/>
                <a:gd name="T5" fmla="*/ 67 h 67"/>
                <a:gd name="T6" fmla="*/ 25 w 59"/>
                <a:gd name="T7" fmla="*/ 64 h 67"/>
                <a:gd name="T8" fmla="*/ 20 w 59"/>
                <a:gd name="T9" fmla="*/ 31 h 67"/>
                <a:gd name="T10" fmla="*/ 18 w 59"/>
                <a:gd name="T11" fmla="*/ 18 h 67"/>
                <a:gd name="T12" fmla="*/ 29 w 59"/>
                <a:gd name="T13" fmla="*/ 20 h 67"/>
                <a:gd name="T14" fmla="*/ 31 w 59"/>
                <a:gd name="T15" fmla="*/ 21 h 67"/>
                <a:gd name="T16" fmla="*/ 42 w 59"/>
                <a:gd name="T17" fmla="*/ 19 h 67"/>
                <a:gd name="T18" fmla="*/ 58 w 59"/>
                <a:gd name="T19" fmla="*/ 16 h 67"/>
                <a:gd name="T20" fmla="*/ 56 w 59"/>
                <a:gd name="T21" fmla="*/ 7 h 67"/>
                <a:gd name="T22" fmla="*/ 33 w 59"/>
                <a:gd name="T23" fmla="*/ 9 h 67"/>
                <a:gd name="T24" fmla="*/ 24 w 59"/>
                <a:gd name="T25" fmla="*/ 8 h 67"/>
                <a:gd name="T26" fmla="*/ 20 w 59"/>
                <a:gd name="T27" fmla="*/ 8 h 67"/>
                <a:gd name="T28" fmla="*/ 19 w 59"/>
                <a:gd name="T29" fmla="*/ 6 h 67"/>
                <a:gd name="T30" fmla="*/ 17 w 59"/>
                <a:gd name="T31" fmla="*/ 6 h 67"/>
                <a:gd name="T32" fmla="*/ 15 w 59"/>
                <a:gd name="T33" fmla="*/ 2 h 67"/>
                <a:gd name="T34" fmla="*/ 7 w 59"/>
                <a:gd name="T35" fmla="*/ 1 h 67"/>
                <a:gd name="T36" fmla="*/ 2 w 59"/>
                <a:gd name="T37" fmla="*/ 0 h 67"/>
                <a:gd name="T38" fmla="*/ 0 w 59"/>
                <a:gd name="T39" fmla="*/ 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" h="67">
                  <a:moveTo>
                    <a:pt x="0" y="2"/>
                  </a:moveTo>
                  <a:cubicBezTo>
                    <a:pt x="0" y="2"/>
                    <a:pt x="0" y="19"/>
                    <a:pt x="2" y="28"/>
                  </a:cubicBezTo>
                  <a:cubicBezTo>
                    <a:pt x="2" y="28"/>
                    <a:pt x="11" y="61"/>
                    <a:pt x="21" y="67"/>
                  </a:cubicBezTo>
                  <a:cubicBezTo>
                    <a:pt x="21" y="67"/>
                    <a:pt x="25" y="65"/>
                    <a:pt x="25" y="64"/>
                  </a:cubicBezTo>
                  <a:cubicBezTo>
                    <a:pt x="25" y="63"/>
                    <a:pt x="20" y="34"/>
                    <a:pt x="20" y="31"/>
                  </a:cubicBezTo>
                  <a:cubicBezTo>
                    <a:pt x="19" y="29"/>
                    <a:pt x="18" y="18"/>
                    <a:pt x="18" y="18"/>
                  </a:cubicBezTo>
                  <a:cubicBezTo>
                    <a:pt x="18" y="18"/>
                    <a:pt x="27" y="19"/>
                    <a:pt x="29" y="20"/>
                  </a:cubicBezTo>
                  <a:cubicBezTo>
                    <a:pt x="29" y="20"/>
                    <a:pt x="29" y="21"/>
                    <a:pt x="31" y="21"/>
                  </a:cubicBezTo>
                  <a:cubicBezTo>
                    <a:pt x="33" y="21"/>
                    <a:pt x="41" y="19"/>
                    <a:pt x="42" y="19"/>
                  </a:cubicBezTo>
                  <a:cubicBezTo>
                    <a:pt x="44" y="19"/>
                    <a:pt x="57" y="16"/>
                    <a:pt x="58" y="16"/>
                  </a:cubicBezTo>
                  <a:cubicBezTo>
                    <a:pt x="59" y="15"/>
                    <a:pt x="57" y="8"/>
                    <a:pt x="56" y="7"/>
                  </a:cubicBezTo>
                  <a:cubicBezTo>
                    <a:pt x="56" y="6"/>
                    <a:pt x="37" y="8"/>
                    <a:pt x="33" y="9"/>
                  </a:cubicBezTo>
                  <a:cubicBezTo>
                    <a:pt x="33" y="9"/>
                    <a:pt x="25" y="8"/>
                    <a:pt x="24" y="8"/>
                  </a:cubicBezTo>
                  <a:cubicBezTo>
                    <a:pt x="23" y="8"/>
                    <a:pt x="20" y="8"/>
                    <a:pt x="20" y="8"/>
                  </a:cubicBezTo>
                  <a:cubicBezTo>
                    <a:pt x="20" y="8"/>
                    <a:pt x="20" y="6"/>
                    <a:pt x="19" y="6"/>
                  </a:cubicBezTo>
                  <a:cubicBezTo>
                    <a:pt x="19" y="6"/>
                    <a:pt x="17" y="6"/>
                    <a:pt x="17" y="6"/>
                  </a:cubicBezTo>
                  <a:cubicBezTo>
                    <a:pt x="17" y="6"/>
                    <a:pt x="17" y="3"/>
                    <a:pt x="15" y="2"/>
                  </a:cubicBezTo>
                  <a:cubicBezTo>
                    <a:pt x="13" y="1"/>
                    <a:pt x="8" y="1"/>
                    <a:pt x="7" y="1"/>
                  </a:cubicBezTo>
                  <a:cubicBezTo>
                    <a:pt x="6" y="0"/>
                    <a:pt x="2" y="0"/>
                    <a:pt x="2" y="0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1" name="Freeform 298"/>
            <p:cNvSpPr/>
            <p:nvPr/>
          </p:nvSpPr>
          <p:spPr bwMode="auto">
            <a:xfrm>
              <a:off x="4537076" y="4086226"/>
              <a:ext cx="993775" cy="1052513"/>
            </a:xfrm>
            <a:custGeom>
              <a:avLst/>
              <a:gdLst>
                <a:gd name="T0" fmla="*/ 55 w 57"/>
                <a:gd name="T1" fmla="*/ 7 h 61"/>
                <a:gd name="T2" fmla="*/ 33 w 57"/>
                <a:gd name="T3" fmla="*/ 9 h 61"/>
                <a:gd name="T4" fmla="*/ 23 w 57"/>
                <a:gd name="T5" fmla="*/ 15 h 61"/>
                <a:gd name="T6" fmla="*/ 29 w 57"/>
                <a:gd name="T7" fmla="*/ 9 h 61"/>
                <a:gd name="T8" fmla="*/ 22 w 57"/>
                <a:gd name="T9" fmla="*/ 15 h 61"/>
                <a:gd name="T10" fmla="*/ 26 w 57"/>
                <a:gd name="T11" fmla="*/ 9 h 61"/>
                <a:gd name="T12" fmla="*/ 20 w 57"/>
                <a:gd name="T13" fmla="*/ 15 h 61"/>
                <a:gd name="T14" fmla="*/ 21 w 57"/>
                <a:gd name="T15" fmla="*/ 9 h 61"/>
                <a:gd name="T16" fmla="*/ 22 w 57"/>
                <a:gd name="T17" fmla="*/ 9 h 61"/>
                <a:gd name="T18" fmla="*/ 20 w 57"/>
                <a:gd name="T19" fmla="*/ 9 h 61"/>
                <a:gd name="T20" fmla="*/ 18 w 57"/>
                <a:gd name="T21" fmla="*/ 13 h 61"/>
                <a:gd name="T22" fmla="*/ 19 w 57"/>
                <a:gd name="T23" fmla="*/ 8 h 61"/>
                <a:gd name="T24" fmla="*/ 16 w 57"/>
                <a:gd name="T25" fmla="*/ 10 h 61"/>
                <a:gd name="T26" fmla="*/ 16 w 57"/>
                <a:gd name="T27" fmla="*/ 11 h 61"/>
                <a:gd name="T28" fmla="*/ 16 w 57"/>
                <a:gd name="T29" fmla="*/ 1 h 61"/>
                <a:gd name="T30" fmla="*/ 15 w 57"/>
                <a:gd name="T31" fmla="*/ 1 h 61"/>
                <a:gd name="T32" fmla="*/ 12 w 57"/>
                <a:gd name="T33" fmla="*/ 0 h 61"/>
                <a:gd name="T34" fmla="*/ 11 w 57"/>
                <a:gd name="T35" fmla="*/ 1 h 61"/>
                <a:gd name="T36" fmla="*/ 7 w 57"/>
                <a:gd name="T37" fmla="*/ 1 h 61"/>
                <a:gd name="T38" fmla="*/ 10 w 57"/>
                <a:gd name="T39" fmla="*/ 3 h 61"/>
                <a:gd name="T40" fmla="*/ 1 w 57"/>
                <a:gd name="T41" fmla="*/ 0 h 61"/>
                <a:gd name="T42" fmla="*/ 0 w 57"/>
                <a:gd name="T43" fmla="*/ 1 h 61"/>
                <a:gd name="T44" fmla="*/ 0 w 57"/>
                <a:gd name="T45" fmla="*/ 1 h 61"/>
                <a:gd name="T46" fmla="*/ 4 w 57"/>
                <a:gd name="T47" fmla="*/ 4 h 61"/>
                <a:gd name="T48" fmla="*/ 2 w 57"/>
                <a:gd name="T49" fmla="*/ 16 h 61"/>
                <a:gd name="T50" fmla="*/ 1 w 57"/>
                <a:gd name="T51" fmla="*/ 24 h 61"/>
                <a:gd name="T52" fmla="*/ 2 w 57"/>
                <a:gd name="T53" fmla="*/ 27 h 61"/>
                <a:gd name="T54" fmla="*/ 3 w 57"/>
                <a:gd name="T55" fmla="*/ 30 h 61"/>
                <a:gd name="T56" fmla="*/ 5 w 57"/>
                <a:gd name="T57" fmla="*/ 17 h 61"/>
                <a:gd name="T58" fmla="*/ 6 w 57"/>
                <a:gd name="T59" fmla="*/ 5 h 61"/>
                <a:gd name="T60" fmla="*/ 6 w 57"/>
                <a:gd name="T61" fmla="*/ 18 h 61"/>
                <a:gd name="T62" fmla="*/ 6 w 57"/>
                <a:gd name="T63" fmla="*/ 31 h 61"/>
                <a:gd name="T64" fmla="*/ 16 w 57"/>
                <a:gd name="T65" fmla="*/ 55 h 61"/>
                <a:gd name="T66" fmla="*/ 21 w 57"/>
                <a:gd name="T67" fmla="*/ 61 h 61"/>
                <a:gd name="T68" fmla="*/ 19 w 57"/>
                <a:gd name="T69" fmla="*/ 38 h 61"/>
                <a:gd name="T70" fmla="*/ 18 w 57"/>
                <a:gd name="T71" fmla="*/ 17 h 61"/>
                <a:gd name="T72" fmla="*/ 25 w 57"/>
                <a:gd name="T73" fmla="*/ 16 h 61"/>
                <a:gd name="T74" fmla="*/ 32 w 57"/>
                <a:gd name="T75" fmla="*/ 15 h 61"/>
                <a:gd name="T76" fmla="*/ 31 w 57"/>
                <a:gd name="T77" fmla="*/ 17 h 61"/>
                <a:gd name="T78" fmla="*/ 39 w 57"/>
                <a:gd name="T79" fmla="*/ 16 h 61"/>
                <a:gd name="T80" fmla="*/ 57 w 57"/>
                <a:gd name="T81" fmla="*/ 14 h 61"/>
                <a:gd name="T82" fmla="*/ 55 w 57"/>
                <a:gd name="T83" fmla="*/ 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7" h="61">
                  <a:moveTo>
                    <a:pt x="55" y="7"/>
                  </a:moveTo>
                  <a:cubicBezTo>
                    <a:pt x="54" y="6"/>
                    <a:pt x="33" y="9"/>
                    <a:pt x="33" y="9"/>
                  </a:cubicBezTo>
                  <a:cubicBezTo>
                    <a:pt x="33" y="9"/>
                    <a:pt x="26" y="15"/>
                    <a:pt x="23" y="15"/>
                  </a:cubicBezTo>
                  <a:cubicBezTo>
                    <a:pt x="23" y="15"/>
                    <a:pt x="31" y="11"/>
                    <a:pt x="29" y="9"/>
                  </a:cubicBezTo>
                  <a:cubicBezTo>
                    <a:pt x="28" y="7"/>
                    <a:pt x="22" y="15"/>
                    <a:pt x="22" y="15"/>
                  </a:cubicBezTo>
                  <a:cubicBezTo>
                    <a:pt x="22" y="15"/>
                    <a:pt x="23" y="11"/>
                    <a:pt x="26" y="9"/>
                  </a:cubicBezTo>
                  <a:cubicBezTo>
                    <a:pt x="26" y="9"/>
                    <a:pt x="23" y="8"/>
                    <a:pt x="20" y="15"/>
                  </a:cubicBezTo>
                  <a:cubicBezTo>
                    <a:pt x="20" y="15"/>
                    <a:pt x="20" y="11"/>
                    <a:pt x="21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3" y="8"/>
                    <a:pt x="21" y="8"/>
                    <a:pt x="20" y="9"/>
                  </a:cubicBezTo>
                  <a:cubicBezTo>
                    <a:pt x="19" y="10"/>
                    <a:pt x="18" y="13"/>
                    <a:pt x="18" y="13"/>
                  </a:cubicBezTo>
                  <a:cubicBezTo>
                    <a:pt x="18" y="13"/>
                    <a:pt x="17" y="8"/>
                    <a:pt x="19" y="8"/>
                  </a:cubicBezTo>
                  <a:cubicBezTo>
                    <a:pt x="19" y="8"/>
                    <a:pt x="16" y="6"/>
                    <a:pt x="16" y="10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7" y="15"/>
                    <a:pt x="12" y="4"/>
                    <a:pt x="16" y="1"/>
                  </a:cubicBezTo>
                  <a:cubicBezTo>
                    <a:pt x="16" y="1"/>
                    <a:pt x="15" y="1"/>
                    <a:pt x="15" y="1"/>
                  </a:cubicBezTo>
                  <a:cubicBezTo>
                    <a:pt x="14" y="0"/>
                    <a:pt x="13" y="0"/>
                    <a:pt x="12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7" y="1"/>
                    <a:pt x="7" y="1"/>
                  </a:cubicBezTo>
                  <a:cubicBezTo>
                    <a:pt x="8" y="1"/>
                    <a:pt x="9" y="3"/>
                    <a:pt x="10" y="3"/>
                  </a:cubicBezTo>
                  <a:cubicBezTo>
                    <a:pt x="10" y="3"/>
                    <a:pt x="4" y="2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2"/>
                    <a:pt x="4" y="4"/>
                    <a:pt x="4" y="4"/>
                  </a:cubicBezTo>
                  <a:cubicBezTo>
                    <a:pt x="5" y="5"/>
                    <a:pt x="2" y="8"/>
                    <a:pt x="2" y="16"/>
                  </a:cubicBezTo>
                  <a:cubicBezTo>
                    <a:pt x="2" y="19"/>
                    <a:pt x="2" y="22"/>
                    <a:pt x="1" y="24"/>
                  </a:cubicBezTo>
                  <a:cubicBezTo>
                    <a:pt x="1" y="25"/>
                    <a:pt x="2" y="26"/>
                    <a:pt x="2" y="27"/>
                  </a:cubicBezTo>
                  <a:cubicBezTo>
                    <a:pt x="2" y="27"/>
                    <a:pt x="2" y="28"/>
                    <a:pt x="3" y="30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5" y="30"/>
                    <a:pt x="6" y="31"/>
                  </a:cubicBezTo>
                  <a:cubicBezTo>
                    <a:pt x="8" y="32"/>
                    <a:pt x="15" y="54"/>
                    <a:pt x="16" y="55"/>
                  </a:cubicBezTo>
                  <a:cubicBezTo>
                    <a:pt x="17" y="55"/>
                    <a:pt x="21" y="61"/>
                    <a:pt x="21" y="61"/>
                  </a:cubicBezTo>
                  <a:cubicBezTo>
                    <a:pt x="21" y="61"/>
                    <a:pt x="19" y="39"/>
                    <a:pt x="19" y="38"/>
                  </a:cubicBezTo>
                  <a:cubicBezTo>
                    <a:pt x="19" y="36"/>
                    <a:pt x="18" y="17"/>
                    <a:pt x="18" y="17"/>
                  </a:cubicBezTo>
                  <a:cubicBezTo>
                    <a:pt x="18" y="17"/>
                    <a:pt x="24" y="17"/>
                    <a:pt x="25" y="16"/>
                  </a:cubicBezTo>
                  <a:cubicBezTo>
                    <a:pt x="26" y="16"/>
                    <a:pt x="31" y="15"/>
                    <a:pt x="32" y="15"/>
                  </a:cubicBezTo>
                  <a:cubicBezTo>
                    <a:pt x="32" y="15"/>
                    <a:pt x="30" y="16"/>
                    <a:pt x="31" y="17"/>
                  </a:cubicBezTo>
                  <a:cubicBezTo>
                    <a:pt x="32" y="18"/>
                    <a:pt x="37" y="17"/>
                    <a:pt x="39" y="16"/>
                  </a:cubicBezTo>
                  <a:cubicBezTo>
                    <a:pt x="40" y="16"/>
                    <a:pt x="57" y="14"/>
                    <a:pt x="57" y="14"/>
                  </a:cubicBezTo>
                  <a:cubicBezTo>
                    <a:pt x="57" y="14"/>
                    <a:pt x="57" y="8"/>
                    <a:pt x="55" y="7"/>
                  </a:cubicBez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299"/>
            <p:cNvSpPr/>
            <p:nvPr/>
          </p:nvSpPr>
          <p:spPr bwMode="auto">
            <a:xfrm>
              <a:off x="4344988" y="4086226"/>
              <a:ext cx="157163" cy="708025"/>
            </a:xfrm>
            <a:custGeom>
              <a:avLst/>
              <a:gdLst>
                <a:gd name="T0" fmla="*/ 0 w 9"/>
                <a:gd name="T1" fmla="*/ 37 h 41"/>
                <a:gd name="T2" fmla="*/ 5 w 9"/>
                <a:gd name="T3" fmla="*/ 41 h 41"/>
                <a:gd name="T4" fmla="*/ 9 w 9"/>
                <a:gd name="T5" fmla="*/ 36 h 41"/>
                <a:gd name="T6" fmla="*/ 8 w 9"/>
                <a:gd name="T7" fmla="*/ 9 h 41"/>
                <a:gd name="T8" fmla="*/ 6 w 9"/>
                <a:gd name="T9" fmla="*/ 5 h 41"/>
                <a:gd name="T10" fmla="*/ 7 w 9"/>
                <a:gd name="T11" fmla="*/ 3 h 41"/>
                <a:gd name="T12" fmla="*/ 5 w 9"/>
                <a:gd name="T13" fmla="*/ 1 h 41"/>
                <a:gd name="T14" fmla="*/ 3 w 9"/>
                <a:gd name="T15" fmla="*/ 5 h 41"/>
                <a:gd name="T16" fmla="*/ 1 w 9"/>
                <a:gd name="T17" fmla="*/ 9 h 41"/>
                <a:gd name="T18" fmla="*/ 0 w 9"/>
                <a:gd name="T19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41">
                  <a:moveTo>
                    <a:pt x="0" y="37"/>
                  </a:moveTo>
                  <a:cubicBezTo>
                    <a:pt x="5" y="41"/>
                    <a:pt x="5" y="41"/>
                    <a:pt x="5" y="41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8" y="10"/>
                    <a:pt x="8" y="9"/>
                  </a:cubicBezTo>
                  <a:cubicBezTo>
                    <a:pt x="8" y="8"/>
                    <a:pt x="6" y="5"/>
                    <a:pt x="6" y="5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0"/>
                    <a:pt x="5" y="1"/>
                  </a:cubicBezTo>
                  <a:cubicBezTo>
                    <a:pt x="3" y="2"/>
                    <a:pt x="3" y="5"/>
                    <a:pt x="3" y="5"/>
                  </a:cubicBezTo>
                  <a:cubicBezTo>
                    <a:pt x="1" y="9"/>
                    <a:pt x="1" y="9"/>
                    <a:pt x="1" y="9"/>
                  </a:cubicBezTo>
                  <a:lnTo>
                    <a:pt x="0" y="37"/>
                  </a:ln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03" name="组合 102"/>
          <p:cNvGrpSpPr/>
          <p:nvPr/>
        </p:nvGrpSpPr>
        <p:grpSpPr>
          <a:xfrm>
            <a:off x="2686843" y="3226390"/>
            <a:ext cx="640781" cy="2241517"/>
            <a:chOff x="2376488" y="3625851"/>
            <a:chExt cx="835025" cy="2920999"/>
          </a:xfrm>
        </p:grpSpPr>
        <p:sp>
          <p:nvSpPr>
            <p:cNvPr id="104" name="AutoShape 202"/>
            <p:cNvSpPr>
              <a:spLocks noChangeAspect="1" noChangeArrowheads="1" noTextEdit="1"/>
            </p:cNvSpPr>
            <p:nvPr/>
          </p:nvSpPr>
          <p:spPr bwMode="auto">
            <a:xfrm>
              <a:off x="2376488" y="3675063"/>
              <a:ext cx="835025" cy="2849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5" name="Freeform 204"/>
            <p:cNvSpPr/>
            <p:nvPr/>
          </p:nvSpPr>
          <p:spPr bwMode="auto">
            <a:xfrm>
              <a:off x="2681288" y="5597525"/>
              <a:ext cx="227013" cy="830262"/>
            </a:xfrm>
            <a:custGeom>
              <a:avLst/>
              <a:gdLst>
                <a:gd name="T0" fmla="*/ 0 w 9"/>
                <a:gd name="T1" fmla="*/ 34 h 35"/>
                <a:gd name="T2" fmla="*/ 6 w 9"/>
                <a:gd name="T3" fmla="*/ 30 h 35"/>
                <a:gd name="T4" fmla="*/ 8 w 9"/>
                <a:gd name="T5" fmla="*/ 26 h 35"/>
                <a:gd name="T6" fmla="*/ 7 w 9"/>
                <a:gd name="T7" fmla="*/ 21 h 35"/>
                <a:gd name="T8" fmla="*/ 9 w 9"/>
                <a:gd name="T9" fmla="*/ 13 h 35"/>
                <a:gd name="T10" fmla="*/ 5 w 9"/>
                <a:gd name="T11" fmla="*/ 0 h 35"/>
                <a:gd name="T12" fmla="*/ 0 w 9"/>
                <a:gd name="T13" fmla="*/ 0 h 35"/>
                <a:gd name="T14" fmla="*/ 1 w 9"/>
                <a:gd name="T15" fmla="*/ 4 h 35"/>
                <a:gd name="T16" fmla="*/ 3 w 9"/>
                <a:gd name="T17" fmla="*/ 24 h 35"/>
                <a:gd name="T18" fmla="*/ 3 w 9"/>
                <a:gd name="T19" fmla="*/ 27 h 35"/>
                <a:gd name="T20" fmla="*/ 1 w 9"/>
                <a:gd name="T21" fmla="*/ 32 h 35"/>
                <a:gd name="T22" fmla="*/ 0 w 9"/>
                <a:gd name="T23" fmla="*/ 3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35">
                  <a:moveTo>
                    <a:pt x="0" y="34"/>
                  </a:moveTo>
                  <a:cubicBezTo>
                    <a:pt x="0" y="34"/>
                    <a:pt x="5" y="35"/>
                    <a:pt x="6" y="30"/>
                  </a:cubicBezTo>
                  <a:cubicBezTo>
                    <a:pt x="8" y="25"/>
                    <a:pt x="8" y="26"/>
                    <a:pt x="8" y="26"/>
                  </a:cubicBezTo>
                  <a:cubicBezTo>
                    <a:pt x="8" y="26"/>
                    <a:pt x="7" y="23"/>
                    <a:pt x="7" y="21"/>
                  </a:cubicBezTo>
                  <a:cubicBezTo>
                    <a:pt x="7" y="19"/>
                    <a:pt x="9" y="14"/>
                    <a:pt x="9" y="13"/>
                  </a:cubicBezTo>
                  <a:cubicBezTo>
                    <a:pt x="9" y="12"/>
                    <a:pt x="5" y="0"/>
                    <a:pt x="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3"/>
                    <a:pt x="1" y="4"/>
                  </a:cubicBezTo>
                  <a:cubicBezTo>
                    <a:pt x="1" y="4"/>
                    <a:pt x="3" y="23"/>
                    <a:pt x="3" y="24"/>
                  </a:cubicBezTo>
                  <a:cubicBezTo>
                    <a:pt x="3" y="25"/>
                    <a:pt x="3" y="27"/>
                    <a:pt x="3" y="27"/>
                  </a:cubicBezTo>
                  <a:cubicBezTo>
                    <a:pt x="3" y="28"/>
                    <a:pt x="2" y="31"/>
                    <a:pt x="1" y="32"/>
                  </a:cubicBezTo>
                  <a:cubicBezTo>
                    <a:pt x="1" y="32"/>
                    <a:pt x="1" y="33"/>
                    <a:pt x="0" y="34"/>
                  </a:cubicBezTo>
                  <a:close/>
                </a:path>
              </a:pathLst>
            </a:custGeom>
            <a:solidFill>
              <a:srgbClr val="F1B1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6" name="Freeform 205"/>
            <p:cNvSpPr/>
            <p:nvPr/>
          </p:nvSpPr>
          <p:spPr bwMode="auto">
            <a:xfrm>
              <a:off x="2806701" y="6215063"/>
              <a:ext cx="76200" cy="166687"/>
            </a:xfrm>
            <a:custGeom>
              <a:avLst/>
              <a:gdLst>
                <a:gd name="T0" fmla="*/ 0 w 3"/>
                <a:gd name="T1" fmla="*/ 7 h 7"/>
                <a:gd name="T2" fmla="*/ 0 w 3"/>
                <a:gd name="T3" fmla="*/ 5 h 7"/>
                <a:gd name="T4" fmla="*/ 2 w 3"/>
                <a:gd name="T5" fmla="*/ 0 h 7"/>
                <a:gd name="T6" fmla="*/ 3 w 3"/>
                <a:gd name="T7" fmla="*/ 0 h 7"/>
                <a:gd name="T8" fmla="*/ 0 w 3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7">
                  <a:moveTo>
                    <a:pt x="0" y="7"/>
                  </a:moveTo>
                  <a:cubicBezTo>
                    <a:pt x="0" y="7"/>
                    <a:pt x="0" y="5"/>
                    <a:pt x="0" y="5"/>
                  </a:cubicBezTo>
                  <a:cubicBezTo>
                    <a:pt x="1" y="5"/>
                    <a:pt x="2" y="1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7" name="Freeform 206"/>
            <p:cNvSpPr/>
            <p:nvPr/>
          </p:nvSpPr>
          <p:spPr bwMode="auto">
            <a:xfrm>
              <a:off x="2630488" y="6334125"/>
              <a:ext cx="227013" cy="165100"/>
            </a:xfrm>
            <a:custGeom>
              <a:avLst/>
              <a:gdLst>
                <a:gd name="T0" fmla="*/ 0 w 9"/>
                <a:gd name="T1" fmla="*/ 5 h 7"/>
                <a:gd name="T2" fmla="*/ 0 w 9"/>
                <a:gd name="T3" fmla="*/ 6 h 7"/>
                <a:gd name="T4" fmla="*/ 3 w 9"/>
                <a:gd name="T5" fmla="*/ 6 h 7"/>
                <a:gd name="T6" fmla="*/ 8 w 9"/>
                <a:gd name="T7" fmla="*/ 2 h 7"/>
                <a:gd name="T8" fmla="*/ 9 w 9"/>
                <a:gd name="T9" fmla="*/ 0 h 7"/>
                <a:gd name="T10" fmla="*/ 5 w 9"/>
                <a:gd name="T11" fmla="*/ 3 h 7"/>
                <a:gd name="T12" fmla="*/ 2 w 9"/>
                <a:gd name="T13" fmla="*/ 3 h 7"/>
                <a:gd name="T14" fmla="*/ 0 w 9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0" y="5"/>
                  </a:moveTo>
                  <a:cubicBezTo>
                    <a:pt x="0" y="5"/>
                    <a:pt x="0" y="5"/>
                    <a:pt x="0" y="6"/>
                  </a:cubicBezTo>
                  <a:cubicBezTo>
                    <a:pt x="1" y="7"/>
                    <a:pt x="2" y="7"/>
                    <a:pt x="3" y="6"/>
                  </a:cubicBezTo>
                  <a:cubicBezTo>
                    <a:pt x="7" y="5"/>
                    <a:pt x="8" y="2"/>
                    <a:pt x="8" y="2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6" y="2"/>
                    <a:pt x="5" y="3"/>
                  </a:cubicBezTo>
                  <a:cubicBezTo>
                    <a:pt x="4" y="3"/>
                    <a:pt x="2" y="3"/>
                    <a:pt x="2" y="3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8" name="Freeform 207"/>
            <p:cNvSpPr/>
            <p:nvPr/>
          </p:nvSpPr>
          <p:spPr bwMode="auto">
            <a:xfrm>
              <a:off x="2681288" y="5597525"/>
              <a:ext cx="227013" cy="665162"/>
            </a:xfrm>
            <a:custGeom>
              <a:avLst/>
              <a:gdLst>
                <a:gd name="T0" fmla="*/ 0 w 9"/>
                <a:gd name="T1" fmla="*/ 0 h 28"/>
                <a:gd name="T2" fmla="*/ 0 w 9"/>
                <a:gd name="T3" fmla="*/ 2 h 28"/>
                <a:gd name="T4" fmla="*/ 1 w 9"/>
                <a:gd name="T5" fmla="*/ 1 h 28"/>
                <a:gd name="T6" fmla="*/ 6 w 9"/>
                <a:gd name="T7" fmla="*/ 4 h 28"/>
                <a:gd name="T8" fmla="*/ 7 w 9"/>
                <a:gd name="T9" fmla="*/ 14 h 28"/>
                <a:gd name="T10" fmla="*/ 6 w 9"/>
                <a:gd name="T11" fmla="*/ 22 h 28"/>
                <a:gd name="T12" fmla="*/ 5 w 9"/>
                <a:gd name="T13" fmla="*/ 27 h 28"/>
                <a:gd name="T14" fmla="*/ 6 w 9"/>
                <a:gd name="T15" fmla="*/ 27 h 28"/>
                <a:gd name="T16" fmla="*/ 7 w 9"/>
                <a:gd name="T17" fmla="*/ 27 h 28"/>
                <a:gd name="T18" fmla="*/ 8 w 9"/>
                <a:gd name="T19" fmla="*/ 26 h 28"/>
                <a:gd name="T20" fmla="*/ 7 w 9"/>
                <a:gd name="T21" fmla="*/ 21 h 28"/>
                <a:gd name="T22" fmla="*/ 9 w 9"/>
                <a:gd name="T23" fmla="*/ 13 h 28"/>
                <a:gd name="T24" fmla="*/ 5 w 9"/>
                <a:gd name="T25" fmla="*/ 0 h 28"/>
                <a:gd name="T26" fmla="*/ 0 w 9"/>
                <a:gd name="T2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" h="28">
                  <a:moveTo>
                    <a:pt x="0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5" y="3"/>
                    <a:pt x="6" y="4"/>
                  </a:cubicBezTo>
                  <a:cubicBezTo>
                    <a:pt x="6" y="6"/>
                    <a:pt x="7" y="12"/>
                    <a:pt x="7" y="14"/>
                  </a:cubicBezTo>
                  <a:cubicBezTo>
                    <a:pt x="6" y="16"/>
                    <a:pt x="6" y="21"/>
                    <a:pt x="6" y="22"/>
                  </a:cubicBezTo>
                  <a:cubicBezTo>
                    <a:pt x="6" y="23"/>
                    <a:pt x="6" y="26"/>
                    <a:pt x="5" y="27"/>
                  </a:cubicBezTo>
                  <a:cubicBezTo>
                    <a:pt x="5" y="27"/>
                    <a:pt x="5" y="28"/>
                    <a:pt x="6" y="2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7" y="23"/>
                    <a:pt x="7" y="21"/>
                  </a:cubicBezTo>
                  <a:cubicBezTo>
                    <a:pt x="7" y="19"/>
                    <a:pt x="9" y="14"/>
                    <a:pt x="9" y="13"/>
                  </a:cubicBezTo>
                  <a:cubicBezTo>
                    <a:pt x="9" y="12"/>
                    <a:pt x="5" y="0"/>
                    <a:pt x="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9" name="Freeform 208"/>
            <p:cNvSpPr/>
            <p:nvPr/>
          </p:nvSpPr>
          <p:spPr bwMode="auto">
            <a:xfrm>
              <a:off x="2705101" y="5692775"/>
              <a:ext cx="76200" cy="23812"/>
            </a:xfrm>
            <a:custGeom>
              <a:avLst/>
              <a:gdLst>
                <a:gd name="T0" fmla="*/ 0 w 3"/>
                <a:gd name="T1" fmla="*/ 0 h 1"/>
                <a:gd name="T2" fmla="*/ 0 w 3"/>
                <a:gd name="T3" fmla="*/ 0 h 1"/>
                <a:gd name="T4" fmla="*/ 0 w 3"/>
                <a:gd name="T5" fmla="*/ 1 h 1"/>
                <a:gd name="T6" fmla="*/ 3 w 3"/>
                <a:gd name="T7" fmla="*/ 0 h 1"/>
                <a:gd name="T8" fmla="*/ 0 w 3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1" y="1"/>
                    <a:pt x="0" y="0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0" name="Freeform 209"/>
            <p:cNvSpPr/>
            <p:nvPr/>
          </p:nvSpPr>
          <p:spPr bwMode="auto">
            <a:xfrm>
              <a:off x="2781301" y="5573713"/>
              <a:ext cx="328613" cy="901700"/>
            </a:xfrm>
            <a:custGeom>
              <a:avLst/>
              <a:gdLst>
                <a:gd name="T0" fmla="*/ 0 w 13"/>
                <a:gd name="T1" fmla="*/ 37 h 38"/>
                <a:gd name="T2" fmla="*/ 2 w 13"/>
                <a:gd name="T3" fmla="*/ 31 h 38"/>
                <a:gd name="T4" fmla="*/ 4 w 13"/>
                <a:gd name="T5" fmla="*/ 25 h 38"/>
                <a:gd name="T6" fmla="*/ 3 w 13"/>
                <a:gd name="T7" fmla="*/ 6 h 38"/>
                <a:gd name="T8" fmla="*/ 2 w 13"/>
                <a:gd name="T9" fmla="*/ 1 h 38"/>
                <a:gd name="T10" fmla="*/ 10 w 13"/>
                <a:gd name="T11" fmla="*/ 0 h 38"/>
                <a:gd name="T12" fmla="*/ 11 w 13"/>
                <a:gd name="T13" fmla="*/ 5 h 38"/>
                <a:gd name="T14" fmla="*/ 11 w 13"/>
                <a:gd name="T15" fmla="*/ 18 h 38"/>
                <a:gd name="T16" fmla="*/ 9 w 13"/>
                <a:gd name="T17" fmla="*/ 29 h 38"/>
                <a:gd name="T18" fmla="*/ 4 w 13"/>
                <a:gd name="T19" fmla="*/ 38 h 38"/>
                <a:gd name="T20" fmla="*/ 0 w 13"/>
                <a:gd name="T21" fmla="*/ 3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38">
                  <a:moveTo>
                    <a:pt x="0" y="37"/>
                  </a:moveTo>
                  <a:cubicBezTo>
                    <a:pt x="0" y="37"/>
                    <a:pt x="2" y="32"/>
                    <a:pt x="2" y="31"/>
                  </a:cubicBezTo>
                  <a:cubicBezTo>
                    <a:pt x="3" y="29"/>
                    <a:pt x="4" y="25"/>
                    <a:pt x="4" y="25"/>
                  </a:cubicBezTo>
                  <a:cubicBezTo>
                    <a:pt x="4" y="24"/>
                    <a:pt x="4" y="7"/>
                    <a:pt x="3" y="6"/>
                  </a:cubicBezTo>
                  <a:cubicBezTo>
                    <a:pt x="2" y="5"/>
                    <a:pt x="1" y="2"/>
                    <a:pt x="2" y="1"/>
                  </a:cubicBezTo>
                  <a:cubicBezTo>
                    <a:pt x="2" y="1"/>
                    <a:pt x="10" y="0"/>
                    <a:pt x="10" y="0"/>
                  </a:cubicBezTo>
                  <a:cubicBezTo>
                    <a:pt x="10" y="0"/>
                    <a:pt x="10" y="4"/>
                    <a:pt x="11" y="5"/>
                  </a:cubicBezTo>
                  <a:cubicBezTo>
                    <a:pt x="11" y="6"/>
                    <a:pt x="13" y="13"/>
                    <a:pt x="11" y="18"/>
                  </a:cubicBezTo>
                  <a:cubicBezTo>
                    <a:pt x="9" y="24"/>
                    <a:pt x="8" y="26"/>
                    <a:pt x="9" y="29"/>
                  </a:cubicBezTo>
                  <a:cubicBezTo>
                    <a:pt x="4" y="38"/>
                    <a:pt x="4" y="38"/>
                    <a:pt x="4" y="38"/>
                  </a:cubicBezTo>
                  <a:lnTo>
                    <a:pt x="0" y="37"/>
                  </a:lnTo>
                  <a:close/>
                </a:path>
              </a:pathLst>
            </a:custGeom>
            <a:solidFill>
              <a:srgbClr val="F1B1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1" name="Freeform 210"/>
            <p:cNvSpPr/>
            <p:nvPr/>
          </p:nvSpPr>
          <p:spPr bwMode="auto">
            <a:xfrm>
              <a:off x="2933701" y="5597525"/>
              <a:ext cx="176213" cy="665162"/>
            </a:xfrm>
            <a:custGeom>
              <a:avLst/>
              <a:gdLst>
                <a:gd name="T0" fmla="*/ 2 w 7"/>
                <a:gd name="T1" fmla="*/ 1 h 28"/>
                <a:gd name="T2" fmla="*/ 3 w 7"/>
                <a:gd name="T3" fmla="*/ 6 h 28"/>
                <a:gd name="T4" fmla="*/ 2 w 7"/>
                <a:gd name="T5" fmla="*/ 22 h 28"/>
                <a:gd name="T6" fmla="*/ 2 w 7"/>
                <a:gd name="T7" fmla="*/ 28 h 28"/>
                <a:gd name="T8" fmla="*/ 3 w 7"/>
                <a:gd name="T9" fmla="*/ 27 h 28"/>
                <a:gd name="T10" fmla="*/ 3 w 7"/>
                <a:gd name="T11" fmla="*/ 27 h 28"/>
                <a:gd name="T12" fmla="*/ 5 w 7"/>
                <a:gd name="T13" fmla="*/ 17 h 28"/>
                <a:gd name="T14" fmla="*/ 5 w 7"/>
                <a:gd name="T15" fmla="*/ 4 h 28"/>
                <a:gd name="T16" fmla="*/ 4 w 7"/>
                <a:gd name="T17" fmla="*/ 0 h 28"/>
                <a:gd name="T18" fmla="*/ 2 w 7"/>
                <a:gd name="T19" fmla="*/ 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28">
                  <a:moveTo>
                    <a:pt x="2" y="1"/>
                  </a:moveTo>
                  <a:cubicBezTo>
                    <a:pt x="2" y="1"/>
                    <a:pt x="3" y="5"/>
                    <a:pt x="3" y="6"/>
                  </a:cubicBezTo>
                  <a:cubicBezTo>
                    <a:pt x="4" y="6"/>
                    <a:pt x="5" y="15"/>
                    <a:pt x="2" y="22"/>
                  </a:cubicBezTo>
                  <a:cubicBezTo>
                    <a:pt x="2" y="22"/>
                    <a:pt x="0" y="26"/>
                    <a:pt x="2" y="28"/>
                  </a:cubicBezTo>
                  <a:cubicBezTo>
                    <a:pt x="2" y="28"/>
                    <a:pt x="2" y="26"/>
                    <a:pt x="3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2" y="24"/>
                    <a:pt x="3" y="22"/>
                    <a:pt x="5" y="17"/>
                  </a:cubicBezTo>
                  <a:cubicBezTo>
                    <a:pt x="7" y="12"/>
                    <a:pt x="5" y="5"/>
                    <a:pt x="5" y="4"/>
                  </a:cubicBezTo>
                  <a:cubicBezTo>
                    <a:pt x="4" y="4"/>
                    <a:pt x="4" y="1"/>
                    <a:pt x="4" y="0"/>
                  </a:cubicBezTo>
                  <a:lnTo>
                    <a:pt x="2" y="1"/>
                  </a:ln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2" name="Freeform 211"/>
            <p:cNvSpPr/>
            <p:nvPr/>
          </p:nvSpPr>
          <p:spPr bwMode="auto">
            <a:xfrm>
              <a:off x="2554288" y="4741863"/>
              <a:ext cx="530225" cy="974725"/>
            </a:xfrm>
            <a:custGeom>
              <a:avLst/>
              <a:gdLst>
                <a:gd name="T0" fmla="*/ 0 w 21"/>
                <a:gd name="T1" fmla="*/ 5 h 41"/>
                <a:gd name="T2" fmla="*/ 4 w 21"/>
                <a:gd name="T3" fmla="*/ 38 h 41"/>
                <a:gd name="T4" fmla="*/ 19 w 21"/>
                <a:gd name="T5" fmla="*/ 38 h 41"/>
                <a:gd name="T6" fmla="*/ 20 w 21"/>
                <a:gd name="T7" fmla="*/ 17 h 41"/>
                <a:gd name="T8" fmla="*/ 21 w 21"/>
                <a:gd name="T9" fmla="*/ 7 h 41"/>
                <a:gd name="T10" fmla="*/ 19 w 21"/>
                <a:gd name="T11" fmla="*/ 3 h 41"/>
                <a:gd name="T12" fmla="*/ 3 w 21"/>
                <a:gd name="T13" fmla="*/ 0 h 41"/>
                <a:gd name="T14" fmla="*/ 0 w 21"/>
                <a:gd name="T15" fmla="*/ 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41">
                  <a:moveTo>
                    <a:pt x="0" y="5"/>
                  </a:moveTo>
                  <a:cubicBezTo>
                    <a:pt x="0" y="5"/>
                    <a:pt x="2" y="33"/>
                    <a:pt x="4" y="38"/>
                  </a:cubicBezTo>
                  <a:cubicBezTo>
                    <a:pt x="4" y="38"/>
                    <a:pt x="15" y="41"/>
                    <a:pt x="19" y="38"/>
                  </a:cubicBezTo>
                  <a:cubicBezTo>
                    <a:pt x="19" y="38"/>
                    <a:pt x="19" y="19"/>
                    <a:pt x="20" y="17"/>
                  </a:cubicBezTo>
                  <a:cubicBezTo>
                    <a:pt x="21" y="14"/>
                    <a:pt x="21" y="9"/>
                    <a:pt x="21" y="7"/>
                  </a:cubicBezTo>
                  <a:cubicBezTo>
                    <a:pt x="20" y="6"/>
                    <a:pt x="19" y="3"/>
                    <a:pt x="19" y="3"/>
                  </a:cubicBezTo>
                  <a:cubicBezTo>
                    <a:pt x="3" y="0"/>
                    <a:pt x="3" y="0"/>
                    <a:pt x="3" y="0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3" name="Freeform 212"/>
            <p:cNvSpPr/>
            <p:nvPr/>
          </p:nvSpPr>
          <p:spPr bwMode="auto">
            <a:xfrm>
              <a:off x="2832101" y="3935413"/>
              <a:ext cx="152400" cy="119062"/>
            </a:xfrm>
            <a:custGeom>
              <a:avLst/>
              <a:gdLst>
                <a:gd name="T0" fmla="*/ 0 w 96"/>
                <a:gd name="T1" fmla="*/ 45 h 75"/>
                <a:gd name="T2" fmla="*/ 16 w 96"/>
                <a:gd name="T3" fmla="*/ 75 h 75"/>
                <a:gd name="T4" fmla="*/ 64 w 96"/>
                <a:gd name="T5" fmla="*/ 75 h 75"/>
                <a:gd name="T6" fmla="*/ 96 w 96"/>
                <a:gd name="T7" fmla="*/ 0 h 75"/>
                <a:gd name="T8" fmla="*/ 64 w 96"/>
                <a:gd name="T9" fmla="*/ 0 h 75"/>
                <a:gd name="T10" fmla="*/ 0 w 96"/>
                <a:gd name="T11" fmla="*/ 4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" h="75">
                  <a:moveTo>
                    <a:pt x="0" y="45"/>
                  </a:moveTo>
                  <a:lnTo>
                    <a:pt x="16" y="75"/>
                  </a:lnTo>
                  <a:lnTo>
                    <a:pt x="64" y="75"/>
                  </a:lnTo>
                  <a:lnTo>
                    <a:pt x="96" y="0"/>
                  </a:lnTo>
                  <a:lnTo>
                    <a:pt x="64" y="0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4" name="Freeform 213"/>
            <p:cNvSpPr/>
            <p:nvPr/>
          </p:nvSpPr>
          <p:spPr bwMode="auto">
            <a:xfrm>
              <a:off x="2681288" y="3673476"/>
              <a:ext cx="176213" cy="474662"/>
            </a:xfrm>
            <a:custGeom>
              <a:avLst/>
              <a:gdLst>
                <a:gd name="T0" fmla="*/ 6 w 7"/>
                <a:gd name="T1" fmla="*/ 20 h 20"/>
                <a:gd name="T2" fmla="*/ 3 w 7"/>
                <a:gd name="T3" fmla="*/ 16 h 20"/>
                <a:gd name="T4" fmla="*/ 3 w 7"/>
                <a:gd name="T5" fmla="*/ 13 h 20"/>
                <a:gd name="T6" fmla="*/ 2 w 7"/>
                <a:gd name="T7" fmla="*/ 9 h 20"/>
                <a:gd name="T8" fmla="*/ 3 w 7"/>
                <a:gd name="T9" fmla="*/ 1 h 20"/>
                <a:gd name="T10" fmla="*/ 7 w 7"/>
                <a:gd name="T11" fmla="*/ 0 h 20"/>
                <a:gd name="T12" fmla="*/ 6 w 7"/>
                <a:gd name="T13" fmla="*/ 2 h 20"/>
                <a:gd name="T14" fmla="*/ 7 w 7"/>
                <a:gd name="T15" fmla="*/ 16 h 20"/>
                <a:gd name="T16" fmla="*/ 6 w 7"/>
                <a:gd name="T1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20">
                  <a:moveTo>
                    <a:pt x="6" y="20"/>
                  </a:moveTo>
                  <a:cubicBezTo>
                    <a:pt x="6" y="20"/>
                    <a:pt x="4" y="17"/>
                    <a:pt x="3" y="16"/>
                  </a:cubicBezTo>
                  <a:cubicBezTo>
                    <a:pt x="2" y="15"/>
                    <a:pt x="3" y="13"/>
                    <a:pt x="3" y="13"/>
                  </a:cubicBezTo>
                  <a:cubicBezTo>
                    <a:pt x="3" y="13"/>
                    <a:pt x="2" y="11"/>
                    <a:pt x="2" y="9"/>
                  </a:cubicBezTo>
                  <a:cubicBezTo>
                    <a:pt x="2" y="8"/>
                    <a:pt x="0" y="3"/>
                    <a:pt x="3" y="1"/>
                  </a:cubicBezTo>
                  <a:cubicBezTo>
                    <a:pt x="5" y="0"/>
                    <a:pt x="7" y="0"/>
                    <a:pt x="7" y="0"/>
                  </a:cubicBezTo>
                  <a:cubicBezTo>
                    <a:pt x="7" y="0"/>
                    <a:pt x="7" y="2"/>
                    <a:pt x="6" y="2"/>
                  </a:cubicBezTo>
                  <a:cubicBezTo>
                    <a:pt x="5" y="3"/>
                    <a:pt x="7" y="16"/>
                    <a:pt x="7" y="16"/>
                  </a:cubicBezTo>
                  <a:lnTo>
                    <a:pt x="6" y="20"/>
                  </a:lnTo>
                  <a:close/>
                </a:path>
              </a:pathLst>
            </a:custGeom>
            <a:solidFill>
              <a:srgbClr val="2815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5" name="Freeform 214"/>
            <p:cNvSpPr/>
            <p:nvPr/>
          </p:nvSpPr>
          <p:spPr bwMode="auto">
            <a:xfrm>
              <a:off x="2730501" y="4030663"/>
              <a:ext cx="228600" cy="188912"/>
            </a:xfrm>
            <a:custGeom>
              <a:avLst/>
              <a:gdLst>
                <a:gd name="T0" fmla="*/ 0 w 9"/>
                <a:gd name="T1" fmla="*/ 7 h 8"/>
                <a:gd name="T2" fmla="*/ 2 w 9"/>
                <a:gd name="T3" fmla="*/ 2 h 8"/>
                <a:gd name="T4" fmla="*/ 4 w 9"/>
                <a:gd name="T5" fmla="*/ 1 h 8"/>
                <a:gd name="T6" fmla="*/ 7 w 9"/>
                <a:gd name="T7" fmla="*/ 0 h 8"/>
                <a:gd name="T8" fmla="*/ 9 w 9"/>
                <a:gd name="T9" fmla="*/ 2 h 8"/>
                <a:gd name="T10" fmla="*/ 2 w 9"/>
                <a:gd name="T11" fmla="*/ 8 h 8"/>
                <a:gd name="T12" fmla="*/ 0 w 9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8">
                  <a:moveTo>
                    <a:pt x="0" y="7"/>
                  </a:moveTo>
                  <a:cubicBezTo>
                    <a:pt x="0" y="7"/>
                    <a:pt x="1" y="2"/>
                    <a:pt x="2" y="2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4" y="1"/>
                    <a:pt x="6" y="1"/>
                    <a:pt x="7" y="0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2" y="8"/>
                    <a:pt x="2" y="8"/>
                    <a:pt x="2" y="8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6" name="Freeform 215"/>
            <p:cNvSpPr/>
            <p:nvPr/>
          </p:nvSpPr>
          <p:spPr bwMode="auto">
            <a:xfrm>
              <a:off x="2554288" y="4741863"/>
              <a:ext cx="530225" cy="927100"/>
            </a:xfrm>
            <a:custGeom>
              <a:avLst/>
              <a:gdLst>
                <a:gd name="T0" fmla="*/ 19 w 21"/>
                <a:gd name="T1" fmla="*/ 3 h 39"/>
                <a:gd name="T2" fmla="*/ 3 w 21"/>
                <a:gd name="T3" fmla="*/ 0 h 39"/>
                <a:gd name="T4" fmla="*/ 0 w 21"/>
                <a:gd name="T5" fmla="*/ 5 h 39"/>
                <a:gd name="T6" fmla="*/ 0 w 21"/>
                <a:gd name="T7" fmla="*/ 8 h 39"/>
                <a:gd name="T8" fmla="*/ 2 w 21"/>
                <a:gd name="T9" fmla="*/ 7 h 39"/>
                <a:gd name="T10" fmla="*/ 4 w 21"/>
                <a:gd name="T11" fmla="*/ 4 h 39"/>
                <a:gd name="T12" fmla="*/ 4 w 21"/>
                <a:gd name="T13" fmla="*/ 6 h 39"/>
                <a:gd name="T14" fmla="*/ 8 w 21"/>
                <a:gd name="T15" fmla="*/ 7 h 39"/>
                <a:gd name="T16" fmla="*/ 18 w 21"/>
                <a:gd name="T17" fmla="*/ 7 h 39"/>
                <a:gd name="T18" fmla="*/ 19 w 21"/>
                <a:gd name="T19" fmla="*/ 8 h 39"/>
                <a:gd name="T20" fmla="*/ 15 w 21"/>
                <a:gd name="T21" fmla="*/ 8 h 39"/>
                <a:gd name="T22" fmla="*/ 19 w 21"/>
                <a:gd name="T23" fmla="*/ 10 h 39"/>
                <a:gd name="T24" fmla="*/ 19 w 21"/>
                <a:gd name="T25" fmla="*/ 12 h 39"/>
                <a:gd name="T26" fmla="*/ 18 w 21"/>
                <a:gd name="T27" fmla="*/ 16 h 39"/>
                <a:gd name="T28" fmla="*/ 19 w 21"/>
                <a:gd name="T29" fmla="*/ 31 h 39"/>
                <a:gd name="T30" fmla="*/ 17 w 21"/>
                <a:gd name="T31" fmla="*/ 39 h 39"/>
                <a:gd name="T32" fmla="*/ 19 w 21"/>
                <a:gd name="T33" fmla="*/ 38 h 39"/>
                <a:gd name="T34" fmla="*/ 20 w 21"/>
                <a:gd name="T35" fmla="*/ 17 h 39"/>
                <a:gd name="T36" fmla="*/ 21 w 21"/>
                <a:gd name="T37" fmla="*/ 7 h 39"/>
                <a:gd name="T38" fmla="*/ 19 w 21"/>
                <a:gd name="T39" fmla="*/ 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" h="39">
                  <a:moveTo>
                    <a:pt x="19" y="3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8"/>
                  </a:cubicBezTo>
                  <a:cubicBezTo>
                    <a:pt x="1" y="8"/>
                    <a:pt x="1" y="8"/>
                    <a:pt x="2" y="7"/>
                  </a:cubicBezTo>
                  <a:cubicBezTo>
                    <a:pt x="2" y="7"/>
                    <a:pt x="4" y="4"/>
                    <a:pt x="4" y="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7" y="7"/>
                    <a:pt x="8" y="7"/>
                  </a:cubicBezTo>
                  <a:cubicBezTo>
                    <a:pt x="9" y="7"/>
                    <a:pt x="17" y="6"/>
                    <a:pt x="18" y="7"/>
                  </a:cubicBezTo>
                  <a:cubicBezTo>
                    <a:pt x="18" y="7"/>
                    <a:pt x="19" y="8"/>
                    <a:pt x="19" y="8"/>
                  </a:cubicBezTo>
                  <a:cubicBezTo>
                    <a:pt x="19" y="8"/>
                    <a:pt x="17" y="7"/>
                    <a:pt x="15" y="8"/>
                  </a:cubicBezTo>
                  <a:cubicBezTo>
                    <a:pt x="15" y="8"/>
                    <a:pt x="18" y="8"/>
                    <a:pt x="19" y="10"/>
                  </a:cubicBezTo>
                  <a:cubicBezTo>
                    <a:pt x="20" y="12"/>
                    <a:pt x="19" y="12"/>
                    <a:pt x="19" y="12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9" y="27"/>
                    <a:pt x="19" y="31"/>
                  </a:cubicBezTo>
                  <a:cubicBezTo>
                    <a:pt x="19" y="34"/>
                    <a:pt x="18" y="37"/>
                    <a:pt x="17" y="39"/>
                  </a:cubicBezTo>
                  <a:cubicBezTo>
                    <a:pt x="18" y="39"/>
                    <a:pt x="19" y="38"/>
                    <a:pt x="19" y="38"/>
                  </a:cubicBezTo>
                  <a:cubicBezTo>
                    <a:pt x="19" y="38"/>
                    <a:pt x="19" y="19"/>
                    <a:pt x="20" y="17"/>
                  </a:cubicBezTo>
                  <a:cubicBezTo>
                    <a:pt x="21" y="14"/>
                    <a:pt x="21" y="8"/>
                    <a:pt x="21" y="7"/>
                  </a:cubicBezTo>
                  <a:cubicBezTo>
                    <a:pt x="20" y="5"/>
                    <a:pt x="19" y="3"/>
                    <a:pt x="19" y="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7" name="Freeform 216"/>
            <p:cNvSpPr/>
            <p:nvPr/>
          </p:nvSpPr>
          <p:spPr bwMode="auto">
            <a:xfrm>
              <a:off x="2630488" y="4505325"/>
              <a:ext cx="454025" cy="403225"/>
            </a:xfrm>
            <a:custGeom>
              <a:avLst/>
              <a:gdLst>
                <a:gd name="T0" fmla="*/ 0 w 18"/>
                <a:gd name="T1" fmla="*/ 12 h 17"/>
                <a:gd name="T2" fmla="*/ 2 w 18"/>
                <a:gd name="T3" fmla="*/ 16 h 17"/>
                <a:gd name="T4" fmla="*/ 7 w 18"/>
                <a:gd name="T5" fmla="*/ 16 h 17"/>
                <a:gd name="T6" fmla="*/ 17 w 18"/>
                <a:gd name="T7" fmla="*/ 16 h 17"/>
                <a:gd name="T8" fmla="*/ 18 w 18"/>
                <a:gd name="T9" fmla="*/ 15 h 17"/>
                <a:gd name="T10" fmla="*/ 14 w 18"/>
                <a:gd name="T11" fmla="*/ 7 h 17"/>
                <a:gd name="T12" fmla="*/ 15 w 18"/>
                <a:gd name="T13" fmla="*/ 0 h 17"/>
                <a:gd name="T14" fmla="*/ 2 w 18"/>
                <a:gd name="T15" fmla="*/ 3 h 17"/>
                <a:gd name="T16" fmla="*/ 0 w 18"/>
                <a:gd name="T1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7">
                  <a:moveTo>
                    <a:pt x="0" y="12"/>
                  </a:moveTo>
                  <a:cubicBezTo>
                    <a:pt x="0" y="12"/>
                    <a:pt x="0" y="16"/>
                    <a:pt x="2" y="16"/>
                  </a:cubicBezTo>
                  <a:cubicBezTo>
                    <a:pt x="4" y="16"/>
                    <a:pt x="6" y="17"/>
                    <a:pt x="7" y="16"/>
                  </a:cubicBezTo>
                  <a:cubicBezTo>
                    <a:pt x="9" y="16"/>
                    <a:pt x="17" y="16"/>
                    <a:pt x="17" y="16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4" y="10"/>
                    <a:pt x="14" y="7"/>
                  </a:cubicBezTo>
                  <a:cubicBezTo>
                    <a:pt x="14" y="4"/>
                    <a:pt x="15" y="0"/>
                    <a:pt x="15" y="0"/>
                  </a:cubicBezTo>
                  <a:cubicBezTo>
                    <a:pt x="2" y="3"/>
                    <a:pt x="2" y="3"/>
                    <a:pt x="2" y="3"/>
                  </a:cubicBezTo>
                  <a:lnTo>
                    <a:pt x="0" y="12"/>
                  </a:ln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8" name="Freeform 217"/>
            <p:cNvSpPr/>
            <p:nvPr/>
          </p:nvSpPr>
          <p:spPr bwMode="auto">
            <a:xfrm>
              <a:off x="2755901" y="4648200"/>
              <a:ext cx="25400" cy="236537"/>
            </a:xfrm>
            <a:custGeom>
              <a:avLst/>
              <a:gdLst>
                <a:gd name="T0" fmla="*/ 0 w 1"/>
                <a:gd name="T1" fmla="*/ 10 h 10"/>
                <a:gd name="T2" fmla="*/ 1 w 1"/>
                <a:gd name="T3" fmla="*/ 10 h 10"/>
                <a:gd name="T4" fmla="*/ 1 w 1"/>
                <a:gd name="T5" fmla="*/ 0 h 10"/>
                <a:gd name="T6" fmla="*/ 0 w 1"/>
                <a:gd name="T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0">
                  <a:moveTo>
                    <a:pt x="0" y="10"/>
                  </a:moveTo>
                  <a:cubicBezTo>
                    <a:pt x="0" y="10"/>
                    <a:pt x="1" y="10"/>
                    <a:pt x="1" y="10"/>
                  </a:cubicBezTo>
                  <a:cubicBezTo>
                    <a:pt x="1" y="8"/>
                    <a:pt x="1" y="0"/>
                    <a:pt x="1" y="0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19" name="Freeform 218"/>
            <p:cNvSpPr/>
            <p:nvPr/>
          </p:nvSpPr>
          <p:spPr bwMode="auto">
            <a:xfrm>
              <a:off x="2959101" y="4505325"/>
              <a:ext cx="125413" cy="379412"/>
            </a:xfrm>
            <a:custGeom>
              <a:avLst/>
              <a:gdLst>
                <a:gd name="T0" fmla="*/ 4 w 5"/>
                <a:gd name="T1" fmla="*/ 16 h 16"/>
                <a:gd name="T2" fmla="*/ 5 w 5"/>
                <a:gd name="T3" fmla="*/ 15 h 16"/>
                <a:gd name="T4" fmla="*/ 1 w 5"/>
                <a:gd name="T5" fmla="*/ 7 h 16"/>
                <a:gd name="T6" fmla="*/ 2 w 5"/>
                <a:gd name="T7" fmla="*/ 0 h 16"/>
                <a:gd name="T8" fmla="*/ 1 w 5"/>
                <a:gd name="T9" fmla="*/ 2 h 16"/>
                <a:gd name="T10" fmla="*/ 1 w 5"/>
                <a:gd name="T11" fmla="*/ 7 h 16"/>
                <a:gd name="T12" fmla="*/ 2 w 5"/>
                <a:gd name="T13" fmla="*/ 13 h 16"/>
                <a:gd name="T14" fmla="*/ 2 w 5"/>
                <a:gd name="T15" fmla="*/ 16 h 16"/>
                <a:gd name="T16" fmla="*/ 4 w 5"/>
                <a:gd name="T1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16">
                  <a:moveTo>
                    <a:pt x="4" y="16"/>
                  </a:move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1" y="10"/>
                    <a:pt x="1" y="7"/>
                  </a:cubicBezTo>
                  <a:cubicBezTo>
                    <a:pt x="1" y="4"/>
                    <a:pt x="2" y="1"/>
                    <a:pt x="2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6"/>
                    <a:pt x="1" y="7"/>
                  </a:cubicBezTo>
                  <a:cubicBezTo>
                    <a:pt x="1" y="8"/>
                    <a:pt x="1" y="13"/>
                    <a:pt x="2" y="13"/>
                  </a:cubicBezTo>
                  <a:cubicBezTo>
                    <a:pt x="2" y="14"/>
                    <a:pt x="2" y="15"/>
                    <a:pt x="2" y="16"/>
                  </a:cubicBezTo>
                  <a:cubicBezTo>
                    <a:pt x="3" y="16"/>
                    <a:pt x="4" y="16"/>
                    <a:pt x="4" y="1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0" name="Freeform 219"/>
            <p:cNvSpPr/>
            <p:nvPr/>
          </p:nvSpPr>
          <p:spPr bwMode="auto">
            <a:xfrm>
              <a:off x="2630488" y="4672013"/>
              <a:ext cx="74613" cy="165100"/>
            </a:xfrm>
            <a:custGeom>
              <a:avLst/>
              <a:gdLst>
                <a:gd name="T0" fmla="*/ 0 w 3"/>
                <a:gd name="T1" fmla="*/ 7 h 7"/>
                <a:gd name="T2" fmla="*/ 3 w 3"/>
                <a:gd name="T3" fmla="*/ 0 h 7"/>
                <a:gd name="T4" fmla="*/ 0 w 3"/>
                <a:gd name="T5" fmla="*/ 6 h 7"/>
                <a:gd name="T6" fmla="*/ 0 w 3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7">
                  <a:moveTo>
                    <a:pt x="0" y="7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3"/>
                    <a:pt x="0" y="6"/>
                  </a:cubicBezTo>
                  <a:cubicBezTo>
                    <a:pt x="0" y="6"/>
                    <a:pt x="0" y="6"/>
                    <a:pt x="0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1" name="Freeform 220"/>
            <p:cNvSpPr/>
            <p:nvPr/>
          </p:nvSpPr>
          <p:spPr bwMode="auto">
            <a:xfrm>
              <a:off x="2730501" y="4789488"/>
              <a:ext cx="25400" cy="95250"/>
            </a:xfrm>
            <a:custGeom>
              <a:avLst/>
              <a:gdLst>
                <a:gd name="T0" fmla="*/ 1 w 1"/>
                <a:gd name="T1" fmla="*/ 4 h 4"/>
                <a:gd name="T2" fmla="*/ 1 w 1"/>
                <a:gd name="T3" fmla="*/ 0 h 4"/>
                <a:gd name="T4" fmla="*/ 0 w 1"/>
                <a:gd name="T5" fmla="*/ 4 h 4"/>
                <a:gd name="T6" fmla="*/ 1 w 1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4">
                  <a:moveTo>
                    <a:pt x="1" y="4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3"/>
                    <a:pt x="0" y="4"/>
                  </a:cubicBezTo>
                  <a:cubicBezTo>
                    <a:pt x="0" y="4"/>
                    <a:pt x="1" y="4"/>
                    <a:pt x="1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2" name="Freeform 221"/>
            <p:cNvSpPr/>
            <p:nvPr/>
          </p:nvSpPr>
          <p:spPr bwMode="auto">
            <a:xfrm>
              <a:off x="2528888" y="4648200"/>
              <a:ext cx="176213" cy="260350"/>
            </a:xfrm>
            <a:custGeom>
              <a:avLst/>
              <a:gdLst>
                <a:gd name="T0" fmla="*/ 0 w 7"/>
                <a:gd name="T1" fmla="*/ 10 h 11"/>
                <a:gd name="T2" fmla="*/ 3 w 7"/>
                <a:gd name="T3" fmla="*/ 10 h 11"/>
                <a:gd name="T4" fmla="*/ 7 w 7"/>
                <a:gd name="T5" fmla="*/ 0 h 11"/>
                <a:gd name="T6" fmla="*/ 2 w 7"/>
                <a:gd name="T7" fmla="*/ 0 h 11"/>
                <a:gd name="T8" fmla="*/ 0 w 7"/>
                <a:gd name="T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1">
                  <a:moveTo>
                    <a:pt x="0" y="10"/>
                  </a:moveTo>
                  <a:cubicBezTo>
                    <a:pt x="0" y="10"/>
                    <a:pt x="2" y="11"/>
                    <a:pt x="3" y="10"/>
                  </a:cubicBezTo>
                  <a:cubicBezTo>
                    <a:pt x="3" y="9"/>
                    <a:pt x="7" y="0"/>
                    <a:pt x="7" y="0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3" name="Freeform 222"/>
            <p:cNvSpPr/>
            <p:nvPr/>
          </p:nvSpPr>
          <p:spPr bwMode="auto">
            <a:xfrm>
              <a:off x="2427288" y="4078288"/>
              <a:ext cx="354013" cy="427037"/>
            </a:xfrm>
            <a:custGeom>
              <a:avLst/>
              <a:gdLst>
                <a:gd name="T0" fmla="*/ 0 w 14"/>
                <a:gd name="T1" fmla="*/ 18 h 18"/>
                <a:gd name="T2" fmla="*/ 0 w 14"/>
                <a:gd name="T3" fmla="*/ 16 h 18"/>
                <a:gd name="T4" fmla="*/ 3 w 14"/>
                <a:gd name="T5" fmla="*/ 13 h 18"/>
                <a:gd name="T6" fmla="*/ 6 w 14"/>
                <a:gd name="T7" fmla="*/ 8 h 18"/>
                <a:gd name="T8" fmla="*/ 8 w 14"/>
                <a:gd name="T9" fmla="*/ 3 h 18"/>
                <a:gd name="T10" fmla="*/ 11 w 14"/>
                <a:gd name="T11" fmla="*/ 2 h 18"/>
                <a:gd name="T12" fmla="*/ 13 w 14"/>
                <a:gd name="T13" fmla="*/ 0 h 18"/>
                <a:gd name="T14" fmla="*/ 14 w 14"/>
                <a:gd name="T15" fmla="*/ 0 h 18"/>
                <a:gd name="T16" fmla="*/ 12 w 14"/>
                <a:gd name="T17" fmla="*/ 5 h 18"/>
                <a:gd name="T18" fmla="*/ 5 w 14"/>
                <a:gd name="T19" fmla="*/ 15 h 18"/>
                <a:gd name="T20" fmla="*/ 0 w 14"/>
                <a:gd name="T2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8">
                  <a:moveTo>
                    <a:pt x="0" y="18"/>
                  </a:moveTo>
                  <a:cubicBezTo>
                    <a:pt x="0" y="18"/>
                    <a:pt x="0" y="16"/>
                    <a:pt x="0" y="16"/>
                  </a:cubicBezTo>
                  <a:cubicBezTo>
                    <a:pt x="1" y="15"/>
                    <a:pt x="2" y="13"/>
                    <a:pt x="3" y="13"/>
                  </a:cubicBezTo>
                  <a:cubicBezTo>
                    <a:pt x="3" y="12"/>
                    <a:pt x="5" y="9"/>
                    <a:pt x="6" y="8"/>
                  </a:cubicBezTo>
                  <a:cubicBezTo>
                    <a:pt x="6" y="7"/>
                    <a:pt x="8" y="4"/>
                    <a:pt x="8" y="3"/>
                  </a:cubicBezTo>
                  <a:cubicBezTo>
                    <a:pt x="9" y="2"/>
                    <a:pt x="11" y="2"/>
                    <a:pt x="11" y="2"/>
                  </a:cubicBezTo>
                  <a:cubicBezTo>
                    <a:pt x="11" y="2"/>
                    <a:pt x="12" y="0"/>
                    <a:pt x="13" y="0"/>
                  </a:cubicBezTo>
                  <a:cubicBezTo>
                    <a:pt x="13" y="0"/>
                    <a:pt x="14" y="0"/>
                    <a:pt x="14" y="0"/>
                  </a:cubicBezTo>
                  <a:cubicBezTo>
                    <a:pt x="14" y="0"/>
                    <a:pt x="13" y="4"/>
                    <a:pt x="12" y="5"/>
                  </a:cubicBezTo>
                  <a:cubicBezTo>
                    <a:pt x="11" y="6"/>
                    <a:pt x="5" y="15"/>
                    <a:pt x="5" y="15"/>
                  </a:cubicBezTo>
                  <a:lnTo>
                    <a:pt x="0" y="18"/>
                  </a:ln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4" name="Freeform 223"/>
            <p:cNvSpPr/>
            <p:nvPr/>
          </p:nvSpPr>
          <p:spPr bwMode="auto">
            <a:xfrm>
              <a:off x="2781301" y="4030663"/>
              <a:ext cx="254000" cy="522287"/>
            </a:xfrm>
            <a:custGeom>
              <a:avLst/>
              <a:gdLst>
                <a:gd name="T0" fmla="*/ 6 w 10"/>
                <a:gd name="T1" fmla="*/ 1 h 22"/>
                <a:gd name="T2" fmla="*/ 0 w 10"/>
                <a:gd name="T3" fmla="*/ 7 h 22"/>
                <a:gd name="T4" fmla="*/ 0 w 10"/>
                <a:gd name="T5" fmla="*/ 21 h 22"/>
                <a:gd name="T6" fmla="*/ 7 w 10"/>
                <a:gd name="T7" fmla="*/ 14 h 22"/>
                <a:gd name="T8" fmla="*/ 10 w 10"/>
                <a:gd name="T9" fmla="*/ 1 h 22"/>
                <a:gd name="T10" fmla="*/ 6 w 10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22">
                  <a:moveTo>
                    <a:pt x="6" y="1"/>
                  </a:moveTo>
                  <a:cubicBezTo>
                    <a:pt x="6" y="1"/>
                    <a:pt x="1" y="5"/>
                    <a:pt x="0" y="7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5" y="22"/>
                    <a:pt x="7" y="14"/>
                  </a:cubicBezTo>
                  <a:cubicBezTo>
                    <a:pt x="9" y="7"/>
                    <a:pt x="10" y="1"/>
                    <a:pt x="10" y="1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5" name="Freeform 224"/>
            <p:cNvSpPr/>
            <p:nvPr/>
          </p:nvSpPr>
          <p:spPr bwMode="auto">
            <a:xfrm>
              <a:off x="2554288" y="4171950"/>
              <a:ext cx="252413" cy="500062"/>
            </a:xfrm>
            <a:custGeom>
              <a:avLst/>
              <a:gdLst>
                <a:gd name="T0" fmla="*/ 16 w 159"/>
                <a:gd name="T1" fmla="*/ 0 h 315"/>
                <a:gd name="T2" fmla="*/ 159 w 159"/>
                <a:gd name="T3" fmla="*/ 0 h 315"/>
                <a:gd name="T4" fmla="*/ 159 w 159"/>
                <a:gd name="T5" fmla="*/ 315 h 315"/>
                <a:gd name="T6" fmla="*/ 0 w 159"/>
                <a:gd name="T7" fmla="*/ 315 h 315"/>
                <a:gd name="T8" fmla="*/ 16 w 159"/>
                <a:gd name="T9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9" h="315">
                  <a:moveTo>
                    <a:pt x="16" y="0"/>
                  </a:moveTo>
                  <a:lnTo>
                    <a:pt x="159" y="0"/>
                  </a:lnTo>
                  <a:lnTo>
                    <a:pt x="159" y="315"/>
                  </a:lnTo>
                  <a:lnTo>
                    <a:pt x="0" y="315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6" name="Freeform 225"/>
            <p:cNvSpPr/>
            <p:nvPr/>
          </p:nvSpPr>
          <p:spPr bwMode="auto">
            <a:xfrm>
              <a:off x="2528888" y="4386263"/>
              <a:ext cx="127000" cy="166687"/>
            </a:xfrm>
            <a:custGeom>
              <a:avLst/>
              <a:gdLst>
                <a:gd name="T0" fmla="*/ 1 w 5"/>
                <a:gd name="T1" fmla="*/ 6 h 7"/>
                <a:gd name="T2" fmla="*/ 3 w 5"/>
                <a:gd name="T3" fmla="*/ 7 h 7"/>
                <a:gd name="T4" fmla="*/ 5 w 5"/>
                <a:gd name="T5" fmla="*/ 7 h 7"/>
                <a:gd name="T6" fmla="*/ 4 w 5"/>
                <a:gd name="T7" fmla="*/ 5 h 7"/>
                <a:gd name="T8" fmla="*/ 0 w 5"/>
                <a:gd name="T9" fmla="*/ 0 h 7"/>
                <a:gd name="T10" fmla="*/ 0 w 5"/>
                <a:gd name="T11" fmla="*/ 2 h 7"/>
                <a:gd name="T12" fmla="*/ 1 w 5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7">
                  <a:moveTo>
                    <a:pt x="1" y="6"/>
                  </a:moveTo>
                  <a:cubicBezTo>
                    <a:pt x="1" y="6"/>
                    <a:pt x="2" y="7"/>
                    <a:pt x="3" y="7"/>
                  </a:cubicBezTo>
                  <a:cubicBezTo>
                    <a:pt x="4" y="7"/>
                    <a:pt x="5" y="7"/>
                    <a:pt x="5" y="7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3" y="0"/>
                    <a:pt x="0" y="0"/>
                  </a:cubicBezTo>
                  <a:cubicBezTo>
                    <a:pt x="0" y="0"/>
                    <a:pt x="0" y="2"/>
                    <a:pt x="0" y="2"/>
                  </a:cubicBezTo>
                  <a:cubicBezTo>
                    <a:pt x="1" y="3"/>
                    <a:pt x="1" y="6"/>
                    <a:pt x="1" y="6"/>
                  </a:cubicBezTo>
                  <a:close/>
                </a:path>
              </a:pathLst>
            </a:custGeom>
            <a:solidFill>
              <a:srgbClr val="D081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7" name="Freeform 226"/>
            <p:cNvSpPr/>
            <p:nvPr/>
          </p:nvSpPr>
          <p:spPr bwMode="auto">
            <a:xfrm>
              <a:off x="2376488" y="4433888"/>
              <a:ext cx="177800" cy="190500"/>
            </a:xfrm>
            <a:custGeom>
              <a:avLst/>
              <a:gdLst>
                <a:gd name="T0" fmla="*/ 6 w 7"/>
                <a:gd name="T1" fmla="*/ 0 h 8"/>
                <a:gd name="T2" fmla="*/ 1 w 7"/>
                <a:gd name="T3" fmla="*/ 2 h 8"/>
                <a:gd name="T4" fmla="*/ 3 w 7"/>
                <a:gd name="T5" fmla="*/ 8 h 8"/>
                <a:gd name="T6" fmla="*/ 7 w 7"/>
                <a:gd name="T7" fmla="*/ 5 h 8"/>
                <a:gd name="T8" fmla="*/ 6 w 7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8">
                  <a:moveTo>
                    <a:pt x="6" y="0"/>
                  </a:moveTo>
                  <a:cubicBezTo>
                    <a:pt x="6" y="0"/>
                    <a:pt x="3" y="1"/>
                    <a:pt x="1" y="2"/>
                  </a:cubicBezTo>
                  <a:cubicBezTo>
                    <a:pt x="1" y="2"/>
                    <a:pt x="0" y="7"/>
                    <a:pt x="3" y="8"/>
                  </a:cubicBezTo>
                  <a:cubicBezTo>
                    <a:pt x="6" y="8"/>
                    <a:pt x="7" y="5"/>
                    <a:pt x="7" y="5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8" name="Freeform 227"/>
            <p:cNvSpPr/>
            <p:nvPr/>
          </p:nvSpPr>
          <p:spPr bwMode="auto">
            <a:xfrm>
              <a:off x="2755901" y="4030663"/>
              <a:ext cx="328613" cy="498475"/>
            </a:xfrm>
            <a:custGeom>
              <a:avLst/>
              <a:gdLst>
                <a:gd name="T0" fmla="*/ 0 w 13"/>
                <a:gd name="T1" fmla="*/ 21 h 21"/>
                <a:gd name="T2" fmla="*/ 4 w 13"/>
                <a:gd name="T3" fmla="*/ 15 h 21"/>
                <a:gd name="T4" fmla="*/ 4 w 13"/>
                <a:gd name="T5" fmla="*/ 13 h 21"/>
                <a:gd name="T6" fmla="*/ 5 w 13"/>
                <a:gd name="T7" fmla="*/ 11 h 21"/>
                <a:gd name="T8" fmla="*/ 6 w 13"/>
                <a:gd name="T9" fmla="*/ 9 h 21"/>
                <a:gd name="T10" fmla="*/ 7 w 13"/>
                <a:gd name="T11" fmla="*/ 6 h 21"/>
                <a:gd name="T12" fmla="*/ 8 w 13"/>
                <a:gd name="T13" fmla="*/ 4 h 21"/>
                <a:gd name="T14" fmla="*/ 3 w 13"/>
                <a:gd name="T15" fmla="*/ 6 h 21"/>
                <a:gd name="T16" fmla="*/ 8 w 13"/>
                <a:gd name="T17" fmla="*/ 3 h 21"/>
                <a:gd name="T18" fmla="*/ 8 w 13"/>
                <a:gd name="T19" fmla="*/ 1 h 21"/>
                <a:gd name="T20" fmla="*/ 11 w 13"/>
                <a:gd name="T21" fmla="*/ 0 h 21"/>
                <a:gd name="T22" fmla="*/ 13 w 13"/>
                <a:gd name="T23" fmla="*/ 2 h 21"/>
                <a:gd name="T24" fmla="*/ 11 w 13"/>
                <a:gd name="T25" fmla="*/ 13 h 21"/>
                <a:gd name="T26" fmla="*/ 6 w 13"/>
                <a:gd name="T27" fmla="*/ 21 h 21"/>
                <a:gd name="T28" fmla="*/ 0 w 13"/>
                <a:gd name="T2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" h="21">
                  <a:moveTo>
                    <a:pt x="0" y="21"/>
                  </a:moveTo>
                  <a:cubicBezTo>
                    <a:pt x="0" y="21"/>
                    <a:pt x="3" y="16"/>
                    <a:pt x="4" y="15"/>
                  </a:cubicBezTo>
                  <a:cubicBezTo>
                    <a:pt x="4" y="15"/>
                    <a:pt x="4" y="13"/>
                    <a:pt x="4" y="13"/>
                  </a:cubicBezTo>
                  <a:cubicBezTo>
                    <a:pt x="4" y="12"/>
                    <a:pt x="5" y="11"/>
                    <a:pt x="5" y="11"/>
                  </a:cubicBezTo>
                  <a:cubicBezTo>
                    <a:pt x="5" y="11"/>
                    <a:pt x="6" y="10"/>
                    <a:pt x="6" y="9"/>
                  </a:cubicBezTo>
                  <a:cubicBezTo>
                    <a:pt x="5" y="8"/>
                    <a:pt x="7" y="6"/>
                    <a:pt x="7" y="6"/>
                  </a:cubicBezTo>
                  <a:cubicBezTo>
                    <a:pt x="8" y="5"/>
                    <a:pt x="8" y="4"/>
                    <a:pt x="8" y="4"/>
                  </a:cubicBezTo>
                  <a:cubicBezTo>
                    <a:pt x="8" y="4"/>
                    <a:pt x="4" y="6"/>
                    <a:pt x="3" y="6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7" y="2"/>
                    <a:pt x="8" y="1"/>
                  </a:cubicBezTo>
                  <a:cubicBezTo>
                    <a:pt x="9" y="0"/>
                    <a:pt x="11" y="0"/>
                    <a:pt x="11" y="0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6" y="21"/>
                    <a:pt x="6" y="21"/>
                    <a:pt x="6" y="21"/>
                  </a:cubicBezTo>
                  <a:lnTo>
                    <a:pt x="0" y="2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29" name="Freeform 228"/>
            <p:cNvSpPr/>
            <p:nvPr/>
          </p:nvSpPr>
          <p:spPr bwMode="auto">
            <a:xfrm>
              <a:off x="2401888" y="4529138"/>
              <a:ext cx="177800" cy="95250"/>
            </a:xfrm>
            <a:custGeom>
              <a:avLst/>
              <a:gdLst>
                <a:gd name="T0" fmla="*/ 7 w 7"/>
                <a:gd name="T1" fmla="*/ 0 h 4"/>
                <a:gd name="T2" fmla="*/ 6 w 7"/>
                <a:gd name="T3" fmla="*/ 0 h 4"/>
                <a:gd name="T4" fmla="*/ 5 w 7"/>
                <a:gd name="T5" fmla="*/ 0 h 4"/>
                <a:gd name="T6" fmla="*/ 1 w 7"/>
                <a:gd name="T7" fmla="*/ 2 h 4"/>
                <a:gd name="T8" fmla="*/ 0 w 7"/>
                <a:gd name="T9" fmla="*/ 0 h 4"/>
                <a:gd name="T10" fmla="*/ 2 w 7"/>
                <a:gd name="T11" fmla="*/ 4 h 4"/>
                <a:gd name="T12" fmla="*/ 7 w 7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4">
                  <a:moveTo>
                    <a:pt x="7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3" y="2"/>
                    <a:pt x="1" y="2"/>
                  </a:cubicBezTo>
                  <a:cubicBezTo>
                    <a:pt x="1" y="2"/>
                    <a:pt x="0" y="1"/>
                    <a:pt x="0" y="0"/>
                  </a:cubicBezTo>
                  <a:cubicBezTo>
                    <a:pt x="0" y="1"/>
                    <a:pt x="0" y="3"/>
                    <a:pt x="2" y="4"/>
                  </a:cubicBezTo>
                  <a:cubicBezTo>
                    <a:pt x="5" y="4"/>
                    <a:pt x="7" y="1"/>
                    <a:pt x="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0" name="Freeform 229"/>
            <p:cNvSpPr/>
            <p:nvPr/>
          </p:nvSpPr>
          <p:spPr bwMode="auto">
            <a:xfrm>
              <a:off x="2478088" y="4314825"/>
              <a:ext cx="379413" cy="261937"/>
            </a:xfrm>
            <a:custGeom>
              <a:avLst/>
              <a:gdLst>
                <a:gd name="T0" fmla="*/ 1 w 15"/>
                <a:gd name="T1" fmla="*/ 5 h 11"/>
                <a:gd name="T2" fmla="*/ 1 w 15"/>
                <a:gd name="T3" fmla="*/ 9 h 11"/>
                <a:gd name="T4" fmla="*/ 4 w 15"/>
                <a:gd name="T5" fmla="*/ 9 h 11"/>
                <a:gd name="T6" fmla="*/ 5 w 15"/>
                <a:gd name="T7" fmla="*/ 8 h 11"/>
                <a:gd name="T8" fmla="*/ 13 w 15"/>
                <a:gd name="T9" fmla="*/ 7 h 11"/>
                <a:gd name="T10" fmla="*/ 13 w 15"/>
                <a:gd name="T11" fmla="*/ 7 h 11"/>
                <a:gd name="T12" fmla="*/ 13 w 15"/>
                <a:gd name="T13" fmla="*/ 5 h 11"/>
                <a:gd name="T14" fmla="*/ 14 w 15"/>
                <a:gd name="T15" fmla="*/ 4 h 11"/>
                <a:gd name="T16" fmla="*/ 14 w 15"/>
                <a:gd name="T17" fmla="*/ 3 h 11"/>
                <a:gd name="T18" fmla="*/ 11 w 15"/>
                <a:gd name="T19" fmla="*/ 3 h 11"/>
                <a:gd name="T20" fmla="*/ 12 w 15"/>
                <a:gd name="T21" fmla="*/ 1 h 11"/>
                <a:gd name="T22" fmla="*/ 12 w 15"/>
                <a:gd name="T23" fmla="*/ 0 h 11"/>
                <a:gd name="T24" fmla="*/ 11 w 15"/>
                <a:gd name="T25" fmla="*/ 1 h 11"/>
                <a:gd name="T26" fmla="*/ 7 w 15"/>
                <a:gd name="T27" fmla="*/ 2 h 11"/>
                <a:gd name="T28" fmla="*/ 4 w 15"/>
                <a:gd name="T29" fmla="*/ 4 h 11"/>
                <a:gd name="T30" fmla="*/ 1 w 15"/>
                <a:gd name="T31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11">
                  <a:moveTo>
                    <a:pt x="1" y="5"/>
                  </a:moveTo>
                  <a:cubicBezTo>
                    <a:pt x="1" y="5"/>
                    <a:pt x="0" y="7"/>
                    <a:pt x="1" y="9"/>
                  </a:cubicBezTo>
                  <a:cubicBezTo>
                    <a:pt x="2" y="11"/>
                    <a:pt x="4" y="9"/>
                    <a:pt x="4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11" y="8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4" y="6"/>
                    <a:pt x="13" y="5"/>
                  </a:cubicBezTo>
                  <a:cubicBezTo>
                    <a:pt x="13" y="5"/>
                    <a:pt x="15" y="5"/>
                    <a:pt x="14" y="4"/>
                  </a:cubicBezTo>
                  <a:cubicBezTo>
                    <a:pt x="14" y="4"/>
                    <a:pt x="14" y="4"/>
                    <a:pt x="14" y="3"/>
                  </a:cubicBezTo>
                  <a:cubicBezTo>
                    <a:pt x="14" y="3"/>
                    <a:pt x="14" y="2"/>
                    <a:pt x="11" y="3"/>
                  </a:cubicBezTo>
                  <a:cubicBezTo>
                    <a:pt x="11" y="3"/>
                    <a:pt x="12" y="2"/>
                    <a:pt x="12" y="1"/>
                  </a:cubicBezTo>
                  <a:cubicBezTo>
                    <a:pt x="13" y="1"/>
                    <a:pt x="13" y="0"/>
                    <a:pt x="12" y="0"/>
                  </a:cubicBezTo>
                  <a:cubicBezTo>
                    <a:pt x="12" y="0"/>
                    <a:pt x="11" y="1"/>
                    <a:pt x="11" y="1"/>
                  </a:cubicBezTo>
                  <a:cubicBezTo>
                    <a:pt x="10" y="1"/>
                    <a:pt x="8" y="2"/>
                    <a:pt x="7" y="2"/>
                  </a:cubicBezTo>
                  <a:cubicBezTo>
                    <a:pt x="7" y="3"/>
                    <a:pt x="6" y="3"/>
                    <a:pt x="4" y="4"/>
                  </a:cubicBezTo>
                  <a:cubicBezTo>
                    <a:pt x="2" y="4"/>
                    <a:pt x="1" y="5"/>
                    <a:pt x="1" y="5"/>
                  </a:cubicBezTo>
                  <a:close/>
                </a:path>
              </a:pathLst>
            </a:custGeom>
            <a:solidFill>
              <a:srgbClr val="F1B1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1" name="Freeform 230"/>
            <p:cNvSpPr/>
            <p:nvPr/>
          </p:nvSpPr>
          <p:spPr bwMode="auto">
            <a:xfrm>
              <a:off x="2478088" y="4410075"/>
              <a:ext cx="303213" cy="166687"/>
            </a:xfrm>
            <a:custGeom>
              <a:avLst/>
              <a:gdLst>
                <a:gd name="T0" fmla="*/ 11 w 12"/>
                <a:gd name="T1" fmla="*/ 3 h 7"/>
                <a:gd name="T2" fmla="*/ 7 w 12"/>
                <a:gd name="T3" fmla="*/ 3 h 7"/>
                <a:gd name="T4" fmla="*/ 4 w 12"/>
                <a:gd name="T5" fmla="*/ 3 h 7"/>
                <a:gd name="T6" fmla="*/ 3 w 12"/>
                <a:gd name="T7" fmla="*/ 0 h 7"/>
                <a:gd name="T8" fmla="*/ 1 w 12"/>
                <a:gd name="T9" fmla="*/ 1 h 7"/>
                <a:gd name="T10" fmla="*/ 1 w 12"/>
                <a:gd name="T11" fmla="*/ 5 h 7"/>
                <a:gd name="T12" fmla="*/ 4 w 12"/>
                <a:gd name="T13" fmla="*/ 5 h 7"/>
                <a:gd name="T14" fmla="*/ 5 w 12"/>
                <a:gd name="T15" fmla="*/ 4 h 7"/>
                <a:gd name="T16" fmla="*/ 12 w 12"/>
                <a:gd name="T17" fmla="*/ 3 h 7"/>
                <a:gd name="T18" fmla="*/ 11 w 12"/>
                <a:gd name="T1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7">
                  <a:moveTo>
                    <a:pt x="11" y="3"/>
                  </a:moveTo>
                  <a:cubicBezTo>
                    <a:pt x="10" y="3"/>
                    <a:pt x="8" y="3"/>
                    <a:pt x="7" y="3"/>
                  </a:cubicBezTo>
                  <a:cubicBezTo>
                    <a:pt x="6" y="3"/>
                    <a:pt x="4" y="3"/>
                    <a:pt x="4" y="3"/>
                  </a:cubicBezTo>
                  <a:cubicBezTo>
                    <a:pt x="3" y="3"/>
                    <a:pt x="3" y="1"/>
                    <a:pt x="3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1" y="1"/>
                    <a:pt x="0" y="3"/>
                    <a:pt x="1" y="5"/>
                  </a:cubicBezTo>
                  <a:cubicBezTo>
                    <a:pt x="2" y="7"/>
                    <a:pt x="4" y="5"/>
                    <a:pt x="4" y="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9" y="4"/>
                    <a:pt x="12" y="3"/>
                  </a:cubicBezTo>
                  <a:lnTo>
                    <a:pt x="11" y="3"/>
                  </a:ln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2" name="Freeform 231"/>
            <p:cNvSpPr/>
            <p:nvPr/>
          </p:nvSpPr>
          <p:spPr bwMode="auto">
            <a:xfrm>
              <a:off x="2755901" y="4433888"/>
              <a:ext cx="76200" cy="0"/>
            </a:xfrm>
            <a:custGeom>
              <a:avLst/>
              <a:gdLst>
                <a:gd name="T0" fmla="*/ 2 w 3"/>
                <a:gd name="T1" fmla="*/ 3 w 3"/>
                <a:gd name="T2" fmla="*/ 0 w 3"/>
                <a:gd name="T3" fmla="*/ 2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">
                  <a:moveTo>
                    <a:pt x="2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3" name="Freeform 232"/>
            <p:cNvSpPr/>
            <p:nvPr/>
          </p:nvSpPr>
          <p:spPr bwMode="auto">
            <a:xfrm>
              <a:off x="2730501" y="4338638"/>
              <a:ext cx="76200" cy="47625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3 w 3"/>
                <a:gd name="T5" fmla="*/ 0 h 2"/>
                <a:gd name="T6" fmla="*/ 0 w 3"/>
                <a:gd name="T7" fmla="*/ 1 h 2"/>
                <a:gd name="T8" fmla="*/ 2 w 3"/>
                <a:gd name="T9" fmla="*/ 2 h 2"/>
                <a:gd name="T10" fmla="*/ 1 w 3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1" y="2"/>
                    <a:pt x="2" y="1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2" y="0"/>
                    <a:pt x="1" y="1"/>
                    <a:pt x="0" y="1"/>
                  </a:cubicBezTo>
                  <a:cubicBezTo>
                    <a:pt x="0" y="1"/>
                    <a:pt x="0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4" name="Freeform 233"/>
            <p:cNvSpPr/>
            <p:nvPr/>
          </p:nvSpPr>
          <p:spPr bwMode="auto">
            <a:xfrm>
              <a:off x="2755901" y="4457700"/>
              <a:ext cx="50800" cy="23812"/>
            </a:xfrm>
            <a:custGeom>
              <a:avLst/>
              <a:gdLst>
                <a:gd name="T0" fmla="*/ 1 w 2"/>
                <a:gd name="T1" fmla="*/ 0 h 1"/>
                <a:gd name="T2" fmla="*/ 0 w 2"/>
                <a:gd name="T3" fmla="*/ 0 h 1"/>
                <a:gd name="T4" fmla="*/ 1 w 2"/>
                <a:gd name="T5" fmla="*/ 1 h 1"/>
                <a:gd name="T6" fmla="*/ 2 w 2"/>
                <a:gd name="T7" fmla="*/ 1 h 1"/>
                <a:gd name="T8" fmla="*/ 2 w 2"/>
                <a:gd name="T9" fmla="*/ 0 h 1"/>
                <a:gd name="T10" fmla="*/ 1 w 2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5" name="Freeform 234"/>
            <p:cNvSpPr/>
            <p:nvPr/>
          </p:nvSpPr>
          <p:spPr bwMode="auto">
            <a:xfrm>
              <a:off x="2781301" y="4386263"/>
              <a:ext cx="50800" cy="23812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0 w 2"/>
                <a:gd name="T5" fmla="*/ 1 h 1"/>
                <a:gd name="T6" fmla="*/ 2 w 2"/>
                <a:gd name="T7" fmla="*/ 1 h 1"/>
                <a:gd name="T8" fmla="*/ 2 w 2"/>
                <a:gd name="T9" fmla="*/ 1 h 1"/>
                <a:gd name="T10" fmla="*/ 2 w 2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6" name="Freeform 235"/>
            <p:cNvSpPr/>
            <p:nvPr/>
          </p:nvSpPr>
          <p:spPr bwMode="auto">
            <a:xfrm>
              <a:off x="2755901" y="3697288"/>
              <a:ext cx="228600" cy="333375"/>
            </a:xfrm>
            <a:custGeom>
              <a:avLst/>
              <a:gdLst>
                <a:gd name="T0" fmla="*/ 3 w 9"/>
                <a:gd name="T1" fmla="*/ 1 h 14"/>
                <a:gd name="T2" fmla="*/ 1 w 9"/>
                <a:gd name="T3" fmla="*/ 2 h 14"/>
                <a:gd name="T4" fmla="*/ 0 w 9"/>
                <a:gd name="T5" fmla="*/ 6 h 14"/>
                <a:gd name="T6" fmla="*/ 0 w 9"/>
                <a:gd name="T7" fmla="*/ 8 h 14"/>
                <a:gd name="T8" fmla="*/ 1 w 9"/>
                <a:gd name="T9" fmla="*/ 11 h 14"/>
                <a:gd name="T10" fmla="*/ 3 w 9"/>
                <a:gd name="T11" fmla="*/ 14 h 14"/>
                <a:gd name="T12" fmla="*/ 7 w 9"/>
                <a:gd name="T13" fmla="*/ 12 h 14"/>
                <a:gd name="T14" fmla="*/ 9 w 9"/>
                <a:gd name="T15" fmla="*/ 8 h 14"/>
                <a:gd name="T16" fmla="*/ 3 w 9"/>
                <a:gd name="T17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4">
                  <a:moveTo>
                    <a:pt x="3" y="1"/>
                  </a:moveTo>
                  <a:cubicBezTo>
                    <a:pt x="3" y="1"/>
                    <a:pt x="1" y="1"/>
                    <a:pt x="1" y="2"/>
                  </a:cubicBezTo>
                  <a:cubicBezTo>
                    <a:pt x="0" y="3"/>
                    <a:pt x="0" y="4"/>
                    <a:pt x="0" y="6"/>
                  </a:cubicBezTo>
                  <a:cubicBezTo>
                    <a:pt x="0" y="6"/>
                    <a:pt x="0" y="7"/>
                    <a:pt x="0" y="8"/>
                  </a:cubicBezTo>
                  <a:cubicBezTo>
                    <a:pt x="0" y="8"/>
                    <a:pt x="1" y="11"/>
                    <a:pt x="1" y="11"/>
                  </a:cubicBezTo>
                  <a:cubicBezTo>
                    <a:pt x="1" y="12"/>
                    <a:pt x="2" y="14"/>
                    <a:pt x="3" y="14"/>
                  </a:cubicBezTo>
                  <a:cubicBezTo>
                    <a:pt x="4" y="14"/>
                    <a:pt x="7" y="12"/>
                    <a:pt x="7" y="12"/>
                  </a:cubicBezTo>
                  <a:cubicBezTo>
                    <a:pt x="7" y="11"/>
                    <a:pt x="9" y="10"/>
                    <a:pt x="9" y="8"/>
                  </a:cubicBezTo>
                  <a:cubicBezTo>
                    <a:pt x="8" y="5"/>
                    <a:pt x="5" y="0"/>
                    <a:pt x="3" y="1"/>
                  </a:cubicBezTo>
                  <a:close/>
                </a:path>
              </a:pathLst>
            </a:custGeom>
            <a:solidFill>
              <a:srgbClr val="F1B1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7" name="Freeform 236"/>
            <p:cNvSpPr/>
            <p:nvPr/>
          </p:nvSpPr>
          <p:spPr bwMode="auto">
            <a:xfrm>
              <a:off x="2755901" y="4481513"/>
              <a:ext cx="50800" cy="23812"/>
            </a:xfrm>
            <a:custGeom>
              <a:avLst/>
              <a:gdLst>
                <a:gd name="T0" fmla="*/ 0 w 2"/>
                <a:gd name="T1" fmla="*/ 0 h 1"/>
                <a:gd name="T2" fmla="*/ 0 w 2"/>
                <a:gd name="T3" fmla="*/ 1 h 1"/>
                <a:gd name="T4" fmla="*/ 2 w 2"/>
                <a:gd name="T5" fmla="*/ 0 h 1"/>
                <a:gd name="T6" fmla="*/ 2 w 2"/>
                <a:gd name="T7" fmla="*/ 0 h 1"/>
                <a:gd name="T8" fmla="*/ 0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8" name="Freeform 237"/>
            <p:cNvSpPr/>
            <p:nvPr/>
          </p:nvSpPr>
          <p:spPr bwMode="auto">
            <a:xfrm>
              <a:off x="2832101" y="3744913"/>
              <a:ext cx="152400" cy="285750"/>
            </a:xfrm>
            <a:custGeom>
              <a:avLst/>
              <a:gdLst>
                <a:gd name="T0" fmla="*/ 6 w 6"/>
                <a:gd name="T1" fmla="*/ 6 h 12"/>
                <a:gd name="T2" fmla="*/ 2 w 6"/>
                <a:gd name="T3" fmla="*/ 0 h 12"/>
                <a:gd name="T4" fmla="*/ 1 w 6"/>
                <a:gd name="T5" fmla="*/ 0 h 12"/>
                <a:gd name="T6" fmla="*/ 2 w 6"/>
                <a:gd name="T7" fmla="*/ 3 h 12"/>
                <a:gd name="T8" fmla="*/ 4 w 6"/>
                <a:gd name="T9" fmla="*/ 5 h 12"/>
                <a:gd name="T10" fmla="*/ 3 w 6"/>
                <a:gd name="T11" fmla="*/ 6 h 12"/>
                <a:gd name="T12" fmla="*/ 4 w 6"/>
                <a:gd name="T13" fmla="*/ 9 h 12"/>
                <a:gd name="T14" fmla="*/ 0 w 6"/>
                <a:gd name="T15" fmla="*/ 12 h 12"/>
                <a:gd name="T16" fmla="*/ 4 w 6"/>
                <a:gd name="T17" fmla="*/ 10 h 12"/>
                <a:gd name="T18" fmla="*/ 6 w 6"/>
                <a:gd name="T1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12">
                  <a:moveTo>
                    <a:pt x="6" y="6"/>
                  </a:moveTo>
                  <a:cubicBezTo>
                    <a:pt x="5" y="4"/>
                    <a:pt x="4" y="1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2" y="3"/>
                    <a:pt x="2" y="3"/>
                  </a:cubicBezTo>
                  <a:cubicBezTo>
                    <a:pt x="2" y="3"/>
                    <a:pt x="5" y="4"/>
                    <a:pt x="4" y="5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7"/>
                    <a:pt x="4" y="8"/>
                    <a:pt x="4" y="9"/>
                  </a:cubicBezTo>
                  <a:cubicBezTo>
                    <a:pt x="3" y="10"/>
                    <a:pt x="0" y="12"/>
                    <a:pt x="0" y="12"/>
                  </a:cubicBezTo>
                  <a:cubicBezTo>
                    <a:pt x="1" y="12"/>
                    <a:pt x="4" y="10"/>
                    <a:pt x="4" y="10"/>
                  </a:cubicBezTo>
                  <a:cubicBezTo>
                    <a:pt x="4" y="9"/>
                    <a:pt x="6" y="8"/>
                    <a:pt x="6" y="6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9" name="Freeform 238"/>
            <p:cNvSpPr/>
            <p:nvPr/>
          </p:nvSpPr>
          <p:spPr bwMode="auto">
            <a:xfrm>
              <a:off x="2579688" y="4078288"/>
              <a:ext cx="581025" cy="546100"/>
            </a:xfrm>
            <a:custGeom>
              <a:avLst/>
              <a:gdLst>
                <a:gd name="T0" fmla="*/ 2 w 23"/>
                <a:gd name="T1" fmla="*/ 18 h 23"/>
                <a:gd name="T2" fmla="*/ 4 w 23"/>
                <a:gd name="T3" fmla="*/ 18 h 23"/>
                <a:gd name="T4" fmla="*/ 11 w 23"/>
                <a:gd name="T5" fmla="*/ 17 h 23"/>
                <a:gd name="T6" fmla="*/ 12 w 23"/>
                <a:gd name="T7" fmla="*/ 15 h 23"/>
                <a:gd name="T8" fmla="*/ 15 w 23"/>
                <a:gd name="T9" fmla="*/ 7 h 23"/>
                <a:gd name="T10" fmla="*/ 18 w 23"/>
                <a:gd name="T11" fmla="*/ 2 h 23"/>
                <a:gd name="T12" fmla="*/ 19 w 23"/>
                <a:gd name="T13" fmla="*/ 0 h 23"/>
                <a:gd name="T14" fmla="*/ 23 w 23"/>
                <a:gd name="T15" fmla="*/ 9 h 23"/>
                <a:gd name="T16" fmla="*/ 21 w 23"/>
                <a:gd name="T17" fmla="*/ 14 h 23"/>
                <a:gd name="T18" fmla="*/ 15 w 23"/>
                <a:gd name="T19" fmla="*/ 21 h 23"/>
                <a:gd name="T20" fmla="*/ 14 w 23"/>
                <a:gd name="T21" fmla="*/ 23 h 23"/>
                <a:gd name="T22" fmla="*/ 3 w 23"/>
                <a:gd name="T23" fmla="*/ 23 h 23"/>
                <a:gd name="T24" fmla="*/ 2 w 23"/>
                <a:gd name="T25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23">
                  <a:moveTo>
                    <a:pt x="2" y="18"/>
                  </a:moveTo>
                  <a:cubicBezTo>
                    <a:pt x="2" y="18"/>
                    <a:pt x="3" y="18"/>
                    <a:pt x="4" y="18"/>
                  </a:cubicBezTo>
                  <a:cubicBezTo>
                    <a:pt x="5" y="18"/>
                    <a:pt x="9" y="17"/>
                    <a:pt x="11" y="17"/>
                  </a:cubicBezTo>
                  <a:cubicBezTo>
                    <a:pt x="11" y="17"/>
                    <a:pt x="11" y="16"/>
                    <a:pt x="12" y="15"/>
                  </a:cubicBezTo>
                  <a:cubicBezTo>
                    <a:pt x="13" y="14"/>
                    <a:pt x="14" y="8"/>
                    <a:pt x="15" y="7"/>
                  </a:cubicBezTo>
                  <a:cubicBezTo>
                    <a:pt x="15" y="5"/>
                    <a:pt x="16" y="2"/>
                    <a:pt x="18" y="2"/>
                  </a:cubicBezTo>
                  <a:cubicBezTo>
                    <a:pt x="18" y="2"/>
                    <a:pt x="19" y="0"/>
                    <a:pt x="19" y="0"/>
                  </a:cubicBezTo>
                  <a:cubicBezTo>
                    <a:pt x="20" y="0"/>
                    <a:pt x="23" y="5"/>
                    <a:pt x="23" y="9"/>
                  </a:cubicBezTo>
                  <a:cubicBezTo>
                    <a:pt x="22" y="12"/>
                    <a:pt x="21" y="14"/>
                    <a:pt x="21" y="14"/>
                  </a:cubicBezTo>
                  <a:cubicBezTo>
                    <a:pt x="21" y="14"/>
                    <a:pt x="16" y="20"/>
                    <a:pt x="15" y="21"/>
                  </a:cubicBezTo>
                  <a:cubicBezTo>
                    <a:pt x="14" y="22"/>
                    <a:pt x="15" y="22"/>
                    <a:pt x="14" y="23"/>
                  </a:cubicBezTo>
                  <a:cubicBezTo>
                    <a:pt x="12" y="23"/>
                    <a:pt x="3" y="23"/>
                    <a:pt x="3" y="23"/>
                  </a:cubicBezTo>
                  <a:cubicBezTo>
                    <a:pt x="3" y="23"/>
                    <a:pt x="0" y="21"/>
                    <a:pt x="2" y="18"/>
                  </a:cubicBez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40" name="Freeform 239"/>
            <p:cNvSpPr/>
            <p:nvPr/>
          </p:nvSpPr>
          <p:spPr bwMode="auto">
            <a:xfrm>
              <a:off x="2630488" y="4078288"/>
              <a:ext cx="530225" cy="546100"/>
            </a:xfrm>
            <a:custGeom>
              <a:avLst/>
              <a:gdLst>
                <a:gd name="T0" fmla="*/ 17 w 21"/>
                <a:gd name="T1" fmla="*/ 0 h 23"/>
                <a:gd name="T2" fmla="*/ 16 w 21"/>
                <a:gd name="T3" fmla="*/ 2 h 23"/>
                <a:gd name="T4" fmla="*/ 13 w 21"/>
                <a:gd name="T5" fmla="*/ 5 h 23"/>
                <a:gd name="T6" fmla="*/ 17 w 21"/>
                <a:gd name="T7" fmla="*/ 3 h 23"/>
                <a:gd name="T8" fmla="*/ 18 w 21"/>
                <a:gd name="T9" fmla="*/ 7 h 23"/>
                <a:gd name="T10" fmla="*/ 15 w 21"/>
                <a:gd name="T11" fmla="*/ 8 h 23"/>
                <a:gd name="T12" fmla="*/ 18 w 21"/>
                <a:gd name="T13" fmla="*/ 10 h 23"/>
                <a:gd name="T14" fmla="*/ 18 w 21"/>
                <a:gd name="T15" fmla="*/ 12 h 23"/>
                <a:gd name="T16" fmla="*/ 13 w 21"/>
                <a:gd name="T17" fmla="*/ 13 h 23"/>
                <a:gd name="T18" fmla="*/ 16 w 21"/>
                <a:gd name="T19" fmla="*/ 13 h 23"/>
                <a:gd name="T20" fmla="*/ 13 w 21"/>
                <a:gd name="T21" fmla="*/ 14 h 23"/>
                <a:gd name="T22" fmla="*/ 16 w 21"/>
                <a:gd name="T23" fmla="*/ 14 h 23"/>
                <a:gd name="T24" fmla="*/ 13 w 21"/>
                <a:gd name="T25" fmla="*/ 19 h 23"/>
                <a:gd name="T26" fmla="*/ 11 w 21"/>
                <a:gd name="T27" fmla="*/ 17 h 23"/>
                <a:gd name="T28" fmla="*/ 11 w 21"/>
                <a:gd name="T29" fmla="*/ 21 h 23"/>
                <a:gd name="T30" fmla="*/ 9 w 21"/>
                <a:gd name="T31" fmla="*/ 19 h 23"/>
                <a:gd name="T32" fmla="*/ 10 w 21"/>
                <a:gd name="T33" fmla="*/ 22 h 23"/>
                <a:gd name="T34" fmla="*/ 4 w 21"/>
                <a:gd name="T35" fmla="*/ 22 h 23"/>
                <a:gd name="T36" fmla="*/ 0 w 21"/>
                <a:gd name="T37" fmla="*/ 21 h 23"/>
                <a:gd name="T38" fmla="*/ 1 w 21"/>
                <a:gd name="T39" fmla="*/ 23 h 23"/>
                <a:gd name="T40" fmla="*/ 12 w 21"/>
                <a:gd name="T41" fmla="*/ 23 h 23"/>
                <a:gd name="T42" fmla="*/ 13 w 21"/>
                <a:gd name="T43" fmla="*/ 21 h 23"/>
                <a:gd name="T44" fmla="*/ 19 w 21"/>
                <a:gd name="T45" fmla="*/ 14 h 23"/>
                <a:gd name="T46" fmla="*/ 21 w 21"/>
                <a:gd name="T47" fmla="*/ 9 h 23"/>
                <a:gd name="T48" fmla="*/ 17 w 21"/>
                <a:gd name="T4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" h="23">
                  <a:moveTo>
                    <a:pt x="17" y="0"/>
                  </a:moveTo>
                  <a:cubicBezTo>
                    <a:pt x="17" y="0"/>
                    <a:pt x="16" y="2"/>
                    <a:pt x="16" y="2"/>
                  </a:cubicBezTo>
                  <a:cubicBezTo>
                    <a:pt x="14" y="2"/>
                    <a:pt x="14" y="3"/>
                    <a:pt x="13" y="5"/>
                  </a:cubicBezTo>
                  <a:cubicBezTo>
                    <a:pt x="15" y="3"/>
                    <a:pt x="17" y="3"/>
                    <a:pt x="17" y="3"/>
                  </a:cubicBezTo>
                  <a:cubicBezTo>
                    <a:pt x="17" y="5"/>
                    <a:pt x="18" y="6"/>
                    <a:pt x="18" y="7"/>
                  </a:cubicBezTo>
                  <a:cubicBezTo>
                    <a:pt x="18" y="7"/>
                    <a:pt x="15" y="8"/>
                    <a:pt x="15" y="8"/>
                  </a:cubicBezTo>
                  <a:cubicBezTo>
                    <a:pt x="19" y="8"/>
                    <a:pt x="18" y="10"/>
                    <a:pt x="18" y="10"/>
                  </a:cubicBezTo>
                  <a:cubicBezTo>
                    <a:pt x="18" y="10"/>
                    <a:pt x="18" y="12"/>
                    <a:pt x="18" y="12"/>
                  </a:cubicBezTo>
                  <a:cubicBezTo>
                    <a:pt x="15" y="11"/>
                    <a:pt x="13" y="13"/>
                    <a:pt x="13" y="13"/>
                  </a:cubicBezTo>
                  <a:cubicBezTo>
                    <a:pt x="15" y="12"/>
                    <a:pt x="16" y="13"/>
                    <a:pt x="16" y="13"/>
                  </a:cubicBezTo>
                  <a:cubicBezTo>
                    <a:pt x="14" y="13"/>
                    <a:pt x="13" y="14"/>
                    <a:pt x="13" y="14"/>
                  </a:cubicBezTo>
                  <a:cubicBezTo>
                    <a:pt x="14" y="13"/>
                    <a:pt x="16" y="14"/>
                    <a:pt x="16" y="14"/>
                  </a:cubicBezTo>
                  <a:cubicBezTo>
                    <a:pt x="14" y="14"/>
                    <a:pt x="13" y="19"/>
                    <a:pt x="13" y="19"/>
                  </a:cubicBezTo>
                  <a:cubicBezTo>
                    <a:pt x="13" y="17"/>
                    <a:pt x="11" y="17"/>
                    <a:pt x="11" y="17"/>
                  </a:cubicBezTo>
                  <a:cubicBezTo>
                    <a:pt x="14" y="19"/>
                    <a:pt x="12" y="21"/>
                    <a:pt x="11" y="21"/>
                  </a:cubicBezTo>
                  <a:cubicBezTo>
                    <a:pt x="10" y="21"/>
                    <a:pt x="9" y="19"/>
                    <a:pt x="9" y="19"/>
                  </a:cubicBezTo>
                  <a:cubicBezTo>
                    <a:pt x="9" y="19"/>
                    <a:pt x="10" y="22"/>
                    <a:pt x="10" y="22"/>
                  </a:cubicBezTo>
                  <a:cubicBezTo>
                    <a:pt x="9" y="22"/>
                    <a:pt x="6" y="22"/>
                    <a:pt x="4" y="22"/>
                  </a:cubicBezTo>
                  <a:cubicBezTo>
                    <a:pt x="3" y="21"/>
                    <a:pt x="1" y="21"/>
                    <a:pt x="0" y="21"/>
                  </a:cubicBezTo>
                  <a:cubicBezTo>
                    <a:pt x="0" y="22"/>
                    <a:pt x="1" y="23"/>
                    <a:pt x="1" y="23"/>
                  </a:cubicBezTo>
                  <a:cubicBezTo>
                    <a:pt x="1" y="23"/>
                    <a:pt x="10" y="23"/>
                    <a:pt x="12" y="23"/>
                  </a:cubicBezTo>
                  <a:cubicBezTo>
                    <a:pt x="13" y="22"/>
                    <a:pt x="12" y="22"/>
                    <a:pt x="13" y="21"/>
                  </a:cubicBezTo>
                  <a:cubicBezTo>
                    <a:pt x="14" y="20"/>
                    <a:pt x="19" y="14"/>
                    <a:pt x="19" y="14"/>
                  </a:cubicBezTo>
                  <a:cubicBezTo>
                    <a:pt x="19" y="14"/>
                    <a:pt x="20" y="12"/>
                    <a:pt x="21" y="9"/>
                  </a:cubicBezTo>
                  <a:cubicBezTo>
                    <a:pt x="21" y="5"/>
                    <a:pt x="18" y="0"/>
                    <a:pt x="1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41" name="Freeform 240"/>
            <p:cNvSpPr/>
            <p:nvPr/>
          </p:nvSpPr>
          <p:spPr bwMode="auto">
            <a:xfrm>
              <a:off x="2806701" y="3625851"/>
              <a:ext cx="379413" cy="831850"/>
            </a:xfrm>
            <a:custGeom>
              <a:avLst/>
              <a:gdLst>
                <a:gd name="T0" fmla="*/ 0 w 15"/>
                <a:gd name="T1" fmla="*/ 4 h 35"/>
                <a:gd name="T2" fmla="*/ 2 w 15"/>
                <a:gd name="T3" fmla="*/ 5 h 35"/>
                <a:gd name="T4" fmla="*/ 4 w 15"/>
                <a:gd name="T5" fmla="*/ 8 h 35"/>
                <a:gd name="T6" fmla="*/ 6 w 15"/>
                <a:gd name="T7" fmla="*/ 11 h 35"/>
                <a:gd name="T8" fmla="*/ 6 w 15"/>
                <a:gd name="T9" fmla="*/ 14 h 35"/>
                <a:gd name="T10" fmla="*/ 4 w 15"/>
                <a:gd name="T11" fmla="*/ 18 h 35"/>
                <a:gd name="T12" fmla="*/ 5 w 15"/>
                <a:gd name="T13" fmla="*/ 23 h 35"/>
                <a:gd name="T14" fmla="*/ 4 w 15"/>
                <a:gd name="T15" fmla="*/ 26 h 35"/>
                <a:gd name="T16" fmla="*/ 3 w 15"/>
                <a:gd name="T17" fmla="*/ 28 h 35"/>
                <a:gd name="T18" fmla="*/ 4 w 15"/>
                <a:gd name="T19" fmla="*/ 27 h 35"/>
                <a:gd name="T20" fmla="*/ 4 w 15"/>
                <a:gd name="T21" fmla="*/ 25 h 35"/>
                <a:gd name="T22" fmla="*/ 7 w 15"/>
                <a:gd name="T23" fmla="*/ 21 h 35"/>
                <a:gd name="T24" fmla="*/ 6 w 15"/>
                <a:gd name="T25" fmla="*/ 19 h 35"/>
                <a:gd name="T26" fmla="*/ 8 w 15"/>
                <a:gd name="T27" fmla="*/ 18 h 35"/>
                <a:gd name="T28" fmla="*/ 9 w 15"/>
                <a:gd name="T29" fmla="*/ 20 h 35"/>
                <a:gd name="T30" fmla="*/ 10 w 15"/>
                <a:gd name="T31" fmla="*/ 25 h 35"/>
                <a:gd name="T32" fmla="*/ 10 w 15"/>
                <a:gd name="T33" fmla="*/ 20 h 35"/>
                <a:gd name="T34" fmla="*/ 11 w 15"/>
                <a:gd name="T35" fmla="*/ 21 h 35"/>
                <a:gd name="T36" fmla="*/ 13 w 15"/>
                <a:gd name="T37" fmla="*/ 26 h 35"/>
                <a:gd name="T38" fmla="*/ 12 w 15"/>
                <a:gd name="T39" fmla="*/ 33 h 35"/>
                <a:gd name="T40" fmla="*/ 13 w 15"/>
                <a:gd name="T41" fmla="*/ 33 h 35"/>
                <a:gd name="T42" fmla="*/ 13 w 15"/>
                <a:gd name="T43" fmla="*/ 35 h 35"/>
                <a:gd name="T44" fmla="*/ 13 w 15"/>
                <a:gd name="T45" fmla="*/ 33 h 35"/>
                <a:gd name="T46" fmla="*/ 13 w 15"/>
                <a:gd name="T47" fmla="*/ 31 h 35"/>
                <a:gd name="T48" fmla="*/ 14 w 15"/>
                <a:gd name="T49" fmla="*/ 29 h 35"/>
                <a:gd name="T50" fmla="*/ 14 w 15"/>
                <a:gd name="T51" fmla="*/ 26 h 35"/>
                <a:gd name="T52" fmla="*/ 13 w 15"/>
                <a:gd name="T53" fmla="*/ 23 h 35"/>
                <a:gd name="T54" fmla="*/ 13 w 15"/>
                <a:gd name="T55" fmla="*/ 19 h 35"/>
                <a:gd name="T56" fmla="*/ 10 w 15"/>
                <a:gd name="T57" fmla="*/ 15 h 35"/>
                <a:gd name="T58" fmla="*/ 10 w 15"/>
                <a:gd name="T59" fmla="*/ 9 h 35"/>
                <a:gd name="T60" fmla="*/ 6 w 15"/>
                <a:gd name="T61" fmla="*/ 1 h 35"/>
                <a:gd name="T62" fmla="*/ 2 w 15"/>
                <a:gd name="T63" fmla="*/ 2 h 35"/>
                <a:gd name="T64" fmla="*/ 0 w 15"/>
                <a:gd name="T65" fmla="*/ 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" h="35">
                  <a:moveTo>
                    <a:pt x="0" y="4"/>
                  </a:moveTo>
                  <a:cubicBezTo>
                    <a:pt x="0" y="4"/>
                    <a:pt x="1" y="5"/>
                    <a:pt x="2" y="5"/>
                  </a:cubicBezTo>
                  <a:cubicBezTo>
                    <a:pt x="3" y="5"/>
                    <a:pt x="3" y="6"/>
                    <a:pt x="4" y="8"/>
                  </a:cubicBezTo>
                  <a:cubicBezTo>
                    <a:pt x="4" y="9"/>
                    <a:pt x="4" y="10"/>
                    <a:pt x="6" y="11"/>
                  </a:cubicBezTo>
                  <a:cubicBezTo>
                    <a:pt x="6" y="11"/>
                    <a:pt x="7" y="13"/>
                    <a:pt x="6" y="14"/>
                  </a:cubicBezTo>
                  <a:cubicBezTo>
                    <a:pt x="5" y="15"/>
                    <a:pt x="3" y="17"/>
                    <a:pt x="4" y="18"/>
                  </a:cubicBezTo>
                  <a:cubicBezTo>
                    <a:pt x="5" y="20"/>
                    <a:pt x="6" y="21"/>
                    <a:pt x="5" y="23"/>
                  </a:cubicBezTo>
                  <a:cubicBezTo>
                    <a:pt x="3" y="24"/>
                    <a:pt x="3" y="25"/>
                    <a:pt x="4" y="26"/>
                  </a:cubicBezTo>
                  <a:cubicBezTo>
                    <a:pt x="4" y="27"/>
                    <a:pt x="3" y="27"/>
                    <a:pt x="3" y="28"/>
                  </a:cubicBezTo>
                  <a:cubicBezTo>
                    <a:pt x="3" y="28"/>
                    <a:pt x="4" y="28"/>
                    <a:pt x="4" y="27"/>
                  </a:cubicBezTo>
                  <a:cubicBezTo>
                    <a:pt x="5" y="26"/>
                    <a:pt x="4" y="26"/>
                    <a:pt x="4" y="25"/>
                  </a:cubicBezTo>
                  <a:cubicBezTo>
                    <a:pt x="5" y="24"/>
                    <a:pt x="7" y="23"/>
                    <a:pt x="7" y="21"/>
                  </a:cubicBezTo>
                  <a:cubicBezTo>
                    <a:pt x="7" y="20"/>
                    <a:pt x="6" y="19"/>
                    <a:pt x="6" y="19"/>
                  </a:cubicBezTo>
                  <a:cubicBezTo>
                    <a:pt x="6" y="19"/>
                    <a:pt x="7" y="18"/>
                    <a:pt x="8" y="18"/>
                  </a:cubicBezTo>
                  <a:cubicBezTo>
                    <a:pt x="9" y="18"/>
                    <a:pt x="10" y="19"/>
                    <a:pt x="9" y="20"/>
                  </a:cubicBezTo>
                  <a:cubicBezTo>
                    <a:pt x="9" y="20"/>
                    <a:pt x="8" y="21"/>
                    <a:pt x="10" y="25"/>
                  </a:cubicBezTo>
                  <a:cubicBezTo>
                    <a:pt x="10" y="25"/>
                    <a:pt x="8" y="21"/>
                    <a:pt x="10" y="20"/>
                  </a:cubicBezTo>
                  <a:cubicBezTo>
                    <a:pt x="10" y="20"/>
                    <a:pt x="11" y="20"/>
                    <a:pt x="11" y="21"/>
                  </a:cubicBezTo>
                  <a:cubicBezTo>
                    <a:pt x="11" y="22"/>
                    <a:pt x="13" y="23"/>
                    <a:pt x="13" y="26"/>
                  </a:cubicBezTo>
                  <a:cubicBezTo>
                    <a:pt x="13" y="26"/>
                    <a:pt x="13" y="31"/>
                    <a:pt x="12" y="33"/>
                  </a:cubicBezTo>
                  <a:cubicBezTo>
                    <a:pt x="12" y="33"/>
                    <a:pt x="12" y="33"/>
                    <a:pt x="13" y="33"/>
                  </a:cubicBezTo>
                  <a:cubicBezTo>
                    <a:pt x="13" y="34"/>
                    <a:pt x="12" y="35"/>
                    <a:pt x="13" y="35"/>
                  </a:cubicBezTo>
                  <a:cubicBezTo>
                    <a:pt x="13" y="35"/>
                    <a:pt x="12" y="35"/>
                    <a:pt x="13" y="33"/>
                  </a:cubicBezTo>
                  <a:cubicBezTo>
                    <a:pt x="14" y="32"/>
                    <a:pt x="13" y="31"/>
                    <a:pt x="13" y="31"/>
                  </a:cubicBezTo>
                  <a:cubicBezTo>
                    <a:pt x="13" y="31"/>
                    <a:pt x="14" y="30"/>
                    <a:pt x="14" y="29"/>
                  </a:cubicBezTo>
                  <a:cubicBezTo>
                    <a:pt x="15" y="29"/>
                    <a:pt x="15" y="26"/>
                    <a:pt x="14" y="26"/>
                  </a:cubicBezTo>
                  <a:cubicBezTo>
                    <a:pt x="14" y="25"/>
                    <a:pt x="13" y="23"/>
                    <a:pt x="13" y="23"/>
                  </a:cubicBezTo>
                  <a:cubicBezTo>
                    <a:pt x="14" y="22"/>
                    <a:pt x="14" y="20"/>
                    <a:pt x="13" y="19"/>
                  </a:cubicBezTo>
                  <a:cubicBezTo>
                    <a:pt x="13" y="18"/>
                    <a:pt x="10" y="16"/>
                    <a:pt x="10" y="15"/>
                  </a:cubicBezTo>
                  <a:cubicBezTo>
                    <a:pt x="10" y="14"/>
                    <a:pt x="10" y="12"/>
                    <a:pt x="10" y="9"/>
                  </a:cubicBezTo>
                  <a:cubicBezTo>
                    <a:pt x="10" y="5"/>
                    <a:pt x="7" y="2"/>
                    <a:pt x="6" y="1"/>
                  </a:cubicBezTo>
                  <a:cubicBezTo>
                    <a:pt x="5" y="0"/>
                    <a:pt x="3" y="1"/>
                    <a:pt x="2" y="2"/>
                  </a:cubicBezTo>
                  <a:cubicBezTo>
                    <a:pt x="1" y="3"/>
                    <a:pt x="0" y="4"/>
                    <a:pt x="0" y="4"/>
                  </a:cubicBezTo>
                  <a:close/>
                </a:path>
              </a:pathLst>
            </a:custGeom>
            <a:solidFill>
              <a:srgbClr val="2815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42" name="Freeform 241"/>
            <p:cNvSpPr/>
            <p:nvPr/>
          </p:nvSpPr>
          <p:spPr bwMode="auto">
            <a:xfrm>
              <a:off x="2755901" y="4030663"/>
              <a:ext cx="101600" cy="141287"/>
            </a:xfrm>
            <a:custGeom>
              <a:avLst/>
              <a:gdLst>
                <a:gd name="T0" fmla="*/ 0 w 4"/>
                <a:gd name="T1" fmla="*/ 0 h 6"/>
                <a:gd name="T2" fmla="*/ 1 w 4"/>
                <a:gd name="T3" fmla="*/ 2 h 6"/>
                <a:gd name="T4" fmla="*/ 0 w 4"/>
                <a:gd name="T5" fmla="*/ 4 h 6"/>
                <a:gd name="T6" fmla="*/ 0 w 4"/>
                <a:gd name="T7" fmla="*/ 6 h 6"/>
                <a:gd name="T8" fmla="*/ 1 w 4"/>
                <a:gd name="T9" fmla="*/ 5 h 6"/>
                <a:gd name="T10" fmla="*/ 1 w 4"/>
                <a:gd name="T11" fmla="*/ 3 h 6"/>
                <a:gd name="T12" fmla="*/ 2 w 4"/>
                <a:gd name="T13" fmla="*/ 2 h 6"/>
                <a:gd name="T14" fmla="*/ 3 w 4"/>
                <a:gd name="T15" fmla="*/ 1 h 6"/>
                <a:gd name="T16" fmla="*/ 0 w 4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cubicBezTo>
                    <a:pt x="0" y="0"/>
                    <a:pt x="1" y="2"/>
                    <a:pt x="1" y="2"/>
                  </a:cubicBezTo>
                  <a:cubicBezTo>
                    <a:pt x="1" y="2"/>
                    <a:pt x="0" y="4"/>
                    <a:pt x="0" y="4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1" y="5"/>
                    <a:pt x="1" y="5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3" y="2"/>
                    <a:pt x="4" y="1"/>
                    <a:pt x="3" y="1"/>
                  </a:cubicBezTo>
                  <a:cubicBezTo>
                    <a:pt x="3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2815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43" name="Freeform 242"/>
            <p:cNvSpPr/>
            <p:nvPr/>
          </p:nvSpPr>
          <p:spPr bwMode="auto">
            <a:xfrm>
              <a:off x="2806701" y="4030663"/>
              <a:ext cx="50800" cy="23812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0 h 1"/>
                <a:gd name="T4" fmla="*/ 1 w 2"/>
                <a:gd name="T5" fmla="*/ 1 h 1"/>
                <a:gd name="T6" fmla="*/ 2 w 2"/>
                <a:gd name="T7" fmla="*/ 1 h 1"/>
                <a:gd name="T8" fmla="*/ 2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0"/>
                    <a:pt x="0" y="0"/>
                    <a:pt x="0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44" name="Freeform 243"/>
            <p:cNvSpPr/>
            <p:nvPr/>
          </p:nvSpPr>
          <p:spPr bwMode="auto">
            <a:xfrm>
              <a:off x="2806701" y="4030663"/>
              <a:ext cx="25400" cy="47625"/>
            </a:xfrm>
            <a:custGeom>
              <a:avLst/>
              <a:gdLst>
                <a:gd name="T0" fmla="*/ 0 w 1"/>
                <a:gd name="T1" fmla="*/ 2 h 2"/>
                <a:gd name="T2" fmla="*/ 0 w 1"/>
                <a:gd name="T3" fmla="*/ 2 h 2"/>
                <a:gd name="T4" fmla="*/ 1 w 1"/>
                <a:gd name="T5" fmla="*/ 1 h 2"/>
                <a:gd name="T6" fmla="*/ 0 w 1"/>
                <a:gd name="T7" fmla="*/ 0 h 2"/>
                <a:gd name="T8" fmla="*/ 0 w 1"/>
                <a:gd name="T9" fmla="*/ 1 h 2"/>
                <a:gd name="T10" fmla="*/ 0 w 1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45" name="Freeform 244"/>
            <p:cNvSpPr/>
            <p:nvPr/>
          </p:nvSpPr>
          <p:spPr bwMode="auto">
            <a:xfrm>
              <a:off x="2681288" y="6238875"/>
              <a:ext cx="377825" cy="307975"/>
            </a:xfrm>
            <a:custGeom>
              <a:avLst/>
              <a:gdLst>
                <a:gd name="T0" fmla="*/ 0 w 15"/>
                <a:gd name="T1" fmla="*/ 11 h 13"/>
                <a:gd name="T2" fmla="*/ 2 w 15"/>
                <a:gd name="T3" fmla="*/ 9 h 13"/>
                <a:gd name="T4" fmla="*/ 5 w 15"/>
                <a:gd name="T5" fmla="*/ 6 h 13"/>
                <a:gd name="T6" fmla="*/ 9 w 15"/>
                <a:gd name="T7" fmla="*/ 7 h 13"/>
                <a:gd name="T8" fmla="*/ 13 w 15"/>
                <a:gd name="T9" fmla="*/ 0 h 13"/>
                <a:gd name="T10" fmla="*/ 15 w 15"/>
                <a:gd name="T11" fmla="*/ 4 h 13"/>
                <a:gd name="T12" fmla="*/ 14 w 15"/>
                <a:gd name="T13" fmla="*/ 11 h 13"/>
                <a:gd name="T14" fmla="*/ 13 w 15"/>
                <a:gd name="T15" fmla="*/ 11 h 13"/>
                <a:gd name="T16" fmla="*/ 13 w 15"/>
                <a:gd name="T17" fmla="*/ 6 h 13"/>
                <a:gd name="T18" fmla="*/ 10 w 15"/>
                <a:gd name="T19" fmla="*/ 9 h 13"/>
                <a:gd name="T20" fmla="*/ 8 w 15"/>
                <a:gd name="T21" fmla="*/ 12 h 13"/>
                <a:gd name="T22" fmla="*/ 0 w 15"/>
                <a:gd name="T23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13">
                  <a:moveTo>
                    <a:pt x="0" y="11"/>
                  </a:moveTo>
                  <a:cubicBezTo>
                    <a:pt x="0" y="11"/>
                    <a:pt x="0" y="10"/>
                    <a:pt x="2" y="9"/>
                  </a:cubicBezTo>
                  <a:cubicBezTo>
                    <a:pt x="3" y="9"/>
                    <a:pt x="5" y="6"/>
                    <a:pt x="5" y="6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6"/>
                    <a:pt x="12" y="2"/>
                    <a:pt x="13" y="0"/>
                  </a:cubicBezTo>
                  <a:cubicBezTo>
                    <a:pt x="13" y="0"/>
                    <a:pt x="15" y="2"/>
                    <a:pt x="15" y="4"/>
                  </a:cubicBezTo>
                  <a:cubicBezTo>
                    <a:pt x="15" y="5"/>
                    <a:pt x="14" y="8"/>
                    <a:pt x="14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1" y="7"/>
                    <a:pt x="10" y="9"/>
                  </a:cubicBezTo>
                  <a:cubicBezTo>
                    <a:pt x="10" y="10"/>
                    <a:pt x="9" y="11"/>
                    <a:pt x="8" y="12"/>
                  </a:cubicBezTo>
                  <a:cubicBezTo>
                    <a:pt x="7" y="12"/>
                    <a:pt x="1" y="13"/>
                    <a:pt x="0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pic>
        <p:nvPicPr>
          <p:cNvPr id="146" name="图片 14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7814" y="3259960"/>
            <a:ext cx="961016" cy="2293813"/>
          </a:xfrm>
          <a:prstGeom prst="rect">
            <a:avLst/>
          </a:prstGeom>
        </p:spPr>
      </p:pic>
      <p:pic>
        <p:nvPicPr>
          <p:cNvPr id="147" name="图片 14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75311" y="3231187"/>
            <a:ext cx="1630628" cy="2500296"/>
          </a:xfrm>
          <a:prstGeom prst="rect">
            <a:avLst/>
          </a:prstGeom>
        </p:spPr>
      </p:pic>
      <p:grpSp>
        <p:nvGrpSpPr>
          <p:cNvPr id="148" name="组合 147"/>
          <p:cNvGrpSpPr/>
          <p:nvPr/>
        </p:nvGrpSpPr>
        <p:grpSpPr>
          <a:xfrm>
            <a:off x="9347762" y="3004301"/>
            <a:ext cx="2499418" cy="2265601"/>
            <a:chOff x="1127448" y="2132856"/>
            <a:chExt cx="4280185" cy="3879780"/>
          </a:xfrm>
        </p:grpSpPr>
        <p:grpSp>
          <p:nvGrpSpPr>
            <p:cNvPr id="149" name="组合 148"/>
            <p:cNvGrpSpPr/>
            <p:nvPr/>
          </p:nvGrpSpPr>
          <p:grpSpPr>
            <a:xfrm>
              <a:off x="1127448" y="2132856"/>
              <a:ext cx="4280185" cy="3879780"/>
              <a:chOff x="2182813" y="1119188"/>
              <a:chExt cx="5413376" cy="4906963"/>
            </a:xfrm>
          </p:grpSpPr>
          <p:sp>
            <p:nvSpPr>
              <p:cNvPr id="151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2195513" y="1119188"/>
                <a:ext cx="5400675" cy="4902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52" name="Freeform 5"/>
              <p:cNvSpPr/>
              <p:nvPr/>
            </p:nvSpPr>
            <p:spPr bwMode="auto">
              <a:xfrm>
                <a:off x="4702176" y="1123951"/>
                <a:ext cx="2894013" cy="165100"/>
              </a:xfrm>
              <a:custGeom>
                <a:avLst/>
                <a:gdLst>
                  <a:gd name="T0" fmla="*/ 1823 w 1823"/>
                  <a:gd name="T1" fmla="*/ 0 h 104"/>
                  <a:gd name="T2" fmla="*/ 1823 w 1823"/>
                  <a:gd name="T3" fmla="*/ 104 h 104"/>
                  <a:gd name="T4" fmla="*/ 1756 w 1823"/>
                  <a:gd name="T5" fmla="*/ 104 h 104"/>
                  <a:gd name="T6" fmla="*/ 1756 w 1823"/>
                  <a:gd name="T7" fmla="*/ 53 h 104"/>
                  <a:gd name="T8" fmla="*/ 110 w 1823"/>
                  <a:gd name="T9" fmla="*/ 53 h 104"/>
                  <a:gd name="T10" fmla="*/ 110 w 1823"/>
                  <a:gd name="T11" fmla="*/ 104 h 104"/>
                  <a:gd name="T12" fmla="*/ 0 w 1823"/>
                  <a:gd name="T13" fmla="*/ 104 h 104"/>
                  <a:gd name="T14" fmla="*/ 0 w 1823"/>
                  <a:gd name="T15" fmla="*/ 0 h 104"/>
                  <a:gd name="T16" fmla="*/ 1823 w 1823"/>
                  <a:gd name="T17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23" h="104">
                    <a:moveTo>
                      <a:pt x="1823" y="0"/>
                    </a:moveTo>
                    <a:lnTo>
                      <a:pt x="1823" y="104"/>
                    </a:lnTo>
                    <a:lnTo>
                      <a:pt x="1756" y="104"/>
                    </a:lnTo>
                    <a:lnTo>
                      <a:pt x="1756" y="53"/>
                    </a:lnTo>
                    <a:lnTo>
                      <a:pt x="110" y="53"/>
                    </a:lnTo>
                    <a:lnTo>
                      <a:pt x="110" y="104"/>
                    </a:lnTo>
                    <a:lnTo>
                      <a:pt x="0" y="104"/>
                    </a:lnTo>
                    <a:lnTo>
                      <a:pt x="0" y="0"/>
                    </a:lnTo>
                    <a:lnTo>
                      <a:pt x="1823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53" name="Freeform 6"/>
              <p:cNvSpPr>
                <a:spLocks noEditPoints="1"/>
              </p:cNvSpPr>
              <p:nvPr/>
            </p:nvSpPr>
            <p:spPr bwMode="auto">
              <a:xfrm>
                <a:off x="4876801" y="1289051"/>
                <a:ext cx="2613025" cy="2085975"/>
              </a:xfrm>
              <a:custGeom>
                <a:avLst/>
                <a:gdLst>
                  <a:gd name="T0" fmla="*/ 1646 w 1646"/>
                  <a:gd name="T1" fmla="*/ 0 h 1314"/>
                  <a:gd name="T2" fmla="*/ 1646 w 1646"/>
                  <a:gd name="T3" fmla="*/ 1314 h 1314"/>
                  <a:gd name="T4" fmla="*/ 0 w 1646"/>
                  <a:gd name="T5" fmla="*/ 1314 h 1314"/>
                  <a:gd name="T6" fmla="*/ 0 w 1646"/>
                  <a:gd name="T7" fmla="*/ 0 h 1314"/>
                  <a:gd name="T8" fmla="*/ 1646 w 1646"/>
                  <a:gd name="T9" fmla="*/ 0 h 1314"/>
                  <a:gd name="T10" fmla="*/ 1592 w 1646"/>
                  <a:gd name="T11" fmla="*/ 1266 h 1314"/>
                  <a:gd name="T12" fmla="*/ 1592 w 1646"/>
                  <a:gd name="T13" fmla="*/ 22 h 1314"/>
                  <a:gd name="T14" fmla="*/ 53 w 1646"/>
                  <a:gd name="T15" fmla="*/ 22 h 1314"/>
                  <a:gd name="T16" fmla="*/ 53 w 1646"/>
                  <a:gd name="T17" fmla="*/ 1266 h 1314"/>
                  <a:gd name="T18" fmla="*/ 1592 w 1646"/>
                  <a:gd name="T19" fmla="*/ 1266 h 1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46" h="1314">
                    <a:moveTo>
                      <a:pt x="1646" y="0"/>
                    </a:moveTo>
                    <a:lnTo>
                      <a:pt x="1646" y="1314"/>
                    </a:lnTo>
                    <a:lnTo>
                      <a:pt x="0" y="1314"/>
                    </a:lnTo>
                    <a:lnTo>
                      <a:pt x="0" y="0"/>
                    </a:lnTo>
                    <a:lnTo>
                      <a:pt x="1646" y="0"/>
                    </a:lnTo>
                    <a:close/>
                    <a:moveTo>
                      <a:pt x="1592" y="1266"/>
                    </a:moveTo>
                    <a:lnTo>
                      <a:pt x="1592" y="22"/>
                    </a:lnTo>
                    <a:lnTo>
                      <a:pt x="53" y="22"/>
                    </a:lnTo>
                    <a:lnTo>
                      <a:pt x="53" y="1266"/>
                    </a:lnTo>
                    <a:lnTo>
                      <a:pt x="1592" y="126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54" name="Freeform 7"/>
              <p:cNvSpPr/>
              <p:nvPr/>
            </p:nvSpPr>
            <p:spPr bwMode="auto">
              <a:xfrm>
                <a:off x="6259513" y="1604963"/>
                <a:ext cx="617538" cy="803275"/>
              </a:xfrm>
              <a:custGeom>
                <a:avLst/>
                <a:gdLst>
                  <a:gd name="T0" fmla="*/ 145 w 145"/>
                  <a:gd name="T1" fmla="*/ 161 h 189"/>
                  <a:gd name="T2" fmla="*/ 143 w 145"/>
                  <a:gd name="T3" fmla="*/ 189 h 189"/>
                  <a:gd name="T4" fmla="*/ 0 w 145"/>
                  <a:gd name="T5" fmla="*/ 189 h 189"/>
                  <a:gd name="T6" fmla="*/ 0 w 145"/>
                  <a:gd name="T7" fmla="*/ 0 h 189"/>
                  <a:gd name="T8" fmla="*/ 145 w 145"/>
                  <a:gd name="T9" fmla="*/ 161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5" h="189">
                    <a:moveTo>
                      <a:pt x="145" y="161"/>
                    </a:moveTo>
                    <a:cubicBezTo>
                      <a:pt x="145" y="171"/>
                      <a:pt x="144" y="180"/>
                      <a:pt x="143" y="189"/>
                    </a:cubicBezTo>
                    <a:cubicBezTo>
                      <a:pt x="0" y="189"/>
                      <a:pt x="0" y="189"/>
                      <a:pt x="0" y="18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82" y="9"/>
                      <a:pt x="145" y="78"/>
                      <a:pt x="145" y="161"/>
                    </a:cubicBezTo>
                    <a:close/>
                  </a:path>
                </a:pathLst>
              </a:custGeom>
              <a:solidFill>
                <a:srgbClr val="92D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55" name="Freeform 8"/>
              <p:cNvSpPr>
                <a:spLocks noEditPoints="1"/>
              </p:cNvSpPr>
              <p:nvPr/>
            </p:nvSpPr>
            <p:spPr bwMode="auto">
              <a:xfrm>
                <a:off x="5365751" y="1476376"/>
                <a:ext cx="1635125" cy="1630363"/>
              </a:xfrm>
              <a:custGeom>
                <a:avLst/>
                <a:gdLst>
                  <a:gd name="T0" fmla="*/ 192 w 384"/>
                  <a:gd name="T1" fmla="*/ 0 h 383"/>
                  <a:gd name="T2" fmla="*/ 384 w 384"/>
                  <a:gd name="T3" fmla="*/ 191 h 383"/>
                  <a:gd name="T4" fmla="*/ 192 w 384"/>
                  <a:gd name="T5" fmla="*/ 383 h 383"/>
                  <a:gd name="T6" fmla="*/ 0 w 384"/>
                  <a:gd name="T7" fmla="*/ 191 h 383"/>
                  <a:gd name="T8" fmla="*/ 192 w 384"/>
                  <a:gd name="T9" fmla="*/ 0 h 383"/>
                  <a:gd name="T10" fmla="*/ 353 w 384"/>
                  <a:gd name="T11" fmla="*/ 219 h 383"/>
                  <a:gd name="T12" fmla="*/ 355 w 384"/>
                  <a:gd name="T13" fmla="*/ 191 h 383"/>
                  <a:gd name="T14" fmla="*/ 210 w 384"/>
                  <a:gd name="T15" fmla="*/ 30 h 383"/>
                  <a:gd name="T16" fmla="*/ 192 w 384"/>
                  <a:gd name="T17" fmla="*/ 29 h 383"/>
                  <a:gd name="T18" fmla="*/ 37 w 384"/>
                  <a:gd name="T19" fmla="*/ 140 h 383"/>
                  <a:gd name="T20" fmla="*/ 29 w 384"/>
                  <a:gd name="T21" fmla="*/ 191 h 383"/>
                  <a:gd name="T22" fmla="*/ 192 w 384"/>
                  <a:gd name="T23" fmla="*/ 354 h 383"/>
                  <a:gd name="T24" fmla="*/ 353 w 384"/>
                  <a:gd name="T25" fmla="*/ 219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4" h="383">
                    <a:moveTo>
                      <a:pt x="192" y="0"/>
                    </a:moveTo>
                    <a:cubicBezTo>
                      <a:pt x="298" y="0"/>
                      <a:pt x="384" y="86"/>
                      <a:pt x="384" y="191"/>
                    </a:cubicBezTo>
                    <a:cubicBezTo>
                      <a:pt x="384" y="297"/>
                      <a:pt x="298" y="383"/>
                      <a:pt x="192" y="383"/>
                    </a:cubicBezTo>
                    <a:cubicBezTo>
                      <a:pt x="86" y="383"/>
                      <a:pt x="0" y="297"/>
                      <a:pt x="0" y="191"/>
                    </a:cubicBezTo>
                    <a:cubicBezTo>
                      <a:pt x="0" y="86"/>
                      <a:pt x="86" y="0"/>
                      <a:pt x="192" y="0"/>
                    </a:cubicBezTo>
                    <a:close/>
                    <a:moveTo>
                      <a:pt x="353" y="219"/>
                    </a:moveTo>
                    <a:cubicBezTo>
                      <a:pt x="354" y="210"/>
                      <a:pt x="355" y="201"/>
                      <a:pt x="355" y="191"/>
                    </a:cubicBezTo>
                    <a:cubicBezTo>
                      <a:pt x="355" y="108"/>
                      <a:pt x="292" y="39"/>
                      <a:pt x="210" y="30"/>
                    </a:cubicBezTo>
                    <a:cubicBezTo>
                      <a:pt x="204" y="29"/>
                      <a:pt x="198" y="29"/>
                      <a:pt x="192" y="29"/>
                    </a:cubicBezTo>
                    <a:cubicBezTo>
                      <a:pt x="120" y="29"/>
                      <a:pt x="59" y="75"/>
                      <a:pt x="37" y="140"/>
                    </a:cubicBezTo>
                    <a:cubicBezTo>
                      <a:pt x="32" y="156"/>
                      <a:pt x="29" y="173"/>
                      <a:pt x="29" y="191"/>
                    </a:cubicBezTo>
                    <a:cubicBezTo>
                      <a:pt x="29" y="281"/>
                      <a:pt x="102" y="354"/>
                      <a:pt x="192" y="354"/>
                    </a:cubicBezTo>
                    <a:cubicBezTo>
                      <a:pt x="272" y="354"/>
                      <a:pt x="339" y="296"/>
                      <a:pt x="353" y="219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56" name="Freeform 9"/>
              <p:cNvSpPr/>
              <p:nvPr/>
            </p:nvSpPr>
            <p:spPr bwMode="auto">
              <a:xfrm>
                <a:off x="5519738" y="4940301"/>
                <a:ext cx="1258888" cy="306388"/>
              </a:xfrm>
              <a:custGeom>
                <a:avLst/>
                <a:gdLst>
                  <a:gd name="T0" fmla="*/ 122 w 296"/>
                  <a:gd name="T1" fmla="*/ 0 h 72"/>
                  <a:gd name="T2" fmla="*/ 58 w 296"/>
                  <a:gd name="T3" fmla="*/ 21 h 72"/>
                  <a:gd name="T4" fmla="*/ 148 w 296"/>
                  <a:gd name="T5" fmla="*/ 43 h 72"/>
                  <a:gd name="T6" fmla="*/ 238 w 296"/>
                  <a:gd name="T7" fmla="*/ 21 h 72"/>
                  <a:gd name="T8" fmla="*/ 174 w 296"/>
                  <a:gd name="T9" fmla="*/ 0 h 72"/>
                  <a:gd name="T10" fmla="*/ 174 w 296"/>
                  <a:gd name="T11" fmla="*/ 0 h 72"/>
                  <a:gd name="T12" fmla="*/ 296 w 296"/>
                  <a:gd name="T13" fmla="*/ 35 h 72"/>
                  <a:gd name="T14" fmla="*/ 148 w 296"/>
                  <a:gd name="T15" fmla="*/ 72 h 72"/>
                  <a:gd name="T16" fmla="*/ 0 w 296"/>
                  <a:gd name="T17" fmla="*/ 35 h 72"/>
                  <a:gd name="T18" fmla="*/ 122 w 296"/>
                  <a:gd name="T19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96" h="72">
                    <a:moveTo>
                      <a:pt x="122" y="0"/>
                    </a:moveTo>
                    <a:cubicBezTo>
                      <a:pt x="85" y="3"/>
                      <a:pt x="58" y="11"/>
                      <a:pt x="58" y="21"/>
                    </a:cubicBezTo>
                    <a:cubicBezTo>
                      <a:pt x="58" y="33"/>
                      <a:pt x="99" y="43"/>
                      <a:pt x="148" y="43"/>
                    </a:cubicBezTo>
                    <a:cubicBezTo>
                      <a:pt x="198" y="43"/>
                      <a:pt x="238" y="33"/>
                      <a:pt x="238" y="21"/>
                    </a:cubicBezTo>
                    <a:cubicBezTo>
                      <a:pt x="238" y="11"/>
                      <a:pt x="211" y="3"/>
                      <a:pt x="174" y="0"/>
                    </a:cubicBezTo>
                    <a:cubicBezTo>
                      <a:pt x="174" y="0"/>
                      <a:pt x="174" y="0"/>
                      <a:pt x="174" y="0"/>
                    </a:cubicBezTo>
                    <a:cubicBezTo>
                      <a:pt x="244" y="3"/>
                      <a:pt x="296" y="17"/>
                      <a:pt x="296" y="35"/>
                    </a:cubicBezTo>
                    <a:cubicBezTo>
                      <a:pt x="296" y="55"/>
                      <a:pt x="230" y="72"/>
                      <a:pt x="148" y="72"/>
                    </a:cubicBezTo>
                    <a:cubicBezTo>
                      <a:pt x="66" y="72"/>
                      <a:pt x="0" y="55"/>
                      <a:pt x="0" y="35"/>
                    </a:cubicBezTo>
                    <a:cubicBezTo>
                      <a:pt x="0" y="17"/>
                      <a:pt x="52" y="3"/>
                      <a:pt x="122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57" name="Freeform 10"/>
              <p:cNvSpPr/>
              <p:nvPr/>
            </p:nvSpPr>
            <p:spPr bwMode="auto">
              <a:xfrm>
                <a:off x="6038851" y="3425826"/>
                <a:ext cx="220663" cy="1514475"/>
              </a:xfrm>
              <a:custGeom>
                <a:avLst/>
                <a:gdLst>
                  <a:gd name="T0" fmla="*/ 52 w 52"/>
                  <a:gd name="T1" fmla="*/ 0 h 356"/>
                  <a:gd name="T2" fmla="*/ 52 w 52"/>
                  <a:gd name="T3" fmla="*/ 356 h 356"/>
                  <a:gd name="T4" fmla="*/ 28 w 52"/>
                  <a:gd name="T5" fmla="*/ 355 h 356"/>
                  <a:gd name="T6" fmla="*/ 26 w 52"/>
                  <a:gd name="T7" fmla="*/ 355 h 356"/>
                  <a:gd name="T8" fmla="*/ 24 w 52"/>
                  <a:gd name="T9" fmla="*/ 355 h 356"/>
                  <a:gd name="T10" fmla="*/ 0 w 52"/>
                  <a:gd name="T11" fmla="*/ 356 h 356"/>
                  <a:gd name="T12" fmla="*/ 0 w 52"/>
                  <a:gd name="T13" fmla="*/ 0 h 356"/>
                  <a:gd name="T14" fmla="*/ 52 w 52"/>
                  <a:gd name="T15" fmla="*/ 0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2" h="356">
                    <a:moveTo>
                      <a:pt x="52" y="0"/>
                    </a:moveTo>
                    <a:cubicBezTo>
                      <a:pt x="52" y="356"/>
                      <a:pt x="52" y="356"/>
                      <a:pt x="52" y="356"/>
                    </a:cubicBezTo>
                    <a:cubicBezTo>
                      <a:pt x="44" y="355"/>
                      <a:pt x="36" y="355"/>
                      <a:pt x="28" y="355"/>
                    </a:cubicBezTo>
                    <a:cubicBezTo>
                      <a:pt x="28" y="355"/>
                      <a:pt x="27" y="355"/>
                      <a:pt x="26" y="355"/>
                    </a:cubicBezTo>
                    <a:cubicBezTo>
                      <a:pt x="25" y="355"/>
                      <a:pt x="25" y="355"/>
                      <a:pt x="24" y="355"/>
                    </a:cubicBezTo>
                    <a:cubicBezTo>
                      <a:pt x="16" y="355"/>
                      <a:pt x="8" y="355"/>
                      <a:pt x="0" y="356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52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58" name="Freeform 11"/>
              <p:cNvSpPr/>
              <p:nvPr/>
            </p:nvSpPr>
            <p:spPr bwMode="auto">
              <a:xfrm>
                <a:off x="5522913" y="1600201"/>
                <a:ext cx="660400" cy="808038"/>
              </a:xfrm>
              <a:custGeom>
                <a:avLst/>
                <a:gdLst>
                  <a:gd name="T0" fmla="*/ 155 w 155"/>
                  <a:gd name="T1" fmla="*/ 0 h 190"/>
                  <a:gd name="T2" fmla="*/ 155 w 155"/>
                  <a:gd name="T3" fmla="*/ 190 h 190"/>
                  <a:gd name="T4" fmla="*/ 0 w 155"/>
                  <a:gd name="T5" fmla="*/ 111 h 190"/>
                  <a:gd name="T6" fmla="*/ 155 w 155"/>
                  <a:gd name="T7" fmla="*/ 0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5" h="190">
                    <a:moveTo>
                      <a:pt x="155" y="0"/>
                    </a:moveTo>
                    <a:cubicBezTo>
                      <a:pt x="155" y="190"/>
                      <a:pt x="155" y="190"/>
                      <a:pt x="155" y="190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22" y="46"/>
                      <a:pt x="83" y="0"/>
                      <a:pt x="155" y="0"/>
                    </a:cubicBezTo>
                    <a:close/>
                  </a:path>
                </a:pathLst>
              </a:custGeom>
              <a:solidFill>
                <a:srgbClr val="FF74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59" name="Freeform 12"/>
              <p:cNvSpPr/>
              <p:nvPr/>
            </p:nvSpPr>
            <p:spPr bwMode="auto">
              <a:xfrm>
                <a:off x="4187826" y="4583113"/>
                <a:ext cx="514350" cy="1192213"/>
              </a:xfrm>
              <a:custGeom>
                <a:avLst/>
                <a:gdLst>
                  <a:gd name="T0" fmla="*/ 121 w 121"/>
                  <a:gd name="T1" fmla="*/ 268 h 280"/>
                  <a:gd name="T2" fmla="*/ 70 w 121"/>
                  <a:gd name="T3" fmla="*/ 280 h 280"/>
                  <a:gd name="T4" fmla="*/ 0 w 121"/>
                  <a:gd name="T5" fmla="*/ 92 h 280"/>
                  <a:gd name="T6" fmla="*/ 32 w 121"/>
                  <a:gd name="T7" fmla="*/ 0 h 280"/>
                  <a:gd name="T8" fmla="*/ 42 w 121"/>
                  <a:gd name="T9" fmla="*/ 23 h 280"/>
                  <a:gd name="T10" fmla="*/ 121 w 121"/>
                  <a:gd name="T11" fmla="*/ 268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1" h="280">
                    <a:moveTo>
                      <a:pt x="121" y="268"/>
                    </a:moveTo>
                    <a:cubicBezTo>
                      <a:pt x="70" y="280"/>
                      <a:pt x="70" y="280"/>
                      <a:pt x="70" y="280"/>
                    </a:cubicBezTo>
                    <a:cubicBezTo>
                      <a:pt x="0" y="92"/>
                      <a:pt x="0" y="92"/>
                      <a:pt x="0" y="92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6" y="5"/>
                      <a:pt x="40" y="13"/>
                      <a:pt x="42" y="23"/>
                    </a:cubicBezTo>
                    <a:cubicBezTo>
                      <a:pt x="47" y="50"/>
                      <a:pt x="121" y="268"/>
                      <a:pt x="121" y="26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60" name="Freeform 13"/>
              <p:cNvSpPr/>
              <p:nvPr/>
            </p:nvSpPr>
            <p:spPr bwMode="auto">
              <a:xfrm>
                <a:off x="2182813" y="2101851"/>
                <a:ext cx="2405063" cy="3468688"/>
              </a:xfrm>
              <a:custGeom>
                <a:avLst/>
                <a:gdLst>
                  <a:gd name="T0" fmla="*/ 536 w 565"/>
                  <a:gd name="T1" fmla="*/ 0 h 815"/>
                  <a:gd name="T2" fmla="*/ 565 w 565"/>
                  <a:gd name="T3" fmla="*/ 34 h 815"/>
                  <a:gd name="T4" fmla="*/ 436 w 565"/>
                  <a:gd name="T5" fmla="*/ 152 h 815"/>
                  <a:gd name="T6" fmla="*/ 329 w 565"/>
                  <a:gd name="T7" fmla="*/ 201 h 815"/>
                  <a:gd name="T8" fmla="*/ 317 w 565"/>
                  <a:gd name="T9" fmla="*/ 444 h 815"/>
                  <a:gd name="T10" fmla="*/ 422 w 565"/>
                  <a:gd name="T11" fmla="*/ 483 h 815"/>
                  <a:gd name="T12" fmla="*/ 495 w 565"/>
                  <a:gd name="T13" fmla="*/ 554 h 815"/>
                  <a:gd name="T14" fmla="*/ 490 w 565"/>
                  <a:gd name="T15" fmla="*/ 571 h 815"/>
                  <a:gd name="T16" fmla="*/ 465 w 565"/>
                  <a:gd name="T17" fmla="*/ 658 h 815"/>
                  <a:gd name="T18" fmla="*/ 465 w 565"/>
                  <a:gd name="T19" fmla="*/ 658 h 815"/>
                  <a:gd name="T20" fmla="*/ 420 w 565"/>
                  <a:gd name="T21" fmla="*/ 815 h 815"/>
                  <a:gd name="T22" fmla="*/ 365 w 565"/>
                  <a:gd name="T23" fmla="*/ 815 h 815"/>
                  <a:gd name="T24" fmla="*/ 404 w 565"/>
                  <a:gd name="T25" fmla="*/ 556 h 815"/>
                  <a:gd name="T26" fmla="*/ 323 w 565"/>
                  <a:gd name="T27" fmla="*/ 536 h 815"/>
                  <a:gd name="T28" fmla="*/ 331 w 565"/>
                  <a:gd name="T29" fmla="*/ 523 h 815"/>
                  <a:gd name="T30" fmla="*/ 316 w 565"/>
                  <a:gd name="T31" fmla="*/ 508 h 815"/>
                  <a:gd name="T32" fmla="*/ 229 w 565"/>
                  <a:gd name="T33" fmla="*/ 508 h 815"/>
                  <a:gd name="T34" fmla="*/ 154 w 565"/>
                  <a:gd name="T35" fmla="*/ 449 h 815"/>
                  <a:gd name="T36" fmla="*/ 129 w 565"/>
                  <a:gd name="T37" fmla="*/ 252 h 815"/>
                  <a:gd name="T38" fmla="*/ 120 w 565"/>
                  <a:gd name="T39" fmla="*/ 234 h 815"/>
                  <a:gd name="T40" fmla="*/ 66 w 565"/>
                  <a:gd name="T41" fmla="*/ 334 h 815"/>
                  <a:gd name="T42" fmla="*/ 134 w 565"/>
                  <a:gd name="T43" fmla="*/ 374 h 815"/>
                  <a:gd name="T44" fmla="*/ 122 w 565"/>
                  <a:gd name="T45" fmla="*/ 408 h 815"/>
                  <a:gd name="T46" fmla="*/ 27 w 565"/>
                  <a:gd name="T47" fmla="*/ 374 h 815"/>
                  <a:gd name="T48" fmla="*/ 2 w 565"/>
                  <a:gd name="T49" fmla="*/ 322 h 815"/>
                  <a:gd name="T50" fmla="*/ 68 w 565"/>
                  <a:gd name="T51" fmla="*/ 172 h 815"/>
                  <a:gd name="T52" fmla="*/ 197 w 565"/>
                  <a:gd name="T53" fmla="*/ 124 h 815"/>
                  <a:gd name="T54" fmla="*/ 242 w 565"/>
                  <a:gd name="T55" fmla="*/ 163 h 815"/>
                  <a:gd name="T56" fmla="*/ 210 w 565"/>
                  <a:gd name="T57" fmla="*/ 299 h 815"/>
                  <a:gd name="T58" fmla="*/ 242 w 565"/>
                  <a:gd name="T59" fmla="*/ 345 h 815"/>
                  <a:gd name="T60" fmla="*/ 275 w 565"/>
                  <a:gd name="T61" fmla="*/ 302 h 815"/>
                  <a:gd name="T62" fmla="*/ 242 w 565"/>
                  <a:gd name="T63" fmla="*/ 163 h 815"/>
                  <a:gd name="T64" fmla="*/ 268 w 565"/>
                  <a:gd name="T65" fmla="*/ 128 h 815"/>
                  <a:gd name="T66" fmla="*/ 399 w 565"/>
                  <a:gd name="T67" fmla="*/ 111 h 815"/>
                  <a:gd name="T68" fmla="*/ 536 w 565"/>
                  <a:gd name="T69" fmla="*/ 0 h 8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65" h="815">
                    <a:moveTo>
                      <a:pt x="536" y="0"/>
                    </a:moveTo>
                    <a:cubicBezTo>
                      <a:pt x="565" y="34"/>
                      <a:pt x="565" y="34"/>
                      <a:pt x="565" y="34"/>
                    </a:cubicBezTo>
                    <a:cubicBezTo>
                      <a:pt x="436" y="152"/>
                      <a:pt x="436" y="152"/>
                      <a:pt x="436" y="152"/>
                    </a:cubicBezTo>
                    <a:cubicBezTo>
                      <a:pt x="436" y="152"/>
                      <a:pt x="380" y="194"/>
                      <a:pt x="329" y="201"/>
                    </a:cubicBezTo>
                    <a:cubicBezTo>
                      <a:pt x="306" y="204"/>
                      <a:pt x="317" y="444"/>
                      <a:pt x="317" y="444"/>
                    </a:cubicBezTo>
                    <a:cubicBezTo>
                      <a:pt x="317" y="444"/>
                      <a:pt x="343" y="458"/>
                      <a:pt x="422" y="483"/>
                    </a:cubicBezTo>
                    <a:cubicBezTo>
                      <a:pt x="502" y="508"/>
                      <a:pt x="495" y="554"/>
                      <a:pt x="495" y="554"/>
                    </a:cubicBezTo>
                    <a:cubicBezTo>
                      <a:pt x="490" y="571"/>
                      <a:pt x="490" y="571"/>
                      <a:pt x="490" y="571"/>
                    </a:cubicBezTo>
                    <a:cubicBezTo>
                      <a:pt x="465" y="658"/>
                      <a:pt x="465" y="658"/>
                      <a:pt x="465" y="658"/>
                    </a:cubicBezTo>
                    <a:cubicBezTo>
                      <a:pt x="465" y="658"/>
                      <a:pt x="465" y="658"/>
                      <a:pt x="465" y="658"/>
                    </a:cubicBezTo>
                    <a:cubicBezTo>
                      <a:pt x="420" y="815"/>
                      <a:pt x="420" y="815"/>
                      <a:pt x="420" y="815"/>
                    </a:cubicBezTo>
                    <a:cubicBezTo>
                      <a:pt x="365" y="815"/>
                      <a:pt x="365" y="815"/>
                      <a:pt x="365" y="815"/>
                    </a:cubicBezTo>
                    <a:cubicBezTo>
                      <a:pt x="404" y="556"/>
                      <a:pt x="404" y="556"/>
                      <a:pt x="404" y="556"/>
                    </a:cubicBezTo>
                    <a:cubicBezTo>
                      <a:pt x="404" y="556"/>
                      <a:pt x="370" y="548"/>
                      <a:pt x="323" y="536"/>
                    </a:cubicBezTo>
                    <a:cubicBezTo>
                      <a:pt x="328" y="533"/>
                      <a:pt x="331" y="529"/>
                      <a:pt x="331" y="523"/>
                    </a:cubicBezTo>
                    <a:cubicBezTo>
                      <a:pt x="331" y="515"/>
                      <a:pt x="324" y="508"/>
                      <a:pt x="316" y="508"/>
                    </a:cubicBezTo>
                    <a:cubicBezTo>
                      <a:pt x="229" y="508"/>
                      <a:pt x="229" y="508"/>
                      <a:pt x="229" y="508"/>
                    </a:cubicBezTo>
                    <a:cubicBezTo>
                      <a:pt x="159" y="484"/>
                      <a:pt x="154" y="449"/>
                      <a:pt x="154" y="449"/>
                    </a:cubicBezTo>
                    <a:cubicBezTo>
                      <a:pt x="129" y="252"/>
                      <a:pt x="129" y="252"/>
                      <a:pt x="129" y="252"/>
                    </a:cubicBezTo>
                    <a:cubicBezTo>
                      <a:pt x="120" y="234"/>
                      <a:pt x="120" y="234"/>
                      <a:pt x="120" y="234"/>
                    </a:cubicBezTo>
                    <a:cubicBezTo>
                      <a:pt x="66" y="334"/>
                      <a:pt x="66" y="334"/>
                      <a:pt x="66" y="334"/>
                    </a:cubicBezTo>
                    <a:cubicBezTo>
                      <a:pt x="134" y="374"/>
                      <a:pt x="134" y="374"/>
                      <a:pt x="134" y="374"/>
                    </a:cubicBezTo>
                    <a:cubicBezTo>
                      <a:pt x="122" y="408"/>
                      <a:pt x="122" y="408"/>
                      <a:pt x="122" y="408"/>
                    </a:cubicBezTo>
                    <a:cubicBezTo>
                      <a:pt x="122" y="408"/>
                      <a:pt x="54" y="383"/>
                      <a:pt x="27" y="374"/>
                    </a:cubicBezTo>
                    <a:cubicBezTo>
                      <a:pt x="0" y="365"/>
                      <a:pt x="2" y="322"/>
                      <a:pt x="2" y="322"/>
                    </a:cubicBezTo>
                    <a:cubicBezTo>
                      <a:pt x="2" y="322"/>
                      <a:pt x="36" y="238"/>
                      <a:pt x="68" y="172"/>
                    </a:cubicBezTo>
                    <a:cubicBezTo>
                      <a:pt x="88" y="130"/>
                      <a:pt x="153" y="123"/>
                      <a:pt x="197" y="124"/>
                    </a:cubicBezTo>
                    <a:cubicBezTo>
                      <a:pt x="242" y="163"/>
                      <a:pt x="242" y="163"/>
                      <a:pt x="242" y="163"/>
                    </a:cubicBezTo>
                    <a:cubicBezTo>
                      <a:pt x="210" y="299"/>
                      <a:pt x="210" y="299"/>
                      <a:pt x="210" y="299"/>
                    </a:cubicBezTo>
                    <a:cubicBezTo>
                      <a:pt x="242" y="345"/>
                      <a:pt x="242" y="345"/>
                      <a:pt x="242" y="345"/>
                    </a:cubicBezTo>
                    <a:cubicBezTo>
                      <a:pt x="275" y="302"/>
                      <a:pt x="275" y="302"/>
                      <a:pt x="275" y="302"/>
                    </a:cubicBezTo>
                    <a:cubicBezTo>
                      <a:pt x="242" y="163"/>
                      <a:pt x="242" y="163"/>
                      <a:pt x="242" y="163"/>
                    </a:cubicBezTo>
                    <a:cubicBezTo>
                      <a:pt x="268" y="128"/>
                      <a:pt x="268" y="128"/>
                      <a:pt x="268" y="128"/>
                    </a:cubicBezTo>
                    <a:cubicBezTo>
                      <a:pt x="304" y="130"/>
                      <a:pt x="371" y="130"/>
                      <a:pt x="399" y="111"/>
                    </a:cubicBezTo>
                    <a:cubicBezTo>
                      <a:pt x="440" y="84"/>
                      <a:pt x="536" y="0"/>
                      <a:pt x="536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61" name="Freeform 14"/>
              <p:cNvSpPr/>
              <p:nvPr/>
            </p:nvSpPr>
            <p:spPr bwMode="auto">
              <a:xfrm>
                <a:off x="3157538" y="4264026"/>
                <a:ext cx="433388" cy="119063"/>
              </a:xfrm>
              <a:custGeom>
                <a:avLst/>
                <a:gdLst>
                  <a:gd name="T0" fmla="*/ 87 w 102"/>
                  <a:gd name="T1" fmla="*/ 0 h 28"/>
                  <a:gd name="T2" fmla="*/ 102 w 102"/>
                  <a:gd name="T3" fmla="*/ 15 h 28"/>
                  <a:gd name="T4" fmla="*/ 94 w 102"/>
                  <a:gd name="T5" fmla="*/ 28 h 28"/>
                  <a:gd name="T6" fmla="*/ 13 w 102"/>
                  <a:gd name="T7" fmla="*/ 5 h 28"/>
                  <a:gd name="T8" fmla="*/ 0 w 102"/>
                  <a:gd name="T9" fmla="*/ 0 h 28"/>
                  <a:gd name="T10" fmla="*/ 87 w 102"/>
                  <a:gd name="T11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2" h="28">
                    <a:moveTo>
                      <a:pt x="87" y="0"/>
                    </a:moveTo>
                    <a:cubicBezTo>
                      <a:pt x="95" y="0"/>
                      <a:pt x="102" y="7"/>
                      <a:pt x="102" y="15"/>
                    </a:cubicBezTo>
                    <a:cubicBezTo>
                      <a:pt x="102" y="21"/>
                      <a:pt x="99" y="25"/>
                      <a:pt x="94" y="28"/>
                    </a:cubicBezTo>
                    <a:cubicBezTo>
                      <a:pt x="70" y="21"/>
                      <a:pt x="42" y="14"/>
                      <a:pt x="13" y="5"/>
                    </a:cubicBezTo>
                    <a:cubicBezTo>
                      <a:pt x="8" y="3"/>
                      <a:pt x="4" y="2"/>
                      <a:pt x="0" y="0"/>
                    </a:cubicBezTo>
                    <a:lnTo>
                      <a:pt x="87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62" name="Oval 15"/>
              <p:cNvSpPr>
                <a:spLocks noChangeArrowheads="1"/>
              </p:cNvSpPr>
              <p:nvPr/>
            </p:nvSpPr>
            <p:spPr bwMode="auto">
              <a:xfrm>
                <a:off x="2838451" y="1787526"/>
                <a:ext cx="812800" cy="812800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63" name="Freeform 16"/>
              <p:cNvSpPr/>
              <p:nvPr/>
            </p:nvSpPr>
            <p:spPr bwMode="auto">
              <a:xfrm>
                <a:off x="2646363" y="4264026"/>
                <a:ext cx="911225" cy="127000"/>
              </a:xfrm>
              <a:custGeom>
                <a:avLst/>
                <a:gdLst>
                  <a:gd name="T0" fmla="*/ 214 w 214"/>
                  <a:gd name="T1" fmla="*/ 28 h 30"/>
                  <a:gd name="T2" fmla="*/ 207 w 214"/>
                  <a:gd name="T3" fmla="*/ 30 h 30"/>
                  <a:gd name="T4" fmla="*/ 131 w 214"/>
                  <a:gd name="T5" fmla="*/ 30 h 30"/>
                  <a:gd name="T6" fmla="*/ 85 w 214"/>
                  <a:gd name="T7" fmla="*/ 30 h 30"/>
                  <a:gd name="T8" fmla="*/ 14 w 214"/>
                  <a:gd name="T9" fmla="*/ 30 h 30"/>
                  <a:gd name="T10" fmla="*/ 0 w 214"/>
                  <a:gd name="T11" fmla="*/ 15 h 30"/>
                  <a:gd name="T12" fmla="*/ 4 w 214"/>
                  <a:gd name="T13" fmla="*/ 5 h 30"/>
                  <a:gd name="T14" fmla="*/ 14 w 214"/>
                  <a:gd name="T15" fmla="*/ 0 h 30"/>
                  <a:gd name="T16" fmla="*/ 120 w 214"/>
                  <a:gd name="T17" fmla="*/ 0 h 30"/>
                  <a:gd name="T18" fmla="*/ 133 w 214"/>
                  <a:gd name="T19" fmla="*/ 5 h 30"/>
                  <a:gd name="T20" fmla="*/ 214 w 214"/>
                  <a:gd name="T21" fmla="*/ 2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4" h="30">
                    <a:moveTo>
                      <a:pt x="214" y="28"/>
                    </a:moveTo>
                    <a:cubicBezTo>
                      <a:pt x="212" y="29"/>
                      <a:pt x="209" y="30"/>
                      <a:pt x="207" y="30"/>
                    </a:cubicBezTo>
                    <a:cubicBezTo>
                      <a:pt x="131" y="30"/>
                      <a:pt x="131" y="30"/>
                      <a:pt x="131" y="30"/>
                    </a:cubicBezTo>
                    <a:cubicBezTo>
                      <a:pt x="85" y="30"/>
                      <a:pt x="85" y="30"/>
                      <a:pt x="85" y="30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6" y="30"/>
                      <a:pt x="0" y="23"/>
                      <a:pt x="0" y="15"/>
                    </a:cubicBezTo>
                    <a:cubicBezTo>
                      <a:pt x="0" y="11"/>
                      <a:pt x="1" y="7"/>
                      <a:pt x="4" y="5"/>
                    </a:cubicBezTo>
                    <a:cubicBezTo>
                      <a:pt x="7" y="2"/>
                      <a:pt x="10" y="0"/>
                      <a:pt x="14" y="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24" y="2"/>
                      <a:pt x="128" y="3"/>
                      <a:pt x="133" y="5"/>
                    </a:cubicBezTo>
                    <a:cubicBezTo>
                      <a:pt x="162" y="14"/>
                      <a:pt x="190" y="21"/>
                      <a:pt x="214" y="2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64" name="Freeform 17"/>
              <p:cNvSpPr/>
              <p:nvPr/>
            </p:nvSpPr>
            <p:spPr bwMode="auto">
              <a:xfrm>
                <a:off x="3076576" y="2795588"/>
                <a:ext cx="276225" cy="774700"/>
              </a:xfrm>
              <a:custGeom>
                <a:avLst/>
                <a:gdLst>
                  <a:gd name="T0" fmla="*/ 86 w 174"/>
                  <a:gd name="T1" fmla="*/ 0 h 488"/>
                  <a:gd name="T2" fmla="*/ 174 w 174"/>
                  <a:gd name="T3" fmla="*/ 373 h 488"/>
                  <a:gd name="T4" fmla="*/ 86 w 174"/>
                  <a:gd name="T5" fmla="*/ 488 h 488"/>
                  <a:gd name="T6" fmla="*/ 0 w 174"/>
                  <a:gd name="T7" fmla="*/ 365 h 488"/>
                  <a:gd name="T8" fmla="*/ 86 w 174"/>
                  <a:gd name="T9" fmla="*/ 0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4" h="488">
                    <a:moveTo>
                      <a:pt x="86" y="0"/>
                    </a:moveTo>
                    <a:lnTo>
                      <a:pt x="174" y="373"/>
                    </a:lnTo>
                    <a:lnTo>
                      <a:pt x="86" y="488"/>
                    </a:lnTo>
                    <a:lnTo>
                      <a:pt x="0" y="365"/>
                    </a:lnTo>
                    <a:lnTo>
                      <a:pt x="86" y="0"/>
                    </a:lnTo>
                    <a:close/>
                  </a:path>
                </a:pathLst>
              </a:custGeom>
              <a:solidFill>
                <a:srgbClr val="1DAE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65" name="Rectangle 18"/>
              <p:cNvSpPr>
                <a:spLocks noChangeArrowheads="1"/>
              </p:cNvSpPr>
              <p:nvPr/>
            </p:nvSpPr>
            <p:spPr bwMode="auto">
              <a:xfrm>
                <a:off x="3008313" y="4391026"/>
                <a:ext cx="195263" cy="1635125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50" name="Freeform 11"/>
            <p:cNvSpPr/>
            <p:nvPr/>
          </p:nvSpPr>
          <p:spPr bwMode="auto">
            <a:xfrm rot="14105948">
              <a:off x="4033041" y="3228028"/>
              <a:ext cx="381503" cy="466792"/>
            </a:xfrm>
            <a:custGeom>
              <a:avLst/>
              <a:gdLst>
                <a:gd name="T0" fmla="*/ 155 w 155"/>
                <a:gd name="T1" fmla="*/ 0 h 190"/>
                <a:gd name="T2" fmla="*/ 155 w 155"/>
                <a:gd name="T3" fmla="*/ 190 h 190"/>
                <a:gd name="T4" fmla="*/ 0 w 155"/>
                <a:gd name="T5" fmla="*/ 111 h 190"/>
                <a:gd name="T6" fmla="*/ 155 w 155"/>
                <a:gd name="T7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5" h="190">
                  <a:moveTo>
                    <a:pt x="155" y="0"/>
                  </a:moveTo>
                  <a:cubicBezTo>
                    <a:pt x="155" y="190"/>
                    <a:pt x="155" y="190"/>
                    <a:pt x="155" y="190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22" y="46"/>
                    <a:pt x="83" y="0"/>
                    <a:pt x="155" y="0"/>
                  </a:cubicBezTo>
                  <a:close/>
                </a:path>
              </a:pathLst>
            </a:custGeom>
            <a:solidFill>
              <a:srgbClr val="2DB4A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66" name="组合 165"/>
          <p:cNvGrpSpPr/>
          <p:nvPr/>
        </p:nvGrpSpPr>
        <p:grpSpPr>
          <a:xfrm>
            <a:off x="1888043" y="5911343"/>
            <a:ext cx="716905" cy="560002"/>
            <a:chOff x="626567" y="839887"/>
            <a:chExt cx="892175" cy="696912"/>
          </a:xfrm>
          <a:solidFill>
            <a:srgbClr val="DE401F"/>
          </a:solidFill>
        </p:grpSpPr>
        <p:sp>
          <p:nvSpPr>
            <p:cNvPr id="167" name="Freeform 5"/>
            <p:cNvSpPr>
              <a:spLocks noEditPoints="1"/>
            </p:cNvSpPr>
            <p:nvPr/>
          </p:nvSpPr>
          <p:spPr bwMode="auto">
            <a:xfrm>
              <a:off x="724992" y="1122462"/>
              <a:ext cx="617538" cy="414337"/>
            </a:xfrm>
            <a:custGeom>
              <a:avLst/>
              <a:gdLst>
                <a:gd name="T0" fmla="*/ 211 w 389"/>
                <a:gd name="T1" fmla="*/ 261 h 261"/>
                <a:gd name="T2" fmla="*/ 211 w 389"/>
                <a:gd name="T3" fmla="*/ 158 h 261"/>
                <a:gd name="T4" fmla="*/ 159 w 389"/>
                <a:gd name="T5" fmla="*/ 158 h 261"/>
                <a:gd name="T6" fmla="*/ 159 w 389"/>
                <a:gd name="T7" fmla="*/ 261 h 261"/>
                <a:gd name="T8" fmla="*/ 0 w 389"/>
                <a:gd name="T9" fmla="*/ 261 h 261"/>
                <a:gd name="T10" fmla="*/ 0 w 389"/>
                <a:gd name="T11" fmla="*/ 12 h 261"/>
                <a:gd name="T12" fmla="*/ 0 w 389"/>
                <a:gd name="T13" fmla="*/ 0 h 261"/>
                <a:gd name="T14" fmla="*/ 389 w 389"/>
                <a:gd name="T15" fmla="*/ 0 h 261"/>
                <a:gd name="T16" fmla="*/ 389 w 389"/>
                <a:gd name="T17" fmla="*/ 261 h 261"/>
                <a:gd name="T18" fmla="*/ 211 w 389"/>
                <a:gd name="T19" fmla="*/ 261 h 261"/>
                <a:gd name="T20" fmla="*/ 211 w 389"/>
                <a:gd name="T21" fmla="*/ 261 h 261"/>
                <a:gd name="T22" fmla="*/ 230 w 389"/>
                <a:gd name="T23" fmla="*/ 137 h 261"/>
                <a:gd name="T24" fmla="*/ 230 w 389"/>
                <a:gd name="T25" fmla="*/ 242 h 261"/>
                <a:gd name="T26" fmla="*/ 368 w 389"/>
                <a:gd name="T27" fmla="*/ 242 h 261"/>
                <a:gd name="T28" fmla="*/ 368 w 389"/>
                <a:gd name="T29" fmla="*/ 21 h 261"/>
                <a:gd name="T30" fmla="*/ 19 w 389"/>
                <a:gd name="T31" fmla="*/ 21 h 261"/>
                <a:gd name="T32" fmla="*/ 19 w 389"/>
                <a:gd name="T33" fmla="*/ 242 h 261"/>
                <a:gd name="T34" fmla="*/ 140 w 389"/>
                <a:gd name="T35" fmla="*/ 242 h 261"/>
                <a:gd name="T36" fmla="*/ 140 w 389"/>
                <a:gd name="T37" fmla="*/ 137 h 261"/>
                <a:gd name="T38" fmla="*/ 230 w 389"/>
                <a:gd name="T39" fmla="*/ 137 h 261"/>
                <a:gd name="T40" fmla="*/ 230 w 389"/>
                <a:gd name="T41" fmla="*/ 137 h 261"/>
                <a:gd name="T42" fmla="*/ 9 w 389"/>
                <a:gd name="T43" fmla="*/ 21 h 261"/>
                <a:gd name="T44" fmla="*/ 9 w 389"/>
                <a:gd name="T45" fmla="*/ 12 h 261"/>
                <a:gd name="T46" fmla="*/ 9 w 389"/>
                <a:gd name="T47" fmla="*/ 21 h 261"/>
                <a:gd name="T48" fmla="*/ 9 w 389"/>
                <a:gd name="T49" fmla="*/ 2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9" h="261">
                  <a:moveTo>
                    <a:pt x="211" y="261"/>
                  </a:moveTo>
                  <a:lnTo>
                    <a:pt x="211" y="158"/>
                  </a:lnTo>
                  <a:lnTo>
                    <a:pt x="159" y="158"/>
                  </a:lnTo>
                  <a:lnTo>
                    <a:pt x="159" y="261"/>
                  </a:lnTo>
                  <a:lnTo>
                    <a:pt x="0" y="261"/>
                  </a:lnTo>
                  <a:lnTo>
                    <a:pt x="0" y="12"/>
                  </a:lnTo>
                  <a:lnTo>
                    <a:pt x="0" y="0"/>
                  </a:lnTo>
                  <a:lnTo>
                    <a:pt x="389" y="0"/>
                  </a:lnTo>
                  <a:lnTo>
                    <a:pt x="389" y="261"/>
                  </a:lnTo>
                  <a:lnTo>
                    <a:pt x="211" y="261"/>
                  </a:lnTo>
                  <a:lnTo>
                    <a:pt x="211" y="261"/>
                  </a:lnTo>
                  <a:close/>
                  <a:moveTo>
                    <a:pt x="230" y="137"/>
                  </a:moveTo>
                  <a:lnTo>
                    <a:pt x="230" y="242"/>
                  </a:lnTo>
                  <a:lnTo>
                    <a:pt x="368" y="242"/>
                  </a:lnTo>
                  <a:lnTo>
                    <a:pt x="368" y="21"/>
                  </a:lnTo>
                  <a:lnTo>
                    <a:pt x="19" y="21"/>
                  </a:lnTo>
                  <a:lnTo>
                    <a:pt x="19" y="242"/>
                  </a:lnTo>
                  <a:lnTo>
                    <a:pt x="140" y="242"/>
                  </a:lnTo>
                  <a:lnTo>
                    <a:pt x="140" y="137"/>
                  </a:lnTo>
                  <a:lnTo>
                    <a:pt x="230" y="137"/>
                  </a:lnTo>
                  <a:lnTo>
                    <a:pt x="230" y="137"/>
                  </a:lnTo>
                  <a:close/>
                  <a:moveTo>
                    <a:pt x="9" y="21"/>
                  </a:moveTo>
                  <a:lnTo>
                    <a:pt x="9" y="12"/>
                  </a:lnTo>
                  <a:lnTo>
                    <a:pt x="9" y="21"/>
                  </a:lnTo>
                  <a:lnTo>
                    <a:pt x="9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68" name="Freeform 6"/>
            <p:cNvSpPr/>
            <p:nvPr/>
          </p:nvSpPr>
          <p:spPr bwMode="auto">
            <a:xfrm>
              <a:off x="626567" y="839887"/>
              <a:ext cx="817563" cy="258762"/>
            </a:xfrm>
            <a:custGeom>
              <a:avLst/>
              <a:gdLst>
                <a:gd name="T0" fmla="*/ 0 w 515"/>
                <a:gd name="T1" fmla="*/ 163 h 163"/>
                <a:gd name="T2" fmla="*/ 256 w 515"/>
                <a:gd name="T3" fmla="*/ 15 h 163"/>
                <a:gd name="T4" fmla="*/ 306 w 515"/>
                <a:gd name="T5" fmla="*/ 41 h 163"/>
                <a:gd name="T6" fmla="*/ 306 w 515"/>
                <a:gd name="T7" fmla="*/ 0 h 163"/>
                <a:gd name="T8" fmla="*/ 373 w 515"/>
                <a:gd name="T9" fmla="*/ 0 h 163"/>
                <a:gd name="T10" fmla="*/ 373 w 515"/>
                <a:gd name="T11" fmla="*/ 82 h 163"/>
                <a:gd name="T12" fmla="*/ 515 w 515"/>
                <a:gd name="T13" fmla="*/ 163 h 163"/>
                <a:gd name="T14" fmla="*/ 0 w 515"/>
                <a:gd name="T1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5" h="163">
                  <a:moveTo>
                    <a:pt x="0" y="163"/>
                  </a:moveTo>
                  <a:lnTo>
                    <a:pt x="256" y="15"/>
                  </a:lnTo>
                  <a:lnTo>
                    <a:pt x="306" y="41"/>
                  </a:lnTo>
                  <a:lnTo>
                    <a:pt x="306" y="0"/>
                  </a:lnTo>
                  <a:lnTo>
                    <a:pt x="373" y="0"/>
                  </a:lnTo>
                  <a:lnTo>
                    <a:pt x="373" y="82"/>
                  </a:lnTo>
                  <a:lnTo>
                    <a:pt x="515" y="163"/>
                  </a:lnTo>
                  <a:lnTo>
                    <a:pt x="0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69" name="Freeform 7"/>
            <p:cNvSpPr/>
            <p:nvPr/>
          </p:nvSpPr>
          <p:spPr bwMode="auto">
            <a:xfrm>
              <a:off x="626567" y="839887"/>
              <a:ext cx="817563" cy="258762"/>
            </a:xfrm>
            <a:custGeom>
              <a:avLst/>
              <a:gdLst>
                <a:gd name="T0" fmla="*/ 0 w 515"/>
                <a:gd name="T1" fmla="*/ 163 h 163"/>
                <a:gd name="T2" fmla="*/ 256 w 515"/>
                <a:gd name="T3" fmla="*/ 15 h 163"/>
                <a:gd name="T4" fmla="*/ 306 w 515"/>
                <a:gd name="T5" fmla="*/ 41 h 163"/>
                <a:gd name="T6" fmla="*/ 306 w 515"/>
                <a:gd name="T7" fmla="*/ 0 h 163"/>
                <a:gd name="T8" fmla="*/ 373 w 515"/>
                <a:gd name="T9" fmla="*/ 0 h 163"/>
                <a:gd name="T10" fmla="*/ 373 w 515"/>
                <a:gd name="T11" fmla="*/ 82 h 163"/>
                <a:gd name="T12" fmla="*/ 515 w 515"/>
                <a:gd name="T13" fmla="*/ 163 h 163"/>
                <a:gd name="T14" fmla="*/ 0 w 515"/>
                <a:gd name="T1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5" h="163">
                  <a:moveTo>
                    <a:pt x="0" y="163"/>
                  </a:moveTo>
                  <a:lnTo>
                    <a:pt x="256" y="15"/>
                  </a:lnTo>
                  <a:lnTo>
                    <a:pt x="306" y="41"/>
                  </a:lnTo>
                  <a:lnTo>
                    <a:pt x="306" y="0"/>
                  </a:lnTo>
                  <a:lnTo>
                    <a:pt x="373" y="0"/>
                  </a:lnTo>
                  <a:lnTo>
                    <a:pt x="373" y="82"/>
                  </a:lnTo>
                  <a:lnTo>
                    <a:pt x="515" y="163"/>
                  </a:lnTo>
                  <a:lnTo>
                    <a:pt x="0" y="163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70" name="Freeform 8"/>
            <p:cNvSpPr/>
            <p:nvPr/>
          </p:nvSpPr>
          <p:spPr bwMode="auto">
            <a:xfrm>
              <a:off x="747217" y="870049"/>
              <a:ext cx="576263" cy="198437"/>
            </a:xfrm>
            <a:custGeom>
              <a:avLst/>
              <a:gdLst>
                <a:gd name="T0" fmla="*/ 0 w 363"/>
                <a:gd name="T1" fmla="*/ 125 h 125"/>
                <a:gd name="T2" fmla="*/ 363 w 363"/>
                <a:gd name="T3" fmla="*/ 125 h 125"/>
                <a:gd name="T4" fmla="*/ 282 w 363"/>
                <a:gd name="T5" fmla="*/ 77 h 125"/>
                <a:gd name="T6" fmla="*/ 287 w 363"/>
                <a:gd name="T7" fmla="*/ 68 h 125"/>
                <a:gd name="T8" fmla="*/ 297 w 363"/>
                <a:gd name="T9" fmla="*/ 68 h 125"/>
                <a:gd name="T10" fmla="*/ 287 w 363"/>
                <a:gd name="T11" fmla="*/ 68 h 125"/>
                <a:gd name="T12" fmla="*/ 282 w 363"/>
                <a:gd name="T13" fmla="*/ 77 h 125"/>
                <a:gd name="T14" fmla="*/ 278 w 363"/>
                <a:gd name="T15" fmla="*/ 75 h 125"/>
                <a:gd name="T16" fmla="*/ 278 w 363"/>
                <a:gd name="T17" fmla="*/ 0 h 125"/>
                <a:gd name="T18" fmla="*/ 249 w 363"/>
                <a:gd name="T19" fmla="*/ 0 h 125"/>
                <a:gd name="T20" fmla="*/ 249 w 363"/>
                <a:gd name="T21" fmla="*/ 58 h 125"/>
                <a:gd name="T22" fmla="*/ 180 w 363"/>
                <a:gd name="T23" fmla="*/ 17 h 125"/>
                <a:gd name="T24" fmla="*/ 0 w 363"/>
                <a:gd name="T25" fmla="*/ 125 h 125"/>
                <a:gd name="T26" fmla="*/ 0 w 363"/>
                <a:gd name="T27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3" h="125">
                  <a:moveTo>
                    <a:pt x="0" y="125"/>
                  </a:moveTo>
                  <a:lnTo>
                    <a:pt x="363" y="125"/>
                  </a:lnTo>
                  <a:lnTo>
                    <a:pt x="282" y="77"/>
                  </a:lnTo>
                  <a:lnTo>
                    <a:pt x="287" y="68"/>
                  </a:lnTo>
                  <a:lnTo>
                    <a:pt x="297" y="68"/>
                  </a:lnTo>
                  <a:lnTo>
                    <a:pt x="287" y="68"/>
                  </a:lnTo>
                  <a:lnTo>
                    <a:pt x="282" y="77"/>
                  </a:lnTo>
                  <a:lnTo>
                    <a:pt x="278" y="75"/>
                  </a:lnTo>
                  <a:lnTo>
                    <a:pt x="278" y="0"/>
                  </a:lnTo>
                  <a:lnTo>
                    <a:pt x="249" y="0"/>
                  </a:lnTo>
                  <a:lnTo>
                    <a:pt x="249" y="58"/>
                  </a:lnTo>
                  <a:lnTo>
                    <a:pt x="180" y="17"/>
                  </a:lnTo>
                  <a:lnTo>
                    <a:pt x="0" y="125"/>
                  </a:lnTo>
                  <a:lnTo>
                    <a:pt x="0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71" name="Rectangle 9"/>
            <p:cNvSpPr>
              <a:spLocks noChangeArrowheads="1"/>
            </p:cNvSpPr>
            <p:nvPr/>
          </p:nvSpPr>
          <p:spPr bwMode="auto">
            <a:xfrm>
              <a:off x="785317" y="1187549"/>
              <a:ext cx="120650" cy="1143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72" name="Rectangle 10"/>
            <p:cNvSpPr>
              <a:spLocks noChangeArrowheads="1"/>
            </p:cNvSpPr>
            <p:nvPr/>
          </p:nvSpPr>
          <p:spPr bwMode="auto">
            <a:xfrm>
              <a:off x="1128217" y="1187549"/>
              <a:ext cx="120650" cy="1143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73" name="Line 11"/>
            <p:cNvSpPr>
              <a:spLocks noChangeShapeType="1"/>
            </p:cNvSpPr>
            <p:nvPr/>
          </p:nvSpPr>
          <p:spPr bwMode="auto">
            <a:xfrm>
              <a:off x="626567" y="1098649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74" name="Line 12"/>
            <p:cNvSpPr>
              <a:spLocks noChangeShapeType="1"/>
            </p:cNvSpPr>
            <p:nvPr/>
          </p:nvSpPr>
          <p:spPr bwMode="auto">
            <a:xfrm>
              <a:off x="626567" y="1098649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75" name="Line 19"/>
            <p:cNvSpPr>
              <a:spLocks noChangeShapeType="1"/>
            </p:cNvSpPr>
            <p:nvPr/>
          </p:nvSpPr>
          <p:spPr bwMode="auto">
            <a:xfrm>
              <a:off x="1518742" y="1098649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76" name="Line 20"/>
            <p:cNvSpPr>
              <a:spLocks noChangeShapeType="1"/>
            </p:cNvSpPr>
            <p:nvPr/>
          </p:nvSpPr>
          <p:spPr bwMode="auto">
            <a:xfrm>
              <a:off x="1518742" y="1098649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sp>
        <p:nvSpPr>
          <p:cNvPr id="177" name="Freeform 66"/>
          <p:cNvSpPr>
            <a:spLocks noEditPoints="1"/>
          </p:cNvSpPr>
          <p:nvPr/>
        </p:nvSpPr>
        <p:spPr bwMode="auto">
          <a:xfrm>
            <a:off x="3098858" y="5900003"/>
            <a:ext cx="660156" cy="608581"/>
          </a:xfrm>
          <a:custGeom>
            <a:avLst/>
            <a:gdLst>
              <a:gd name="T0" fmla="*/ 41 w 54"/>
              <a:gd name="T1" fmla="*/ 0 h 49"/>
              <a:gd name="T2" fmla="*/ 34 w 54"/>
              <a:gd name="T3" fmla="*/ 0 h 49"/>
              <a:gd name="T4" fmla="*/ 13 w 54"/>
              <a:gd name="T5" fmla="*/ 0 h 49"/>
              <a:gd name="T6" fmla="*/ 0 w 54"/>
              <a:gd name="T7" fmla="*/ 13 h 49"/>
              <a:gd name="T8" fmla="*/ 0 w 54"/>
              <a:gd name="T9" fmla="*/ 15 h 49"/>
              <a:gd name="T10" fmla="*/ 0 w 54"/>
              <a:gd name="T11" fmla="*/ 25 h 49"/>
              <a:gd name="T12" fmla="*/ 13 w 54"/>
              <a:gd name="T13" fmla="*/ 38 h 49"/>
              <a:gd name="T14" fmla="*/ 23 w 54"/>
              <a:gd name="T15" fmla="*/ 38 h 49"/>
              <a:gd name="T16" fmla="*/ 45 w 54"/>
              <a:gd name="T17" fmla="*/ 49 h 49"/>
              <a:gd name="T18" fmla="*/ 41 w 54"/>
              <a:gd name="T19" fmla="*/ 38 h 49"/>
              <a:gd name="T20" fmla="*/ 41 w 54"/>
              <a:gd name="T21" fmla="*/ 38 h 49"/>
              <a:gd name="T22" fmla="*/ 54 w 54"/>
              <a:gd name="T23" fmla="*/ 25 h 49"/>
              <a:gd name="T24" fmla="*/ 54 w 54"/>
              <a:gd name="T25" fmla="*/ 13 h 49"/>
              <a:gd name="T26" fmla="*/ 41 w 54"/>
              <a:gd name="T27" fmla="*/ 0 h 49"/>
              <a:gd name="T28" fmla="*/ 14 w 54"/>
              <a:gd name="T29" fmla="*/ 22 h 49"/>
              <a:gd name="T30" fmla="*/ 11 w 54"/>
              <a:gd name="T31" fmla="*/ 19 h 49"/>
              <a:gd name="T32" fmla="*/ 14 w 54"/>
              <a:gd name="T33" fmla="*/ 16 h 49"/>
              <a:gd name="T34" fmla="*/ 17 w 54"/>
              <a:gd name="T35" fmla="*/ 19 h 49"/>
              <a:gd name="T36" fmla="*/ 14 w 54"/>
              <a:gd name="T37" fmla="*/ 22 h 49"/>
              <a:gd name="T38" fmla="*/ 22 w 54"/>
              <a:gd name="T39" fmla="*/ 22 h 49"/>
              <a:gd name="T40" fmla="*/ 19 w 54"/>
              <a:gd name="T41" fmla="*/ 19 h 49"/>
              <a:gd name="T42" fmla="*/ 22 w 54"/>
              <a:gd name="T43" fmla="*/ 16 h 49"/>
              <a:gd name="T44" fmla="*/ 25 w 54"/>
              <a:gd name="T45" fmla="*/ 19 h 49"/>
              <a:gd name="T46" fmla="*/ 22 w 54"/>
              <a:gd name="T47" fmla="*/ 22 h 49"/>
              <a:gd name="T48" fmla="*/ 32 w 54"/>
              <a:gd name="T49" fmla="*/ 22 h 49"/>
              <a:gd name="T50" fmla="*/ 29 w 54"/>
              <a:gd name="T51" fmla="*/ 19 h 49"/>
              <a:gd name="T52" fmla="*/ 32 w 54"/>
              <a:gd name="T53" fmla="*/ 16 h 49"/>
              <a:gd name="T54" fmla="*/ 35 w 54"/>
              <a:gd name="T55" fmla="*/ 19 h 49"/>
              <a:gd name="T56" fmla="*/ 32 w 54"/>
              <a:gd name="T57" fmla="*/ 22 h 49"/>
              <a:gd name="T58" fmla="*/ 40 w 54"/>
              <a:gd name="T59" fmla="*/ 22 h 49"/>
              <a:gd name="T60" fmla="*/ 37 w 54"/>
              <a:gd name="T61" fmla="*/ 19 h 49"/>
              <a:gd name="T62" fmla="*/ 40 w 54"/>
              <a:gd name="T63" fmla="*/ 16 h 49"/>
              <a:gd name="T64" fmla="*/ 43 w 54"/>
              <a:gd name="T65" fmla="*/ 19 h 49"/>
              <a:gd name="T66" fmla="*/ 40 w 54"/>
              <a:gd name="T67" fmla="*/ 22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4" h="49">
                <a:moveTo>
                  <a:pt x="41" y="0"/>
                </a:moveTo>
                <a:cubicBezTo>
                  <a:pt x="34" y="0"/>
                  <a:pt x="34" y="0"/>
                  <a:pt x="34" y="0"/>
                </a:cubicBezTo>
                <a:cubicBezTo>
                  <a:pt x="13" y="0"/>
                  <a:pt x="13" y="0"/>
                  <a:pt x="13" y="0"/>
                </a:cubicBezTo>
                <a:cubicBezTo>
                  <a:pt x="6" y="0"/>
                  <a:pt x="0" y="6"/>
                  <a:pt x="0" y="13"/>
                </a:cubicBezTo>
                <a:cubicBezTo>
                  <a:pt x="0" y="15"/>
                  <a:pt x="0" y="15"/>
                  <a:pt x="0" y="15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32"/>
                  <a:pt x="6" y="38"/>
                  <a:pt x="13" y="38"/>
                </a:cubicBezTo>
                <a:cubicBezTo>
                  <a:pt x="23" y="38"/>
                  <a:pt x="23" y="38"/>
                  <a:pt x="23" y="38"/>
                </a:cubicBezTo>
                <a:cubicBezTo>
                  <a:pt x="45" y="49"/>
                  <a:pt x="45" y="49"/>
                  <a:pt x="45" y="49"/>
                </a:cubicBezTo>
                <a:cubicBezTo>
                  <a:pt x="41" y="38"/>
                  <a:pt x="41" y="38"/>
                  <a:pt x="41" y="38"/>
                </a:cubicBezTo>
                <a:cubicBezTo>
                  <a:pt x="41" y="38"/>
                  <a:pt x="41" y="38"/>
                  <a:pt x="41" y="38"/>
                </a:cubicBezTo>
                <a:cubicBezTo>
                  <a:pt x="49" y="38"/>
                  <a:pt x="54" y="32"/>
                  <a:pt x="54" y="25"/>
                </a:cubicBezTo>
                <a:cubicBezTo>
                  <a:pt x="54" y="13"/>
                  <a:pt x="54" y="13"/>
                  <a:pt x="54" y="13"/>
                </a:cubicBezTo>
                <a:cubicBezTo>
                  <a:pt x="54" y="6"/>
                  <a:pt x="49" y="0"/>
                  <a:pt x="41" y="0"/>
                </a:cubicBezTo>
                <a:close/>
                <a:moveTo>
                  <a:pt x="14" y="22"/>
                </a:moveTo>
                <a:cubicBezTo>
                  <a:pt x="12" y="22"/>
                  <a:pt x="11" y="21"/>
                  <a:pt x="11" y="19"/>
                </a:cubicBezTo>
                <a:cubicBezTo>
                  <a:pt x="11" y="18"/>
                  <a:pt x="12" y="16"/>
                  <a:pt x="14" y="16"/>
                </a:cubicBezTo>
                <a:cubicBezTo>
                  <a:pt x="15" y="16"/>
                  <a:pt x="17" y="18"/>
                  <a:pt x="17" y="19"/>
                </a:cubicBezTo>
                <a:cubicBezTo>
                  <a:pt x="17" y="21"/>
                  <a:pt x="15" y="22"/>
                  <a:pt x="14" y="22"/>
                </a:cubicBezTo>
                <a:close/>
                <a:moveTo>
                  <a:pt x="22" y="22"/>
                </a:moveTo>
                <a:cubicBezTo>
                  <a:pt x="21" y="22"/>
                  <a:pt x="19" y="21"/>
                  <a:pt x="19" y="19"/>
                </a:cubicBezTo>
                <a:cubicBezTo>
                  <a:pt x="19" y="18"/>
                  <a:pt x="21" y="16"/>
                  <a:pt x="22" y="16"/>
                </a:cubicBezTo>
                <a:cubicBezTo>
                  <a:pt x="24" y="16"/>
                  <a:pt x="25" y="18"/>
                  <a:pt x="25" y="19"/>
                </a:cubicBezTo>
                <a:cubicBezTo>
                  <a:pt x="25" y="21"/>
                  <a:pt x="24" y="22"/>
                  <a:pt x="22" y="22"/>
                </a:cubicBezTo>
                <a:close/>
                <a:moveTo>
                  <a:pt x="32" y="22"/>
                </a:moveTo>
                <a:cubicBezTo>
                  <a:pt x="30" y="22"/>
                  <a:pt x="29" y="21"/>
                  <a:pt x="29" y="19"/>
                </a:cubicBezTo>
                <a:cubicBezTo>
                  <a:pt x="29" y="18"/>
                  <a:pt x="30" y="16"/>
                  <a:pt x="32" y="16"/>
                </a:cubicBezTo>
                <a:cubicBezTo>
                  <a:pt x="33" y="16"/>
                  <a:pt x="35" y="18"/>
                  <a:pt x="35" y="19"/>
                </a:cubicBezTo>
                <a:cubicBezTo>
                  <a:pt x="35" y="21"/>
                  <a:pt x="33" y="22"/>
                  <a:pt x="32" y="22"/>
                </a:cubicBezTo>
                <a:close/>
                <a:moveTo>
                  <a:pt x="40" y="22"/>
                </a:moveTo>
                <a:cubicBezTo>
                  <a:pt x="39" y="22"/>
                  <a:pt x="37" y="21"/>
                  <a:pt x="37" y="19"/>
                </a:cubicBezTo>
                <a:cubicBezTo>
                  <a:pt x="37" y="18"/>
                  <a:pt x="39" y="16"/>
                  <a:pt x="40" y="16"/>
                </a:cubicBezTo>
                <a:cubicBezTo>
                  <a:pt x="42" y="16"/>
                  <a:pt x="43" y="18"/>
                  <a:pt x="43" y="19"/>
                </a:cubicBezTo>
                <a:cubicBezTo>
                  <a:pt x="43" y="21"/>
                  <a:pt x="42" y="22"/>
                  <a:pt x="40" y="22"/>
                </a:cubicBezTo>
                <a:close/>
              </a:path>
            </a:pathLst>
          </a:custGeom>
          <a:solidFill>
            <a:srgbClr val="2DB4A6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178" name="Freeform 67"/>
          <p:cNvSpPr/>
          <p:nvPr/>
        </p:nvSpPr>
        <p:spPr bwMode="auto">
          <a:xfrm>
            <a:off x="4312878" y="5881592"/>
            <a:ext cx="504364" cy="636134"/>
          </a:xfrm>
          <a:custGeom>
            <a:avLst/>
            <a:gdLst>
              <a:gd name="T0" fmla="*/ 24 w 47"/>
              <a:gd name="T1" fmla="*/ 0 h 58"/>
              <a:gd name="T2" fmla="*/ 33 w 47"/>
              <a:gd name="T3" fmla="*/ 2 h 58"/>
              <a:gd name="T4" fmla="*/ 35 w 47"/>
              <a:gd name="T5" fmla="*/ 23 h 58"/>
              <a:gd name="T6" fmla="*/ 30 w 47"/>
              <a:gd name="T7" fmla="*/ 32 h 58"/>
              <a:gd name="T8" fmla="*/ 31 w 47"/>
              <a:gd name="T9" fmla="*/ 38 h 58"/>
              <a:gd name="T10" fmla="*/ 39 w 47"/>
              <a:gd name="T11" fmla="*/ 43 h 58"/>
              <a:gd name="T12" fmla="*/ 47 w 47"/>
              <a:gd name="T13" fmla="*/ 45 h 58"/>
              <a:gd name="T14" fmla="*/ 45 w 47"/>
              <a:gd name="T15" fmla="*/ 58 h 58"/>
              <a:gd name="T16" fmla="*/ 3 w 47"/>
              <a:gd name="T17" fmla="*/ 58 h 58"/>
              <a:gd name="T18" fmla="*/ 0 w 47"/>
              <a:gd name="T19" fmla="*/ 45 h 58"/>
              <a:gd name="T20" fmla="*/ 8 w 47"/>
              <a:gd name="T21" fmla="*/ 43 h 58"/>
              <a:gd name="T22" fmla="*/ 16 w 47"/>
              <a:gd name="T23" fmla="*/ 38 h 58"/>
              <a:gd name="T24" fmla="*/ 17 w 47"/>
              <a:gd name="T25" fmla="*/ 32 h 58"/>
              <a:gd name="T26" fmla="*/ 13 w 47"/>
              <a:gd name="T27" fmla="*/ 22 h 58"/>
              <a:gd name="T28" fmla="*/ 15 w 47"/>
              <a:gd name="T29" fmla="*/ 2 h 58"/>
              <a:gd name="T30" fmla="*/ 23 w 47"/>
              <a:gd name="T31" fmla="*/ 0 h 58"/>
              <a:gd name="T32" fmla="*/ 24 w 47"/>
              <a:gd name="T33" fmla="*/ 0 h 58"/>
              <a:gd name="T34" fmla="*/ 24 w 47"/>
              <a:gd name="T35" fmla="*/ 0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7" h="58">
                <a:moveTo>
                  <a:pt x="24" y="0"/>
                </a:moveTo>
                <a:cubicBezTo>
                  <a:pt x="27" y="0"/>
                  <a:pt x="30" y="0"/>
                  <a:pt x="33" y="2"/>
                </a:cubicBezTo>
                <a:cubicBezTo>
                  <a:pt x="37" y="6"/>
                  <a:pt x="36" y="14"/>
                  <a:pt x="35" y="23"/>
                </a:cubicBezTo>
                <a:cubicBezTo>
                  <a:pt x="34" y="28"/>
                  <a:pt x="32" y="30"/>
                  <a:pt x="30" y="32"/>
                </a:cubicBezTo>
                <a:cubicBezTo>
                  <a:pt x="30" y="34"/>
                  <a:pt x="31" y="38"/>
                  <a:pt x="31" y="38"/>
                </a:cubicBezTo>
                <a:cubicBezTo>
                  <a:pt x="33" y="41"/>
                  <a:pt x="36" y="42"/>
                  <a:pt x="39" y="43"/>
                </a:cubicBezTo>
                <a:cubicBezTo>
                  <a:pt x="43" y="43"/>
                  <a:pt x="47" y="45"/>
                  <a:pt x="47" y="45"/>
                </a:cubicBezTo>
                <a:cubicBezTo>
                  <a:pt x="45" y="58"/>
                  <a:pt x="45" y="58"/>
                  <a:pt x="45" y="58"/>
                </a:cubicBezTo>
                <a:cubicBezTo>
                  <a:pt x="3" y="58"/>
                  <a:pt x="3" y="58"/>
                  <a:pt x="3" y="58"/>
                </a:cubicBezTo>
                <a:cubicBezTo>
                  <a:pt x="0" y="45"/>
                  <a:pt x="0" y="45"/>
                  <a:pt x="0" y="45"/>
                </a:cubicBezTo>
                <a:cubicBezTo>
                  <a:pt x="5" y="43"/>
                  <a:pt x="4" y="43"/>
                  <a:pt x="8" y="43"/>
                </a:cubicBezTo>
                <a:cubicBezTo>
                  <a:pt x="12" y="42"/>
                  <a:pt x="14" y="41"/>
                  <a:pt x="16" y="38"/>
                </a:cubicBezTo>
                <a:cubicBezTo>
                  <a:pt x="16" y="38"/>
                  <a:pt x="17" y="34"/>
                  <a:pt x="17" y="32"/>
                </a:cubicBezTo>
                <a:cubicBezTo>
                  <a:pt x="15" y="30"/>
                  <a:pt x="13" y="28"/>
                  <a:pt x="13" y="22"/>
                </a:cubicBezTo>
                <a:cubicBezTo>
                  <a:pt x="12" y="13"/>
                  <a:pt x="10" y="6"/>
                  <a:pt x="15" y="2"/>
                </a:cubicBezTo>
                <a:cubicBezTo>
                  <a:pt x="17" y="0"/>
                  <a:pt x="20" y="0"/>
                  <a:pt x="23" y="0"/>
                </a:cubicBezTo>
                <a:cubicBezTo>
                  <a:pt x="24" y="0"/>
                  <a:pt x="24" y="0"/>
                  <a:pt x="24" y="0"/>
                </a:cubicBezTo>
                <a:cubicBezTo>
                  <a:pt x="24" y="0"/>
                  <a:pt x="24" y="0"/>
                  <a:pt x="24" y="0"/>
                </a:cubicBezTo>
                <a:close/>
              </a:path>
            </a:pathLst>
          </a:custGeom>
          <a:solidFill>
            <a:srgbClr val="92D050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grpSp>
        <p:nvGrpSpPr>
          <p:cNvPr id="179" name="组合 178"/>
          <p:cNvGrpSpPr/>
          <p:nvPr/>
        </p:nvGrpSpPr>
        <p:grpSpPr>
          <a:xfrm>
            <a:off x="5446837" y="5881592"/>
            <a:ext cx="648072" cy="554325"/>
            <a:chOff x="8999814" y="534777"/>
            <a:chExt cx="820038" cy="701415"/>
          </a:xfrm>
          <a:solidFill>
            <a:schemeClr val="bg1"/>
          </a:solidFill>
        </p:grpSpPr>
        <p:sp>
          <p:nvSpPr>
            <p:cNvPr id="180" name="Freeform 88"/>
            <p:cNvSpPr/>
            <p:nvPr/>
          </p:nvSpPr>
          <p:spPr bwMode="auto">
            <a:xfrm>
              <a:off x="9268002" y="1174303"/>
              <a:ext cx="293976" cy="36102"/>
            </a:xfrm>
            <a:custGeom>
              <a:avLst/>
              <a:gdLst>
                <a:gd name="T0" fmla="*/ 18 w 24"/>
                <a:gd name="T1" fmla="*/ 0 h 3"/>
                <a:gd name="T2" fmla="*/ 6 w 24"/>
                <a:gd name="T3" fmla="*/ 0 h 3"/>
                <a:gd name="T4" fmla="*/ 4 w 24"/>
                <a:gd name="T5" fmla="*/ 2 h 3"/>
                <a:gd name="T6" fmla="*/ 0 w 24"/>
                <a:gd name="T7" fmla="*/ 3 h 3"/>
                <a:gd name="T8" fmla="*/ 0 w 24"/>
                <a:gd name="T9" fmla="*/ 3 h 3"/>
                <a:gd name="T10" fmla="*/ 24 w 24"/>
                <a:gd name="T11" fmla="*/ 3 h 3"/>
                <a:gd name="T12" fmla="*/ 24 w 24"/>
                <a:gd name="T13" fmla="*/ 3 h 3"/>
                <a:gd name="T14" fmla="*/ 20 w 24"/>
                <a:gd name="T15" fmla="*/ 2 h 3"/>
                <a:gd name="T16" fmla="*/ 18 w 24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3">
                  <a:moveTo>
                    <a:pt x="18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5" y="1"/>
                    <a:pt x="4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3"/>
                    <a:pt x="24" y="3"/>
                    <a:pt x="20" y="2"/>
                  </a:cubicBezTo>
                  <a:cubicBezTo>
                    <a:pt x="19" y="1"/>
                    <a:pt x="18" y="1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81" name="Rectangle 89"/>
            <p:cNvSpPr>
              <a:spLocks noChangeArrowheads="1"/>
            </p:cNvSpPr>
            <p:nvPr/>
          </p:nvSpPr>
          <p:spPr bwMode="auto">
            <a:xfrm>
              <a:off x="9268002" y="1220720"/>
              <a:ext cx="293976" cy="1547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82" name="Freeform 90"/>
            <p:cNvSpPr/>
            <p:nvPr/>
          </p:nvSpPr>
          <p:spPr bwMode="auto">
            <a:xfrm>
              <a:off x="9319577" y="1107255"/>
              <a:ext cx="195984" cy="51575"/>
            </a:xfrm>
            <a:custGeom>
              <a:avLst/>
              <a:gdLst>
                <a:gd name="T0" fmla="*/ 14 w 16"/>
                <a:gd name="T1" fmla="*/ 4 h 4"/>
                <a:gd name="T2" fmla="*/ 16 w 16"/>
                <a:gd name="T3" fmla="*/ 0 h 4"/>
                <a:gd name="T4" fmla="*/ 0 w 16"/>
                <a:gd name="T5" fmla="*/ 0 h 4"/>
                <a:gd name="T6" fmla="*/ 2 w 16"/>
                <a:gd name="T7" fmla="*/ 4 h 4"/>
                <a:gd name="T8" fmla="*/ 14 w 16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14" y="2"/>
                    <a:pt x="16" y="0"/>
                    <a:pt x="1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2" y="4"/>
                  </a:cubicBezTo>
                  <a:lnTo>
                    <a:pt x="14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83" name="Freeform 91"/>
            <p:cNvSpPr>
              <a:spLocks noEditPoints="1"/>
            </p:cNvSpPr>
            <p:nvPr/>
          </p:nvSpPr>
          <p:spPr bwMode="auto">
            <a:xfrm>
              <a:off x="8999814" y="534777"/>
              <a:ext cx="820038" cy="562164"/>
            </a:xfrm>
            <a:custGeom>
              <a:avLst/>
              <a:gdLst>
                <a:gd name="T0" fmla="*/ 65 w 67"/>
                <a:gd name="T1" fmla="*/ 0 h 45"/>
                <a:gd name="T2" fmla="*/ 2 w 67"/>
                <a:gd name="T3" fmla="*/ 0 h 45"/>
                <a:gd name="T4" fmla="*/ 0 w 67"/>
                <a:gd name="T5" fmla="*/ 2 h 45"/>
                <a:gd name="T6" fmla="*/ 0 w 67"/>
                <a:gd name="T7" fmla="*/ 43 h 45"/>
                <a:gd name="T8" fmla="*/ 2 w 67"/>
                <a:gd name="T9" fmla="*/ 45 h 45"/>
                <a:gd name="T10" fmla="*/ 65 w 67"/>
                <a:gd name="T11" fmla="*/ 45 h 45"/>
                <a:gd name="T12" fmla="*/ 67 w 67"/>
                <a:gd name="T13" fmla="*/ 43 h 45"/>
                <a:gd name="T14" fmla="*/ 67 w 67"/>
                <a:gd name="T15" fmla="*/ 2 h 45"/>
                <a:gd name="T16" fmla="*/ 65 w 67"/>
                <a:gd name="T17" fmla="*/ 0 h 45"/>
                <a:gd name="T18" fmla="*/ 66 w 67"/>
                <a:gd name="T19" fmla="*/ 39 h 45"/>
                <a:gd name="T20" fmla="*/ 66 w 67"/>
                <a:gd name="T21" fmla="*/ 39 h 45"/>
                <a:gd name="T22" fmla="*/ 3 w 67"/>
                <a:gd name="T23" fmla="*/ 39 h 45"/>
                <a:gd name="T24" fmla="*/ 2 w 67"/>
                <a:gd name="T25" fmla="*/ 39 h 45"/>
                <a:gd name="T26" fmla="*/ 2 w 67"/>
                <a:gd name="T27" fmla="*/ 2 h 45"/>
                <a:gd name="T28" fmla="*/ 3 w 67"/>
                <a:gd name="T29" fmla="*/ 2 h 45"/>
                <a:gd name="T30" fmla="*/ 66 w 67"/>
                <a:gd name="T31" fmla="*/ 2 h 45"/>
                <a:gd name="T32" fmla="*/ 66 w 67"/>
                <a:gd name="T33" fmla="*/ 2 h 45"/>
                <a:gd name="T34" fmla="*/ 66 w 67"/>
                <a:gd name="T35" fmla="*/ 39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" h="45">
                  <a:moveTo>
                    <a:pt x="65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4"/>
                    <a:pt x="1" y="45"/>
                    <a:pt x="2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7" y="45"/>
                    <a:pt x="67" y="44"/>
                    <a:pt x="67" y="43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7" y="1"/>
                    <a:pt x="67" y="0"/>
                    <a:pt x="65" y="0"/>
                  </a:cubicBezTo>
                  <a:close/>
                  <a:moveTo>
                    <a:pt x="66" y="39"/>
                  </a:moveTo>
                  <a:cubicBezTo>
                    <a:pt x="66" y="39"/>
                    <a:pt x="66" y="39"/>
                    <a:pt x="66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9"/>
                    <a:pt x="2" y="39"/>
                    <a:pt x="2" y="39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2"/>
                    <a:pt x="66" y="2"/>
                    <a:pt x="66" y="2"/>
                  </a:cubicBezTo>
                  <a:lnTo>
                    <a:pt x="66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sp>
        <p:nvSpPr>
          <p:cNvPr id="184" name="Freeform 65"/>
          <p:cNvSpPr/>
          <p:nvPr/>
        </p:nvSpPr>
        <p:spPr bwMode="auto">
          <a:xfrm>
            <a:off x="6703861" y="5792479"/>
            <a:ext cx="546699" cy="670944"/>
          </a:xfrm>
          <a:custGeom>
            <a:avLst/>
            <a:gdLst>
              <a:gd name="T0" fmla="*/ 61 w 65"/>
              <a:gd name="T1" fmla="*/ 35 h 60"/>
              <a:gd name="T2" fmla="*/ 60 w 65"/>
              <a:gd name="T3" fmla="*/ 35 h 60"/>
              <a:gd name="T4" fmla="*/ 59 w 65"/>
              <a:gd name="T5" fmla="*/ 35 h 60"/>
              <a:gd name="T6" fmla="*/ 59 w 65"/>
              <a:gd name="T7" fmla="*/ 35 h 60"/>
              <a:gd name="T8" fmla="*/ 61 w 65"/>
              <a:gd name="T9" fmla="*/ 31 h 60"/>
              <a:gd name="T10" fmla="*/ 56 w 65"/>
              <a:gd name="T11" fmla="*/ 26 h 60"/>
              <a:gd name="T12" fmla="*/ 55 w 65"/>
              <a:gd name="T13" fmla="*/ 26 h 60"/>
              <a:gd name="T14" fmla="*/ 52 w 65"/>
              <a:gd name="T15" fmla="*/ 26 h 60"/>
              <a:gd name="T16" fmla="*/ 33 w 65"/>
              <a:gd name="T17" fmla="*/ 26 h 60"/>
              <a:gd name="T18" fmla="*/ 34 w 65"/>
              <a:gd name="T19" fmla="*/ 7 h 60"/>
              <a:gd name="T20" fmla="*/ 26 w 65"/>
              <a:gd name="T21" fmla="*/ 2 h 60"/>
              <a:gd name="T22" fmla="*/ 26 w 65"/>
              <a:gd name="T23" fmla="*/ 13 h 60"/>
              <a:gd name="T24" fmla="*/ 18 w 65"/>
              <a:gd name="T25" fmla="*/ 26 h 60"/>
              <a:gd name="T26" fmla="*/ 9 w 65"/>
              <a:gd name="T27" fmla="*/ 32 h 60"/>
              <a:gd name="T28" fmla="*/ 0 w 65"/>
              <a:gd name="T29" fmla="*/ 34 h 60"/>
              <a:gd name="T30" fmla="*/ 0 w 65"/>
              <a:gd name="T31" fmla="*/ 58 h 60"/>
              <a:gd name="T32" fmla="*/ 2 w 65"/>
              <a:gd name="T33" fmla="*/ 57 h 60"/>
              <a:gd name="T34" fmla="*/ 22 w 65"/>
              <a:gd name="T35" fmla="*/ 59 h 60"/>
              <a:gd name="T36" fmla="*/ 45 w 65"/>
              <a:gd name="T37" fmla="*/ 57 h 60"/>
              <a:gd name="T38" fmla="*/ 50 w 65"/>
              <a:gd name="T39" fmla="*/ 52 h 60"/>
              <a:gd name="T40" fmla="*/ 56 w 65"/>
              <a:gd name="T41" fmla="*/ 49 h 60"/>
              <a:gd name="T42" fmla="*/ 55 w 65"/>
              <a:gd name="T43" fmla="*/ 43 h 60"/>
              <a:gd name="T44" fmla="*/ 60 w 65"/>
              <a:gd name="T45" fmla="*/ 42 h 60"/>
              <a:gd name="T46" fmla="*/ 61 w 65"/>
              <a:gd name="T47" fmla="*/ 35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65" h="60">
                <a:moveTo>
                  <a:pt x="61" y="35"/>
                </a:moveTo>
                <a:cubicBezTo>
                  <a:pt x="61" y="35"/>
                  <a:pt x="60" y="35"/>
                  <a:pt x="60" y="35"/>
                </a:cubicBezTo>
                <a:cubicBezTo>
                  <a:pt x="60" y="35"/>
                  <a:pt x="59" y="35"/>
                  <a:pt x="59" y="35"/>
                </a:cubicBezTo>
                <a:cubicBezTo>
                  <a:pt x="59" y="35"/>
                  <a:pt x="59" y="35"/>
                  <a:pt x="59" y="35"/>
                </a:cubicBezTo>
                <a:cubicBezTo>
                  <a:pt x="60" y="34"/>
                  <a:pt x="61" y="33"/>
                  <a:pt x="61" y="31"/>
                </a:cubicBezTo>
                <a:cubicBezTo>
                  <a:pt x="61" y="28"/>
                  <a:pt x="58" y="27"/>
                  <a:pt x="56" y="26"/>
                </a:cubicBezTo>
                <a:cubicBezTo>
                  <a:pt x="56" y="26"/>
                  <a:pt x="55" y="26"/>
                  <a:pt x="55" y="26"/>
                </a:cubicBezTo>
                <a:cubicBezTo>
                  <a:pt x="53" y="26"/>
                  <a:pt x="52" y="26"/>
                  <a:pt x="52" y="26"/>
                </a:cubicBezTo>
                <a:cubicBezTo>
                  <a:pt x="45" y="26"/>
                  <a:pt x="33" y="26"/>
                  <a:pt x="33" y="26"/>
                </a:cubicBezTo>
                <a:cubicBezTo>
                  <a:pt x="34" y="23"/>
                  <a:pt x="36" y="15"/>
                  <a:pt x="34" y="7"/>
                </a:cubicBezTo>
                <a:cubicBezTo>
                  <a:pt x="32" y="0"/>
                  <a:pt x="26" y="2"/>
                  <a:pt x="26" y="2"/>
                </a:cubicBezTo>
                <a:cubicBezTo>
                  <a:pt x="26" y="2"/>
                  <a:pt x="26" y="8"/>
                  <a:pt x="26" y="13"/>
                </a:cubicBezTo>
                <a:cubicBezTo>
                  <a:pt x="26" y="17"/>
                  <a:pt x="21" y="25"/>
                  <a:pt x="18" y="26"/>
                </a:cubicBezTo>
                <a:cubicBezTo>
                  <a:pt x="15" y="27"/>
                  <a:pt x="13" y="28"/>
                  <a:pt x="9" y="32"/>
                </a:cubicBezTo>
                <a:cubicBezTo>
                  <a:pt x="6" y="33"/>
                  <a:pt x="3" y="34"/>
                  <a:pt x="0" y="34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58"/>
                  <a:pt x="1" y="58"/>
                  <a:pt x="2" y="57"/>
                </a:cubicBezTo>
                <a:cubicBezTo>
                  <a:pt x="5" y="57"/>
                  <a:pt x="15" y="58"/>
                  <a:pt x="22" y="59"/>
                </a:cubicBezTo>
                <a:cubicBezTo>
                  <a:pt x="28" y="60"/>
                  <a:pt x="38" y="59"/>
                  <a:pt x="45" y="57"/>
                </a:cubicBezTo>
                <a:cubicBezTo>
                  <a:pt x="52" y="56"/>
                  <a:pt x="50" y="52"/>
                  <a:pt x="50" y="52"/>
                </a:cubicBezTo>
                <a:cubicBezTo>
                  <a:pt x="50" y="52"/>
                  <a:pt x="53" y="52"/>
                  <a:pt x="56" y="49"/>
                </a:cubicBezTo>
                <a:cubicBezTo>
                  <a:pt x="58" y="47"/>
                  <a:pt x="55" y="43"/>
                  <a:pt x="55" y="43"/>
                </a:cubicBezTo>
                <a:cubicBezTo>
                  <a:pt x="57" y="43"/>
                  <a:pt x="58" y="43"/>
                  <a:pt x="60" y="42"/>
                </a:cubicBezTo>
                <a:cubicBezTo>
                  <a:pt x="65" y="38"/>
                  <a:pt x="61" y="35"/>
                  <a:pt x="61" y="35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185" name="Freeform 1001"/>
          <p:cNvSpPr>
            <a:spLocks noEditPoints="1"/>
          </p:cNvSpPr>
          <p:nvPr/>
        </p:nvSpPr>
        <p:spPr bwMode="auto">
          <a:xfrm>
            <a:off x="7881657" y="5877590"/>
            <a:ext cx="492125" cy="546100"/>
          </a:xfrm>
          <a:custGeom>
            <a:avLst/>
            <a:gdLst>
              <a:gd name="T0" fmla="*/ 56 w 84"/>
              <a:gd name="T1" fmla="*/ 32 h 93"/>
              <a:gd name="T2" fmla="*/ 64 w 84"/>
              <a:gd name="T3" fmla="*/ 14 h 93"/>
              <a:gd name="T4" fmla="*/ 67 w 84"/>
              <a:gd name="T5" fmla="*/ 12 h 93"/>
              <a:gd name="T6" fmla="*/ 65 w 84"/>
              <a:gd name="T7" fmla="*/ 10 h 93"/>
              <a:gd name="T8" fmla="*/ 65 w 84"/>
              <a:gd name="T9" fmla="*/ 10 h 93"/>
              <a:gd name="T10" fmla="*/ 64 w 84"/>
              <a:gd name="T11" fmla="*/ 10 h 93"/>
              <a:gd name="T12" fmla="*/ 63 w 84"/>
              <a:gd name="T13" fmla="*/ 12 h 93"/>
              <a:gd name="T14" fmla="*/ 45 w 84"/>
              <a:gd name="T15" fmla="*/ 28 h 93"/>
              <a:gd name="T16" fmla="*/ 41 w 84"/>
              <a:gd name="T17" fmla="*/ 28 h 93"/>
              <a:gd name="T18" fmla="*/ 40 w 84"/>
              <a:gd name="T19" fmla="*/ 28 h 93"/>
              <a:gd name="T20" fmla="*/ 19 w 84"/>
              <a:gd name="T21" fmla="*/ 2 h 93"/>
              <a:gd name="T22" fmla="*/ 15 w 84"/>
              <a:gd name="T23" fmla="*/ 2 h 93"/>
              <a:gd name="T24" fmla="*/ 17 w 84"/>
              <a:gd name="T25" fmla="*/ 4 h 93"/>
              <a:gd name="T26" fmla="*/ 34 w 84"/>
              <a:gd name="T27" fmla="*/ 29 h 93"/>
              <a:gd name="T28" fmla="*/ 5 w 84"/>
              <a:gd name="T29" fmla="*/ 32 h 93"/>
              <a:gd name="T30" fmla="*/ 0 w 84"/>
              <a:gd name="T31" fmla="*/ 87 h 93"/>
              <a:gd name="T32" fmla="*/ 7 w 84"/>
              <a:gd name="T33" fmla="*/ 92 h 93"/>
              <a:gd name="T34" fmla="*/ 17 w 84"/>
              <a:gd name="T35" fmla="*/ 93 h 93"/>
              <a:gd name="T36" fmla="*/ 67 w 84"/>
              <a:gd name="T37" fmla="*/ 92 h 93"/>
              <a:gd name="T38" fmla="*/ 78 w 84"/>
              <a:gd name="T39" fmla="*/ 93 h 93"/>
              <a:gd name="T40" fmla="*/ 79 w 84"/>
              <a:gd name="T41" fmla="*/ 92 h 93"/>
              <a:gd name="T42" fmla="*/ 84 w 84"/>
              <a:gd name="T43" fmla="*/ 37 h 93"/>
              <a:gd name="T44" fmla="*/ 71 w 84"/>
              <a:gd name="T45" fmla="*/ 80 h 93"/>
              <a:gd name="T46" fmla="*/ 13 w 84"/>
              <a:gd name="T47" fmla="*/ 88 h 93"/>
              <a:gd name="T48" fmla="*/ 4 w 84"/>
              <a:gd name="T49" fmla="*/ 44 h 93"/>
              <a:gd name="T50" fmla="*/ 63 w 84"/>
              <a:gd name="T51" fmla="*/ 36 h 93"/>
              <a:gd name="T52" fmla="*/ 71 w 84"/>
              <a:gd name="T53" fmla="*/ 80 h 93"/>
              <a:gd name="T54" fmla="*/ 74 w 84"/>
              <a:gd name="T55" fmla="*/ 51 h 93"/>
              <a:gd name="T56" fmla="*/ 80 w 84"/>
              <a:gd name="T57" fmla="*/ 51 h 93"/>
              <a:gd name="T58" fmla="*/ 77 w 84"/>
              <a:gd name="T59" fmla="*/ 46 h 93"/>
              <a:gd name="T60" fmla="*/ 77 w 84"/>
              <a:gd name="T61" fmla="*/ 39 h 93"/>
              <a:gd name="T62" fmla="*/ 77 w 84"/>
              <a:gd name="T63" fmla="*/ 46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4" h="93">
                <a:moveTo>
                  <a:pt x="79" y="32"/>
                </a:moveTo>
                <a:cubicBezTo>
                  <a:pt x="56" y="32"/>
                  <a:pt x="56" y="32"/>
                  <a:pt x="56" y="32"/>
                </a:cubicBezTo>
                <a:cubicBezTo>
                  <a:pt x="54" y="31"/>
                  <a:pt x="51" y="29"/>
                  <a:pt x="47" y="28"/>
                </a:cubicBezTo>
                <a:cubicBezTo>
                  <a:pt x="64" y="14"/>
                  <a:pt x="64" y="14"/>
                  <a:pt x="64" y="14"/>
                </a:cubicBezTo>
                <a:cubicBezTo>
                  <a:pt x="64" y="14"/>
                  <a:pt x="64" y="14"/>
                  <a:pt x="65" y="14"/>
                </a:cubicBezTo>
                <a:cubicBezTo>
                  <a:pt x="66" y="14"/>
                  <a:pt x="67" y="13"/>
                  <a:pt x="67" y="12"/>
                </a:cubicBezTo>
                <a:cubicBezTo>
                  <a:pt x="67" y="11"/>
                  <a:pt x="66" y="10"/>
                  <a:pt x="65" y="10"/>
                </a:cubicBezTo>
                <a:cubicBezTo>
                  <a:pt x="65" y="10"/>
                  <a:pt x="65" y="10"/>
                  <a:pt x="65" y="10"/>
                </a:cubicBezTo>
                <a:cubicBezTo>
                  <a:pt x="65" y="10"/>
                  <a:pt x="65" y="10"/>
                  <a:pt x="65" y="10"/>
                </a:cubicBezTo>
                <a:cubicBezTo>
                  <a:pt x="65" y="10"/>
                  <a:pt x="65" y="10"/>
                  <a:pt x="65" y="10"/>
                </a:cubicBezTo>
                <a:cubicBezTo>
                  <a:pt x="65" y="10"/>
                  <a:pt x="64" y="10"/>
                  <a:pt x="64" y="10"/>
                </a:cubicBezTo>
                <a:cubicBezTo>
                  <a:pt x="64" y="10"/>
                  <a:pt x="64" y="10"/>
                  <a:pt x="64" y="10"/>
                </a:cubicBezTo>
                <a:cubicBezTo>
                  <a:pt x="64" y="10"/>
                  <a:pt x="64" y="10"/>
                  <a:pt x="64" y="10"/>
                </a:cubicBezTo>
                <a:cubicBezTo>
                  <a:pt x="63" y="11"/>
                  <a:pt x="63" y="11"/>
                  <a:pt x="63" y="12"/>
                </a:cubicBezTo>
                <a:cubicBezTo>
                  <a:pt x="63" y="12"/>
                  <a:pt x="63" y="13"/>
                  <a:pt x="63" y="13"/>
                </a:cubicBezTo>
                <a:cubicBezTo>
                  <a:pt x="45" y="28"/>
                  <a:pt x="45" y="28"/>
                  <a:pt x="45" y="28"/>
                </a:cubicBezTo>
                <a:cubicBezTo>
                  <a:pt x="44" y="28"/>
                  <a:pt x="43" y="28"/>
                  <a:pt x="41" y="28"/>
                </a:cubicBezTo>
                <a:cubicBezTo>
                  <a:pt x="41" y="28"/>
                  <a:pt x="41" y="28"/>
                  <a:pt x="41" y="28"/>
                </a:cubicBezTo>
                <a:cubicBezTo>
                  <a:pt x="41" y="28"/>
                  <a:pt x="41" y="28"/>
                  <a:pt x="40" y="28"/>
                </a:cubicBezTo>
                <a:cubicBezTo>
                  <a:pt x="40" y="28"/>
                  <a:pt x="40" y="28"/>
                  <a:pt x="40" y="28"/>
                </a:cubicBezTo>
                <a:cubicBezTo>
                  <a:pt x="18" y="3"/>
                  <a:pt x="18" y="3"/>
                  <a:pt x="18" y="3"/>
                </a:cubicBezTo>
                <a:cubicBezTo>
                  <a:pt x="18" y="3"/>
                  <a:pt x="19" y="3"/>
                  <a:pt x="19" y="2"/>
                </a:cubicBezTo>
                <a:cubicBezTo>
                  <a:pt x="19" y="1"/>
                  <a:pt x="18" y="0"/>
                  <a:pt x="17" y="0"/>
                </a:cubicBezTo>
                <a:cubicBezTo>
                  <a:pt x="16" y="0"/>
                  <a:pt x="15" y="1"/>
                  <a:pt x="15" y="2"/>
                </a:cubicBezTo>
                <a:cubicBezTo>
                  <a:pt x="15" y="3"/>
                  <a:pt x="16" y="4"/>
                  <a:pt x="17" y="4"/>
                </a:cubicBezTo>
                <a:cubicBezTo>
                  <a:pt x="17" y="4"/>
                  <a:pt x="17" y="4"/>
                  <a:pt x="17" y="4"/>
                </a:cubicBezTo>
                <a:cubicBezTo>
                  <a:pt x="38" y="28"/>
                  <a:pt x="38" y="28"/>
                  <a:pt x="38" y="28"/>
                </a:cubicBezTo>
                <a:cubicBezTo>
                  <a:pt x="36" y="28"/>
                  <a:pt x="35" y="28"/>
                  <a:pt x="34" y="29"/>
                </a:cubicBezTo>
                <a:cubicBezTo>
                  <a:pt x="31" y="30"/>
                  <a:pt x="28" y="31"/>
                  <a:pt x="27" y="32"/>
                </a:cubicBezTo>
                <a:cubicBezTo>
                  <a:pt x="5" y="32"/>
                  <a:pt x="5" y="32"/>
                  <a:pt x="5" y="32"/>
                </a:cubicBezTo>
                <a:cubicBezTo>
                  <a:pt x="3" y="32"/>
                  <a:pt x="0" y="34"/>
                  <a:pt x="0" y="37"/>
                </a:cubicBezTo>
                <a:cubicBezTo>
                  <a:pt x="0" y="87"/>
                  <a:pt x="0" y="87"/>
                  <a:pt x="0" y="87"/>
                </a:cubicBezTo>
                <a:cubicBezTo>
                  <a:pt x="0" y="90"/>
                  <a:pt x="3" y="92"/>
                  <a:pt x="5" y="92"/>
                </a:cubicBezTo>
                <a:cubicBezTo>
                  <a:pt x="7" y="92"/>
                  <a:pt x="7" y="92"/>
                  <a:pt x="7" y="92"/>
                </a:cubicBezTo>
                <a:cubicBezTo>
                  <a:pt x="7" y="93"/>
                  <a:pt x="7" y="93"/>
                  <a:pt x="7" y="93"/>
                </a:cubicBezTo>
                <a:cubicBezTo>
                  <a:pt x="17" y="93"/>
                  <a:pt x="17" y="93"/>
                  <a:pt x="17" y="93"/>
                </a:cubicBezTo>
                <a:cubicBezTo>
                  <a:pt x="17" y="92"/>
                  <a:pt x="17" y="92"/>
                  <a:pt x="17" y="92"/>
                </a:cubicBezTo>
                <a:cubicBezTo>
                  <a:pt x="67" y="92"/>
                  <a:pt x="67" y="92"/>
                  <a:pt x="67" y="92"/>
                </a:cubicBezTo>
                <a:cubicBezTo>
                  <a:pt x="67" y="93"/>
                  <a:pt x="67" y="93"/>
                  <a:pt x="67" y="93"/>
                </a:cubicBezTo>
                <a:cubicBezTo>
                  <a:pt x="78" y="93"/>
                  <a:pt x="78" y="93"/>
                  <a:pt x="78" y="93"/>
                </a:cubicBezTo>
                <a:cubicBezTo>
                  <a:pt x="78" y="92"/>
                  <a:pt x="78" y="92"/>
                  <a:pt x="78" y="92"/>
                </a:cubicBezTo>
                <a:cubicBezTo>
                  <a:pt x="79" y="92"/>
                  <a:pt x="79" y="92"/>
                  <a:pt x="79" y="92"/>
                </a:cubicBezTo>
                <a:cubicBezTo>
                  <a:pt x="82" y="92"/>
                  <a:pt x="84" y="90"/>
                  <a:pt x="84" y="87"/>
                </a:cubicBezTo>
                <a:cubicBezTo>
                  <a:pt x="84" y="37"/>
                  <a:pt x="84" y="37"/>
                  <a:pt x="84" y="37"/>
                </a:cubicBezTo>
                <a:cubicBezTo>
                  <a:pt x="84" y="34"/>
                  <a:pt x="82" y="32"/>
                  <a:pt x="79" y="32"/>
                </a:cubicBezTo>
                <a:close/>
                <a:moveTo>
                  <a:pt x="71" y="80"/>
                </a:moveTo>
                <a:cubicBezTo>
                  <a:pt x="71" y="84"/>
                  <a:pt x="67" y="88"/>
                  <a:pt x="63" y="88"/>
                </a:cubicBezTo>
                <a:cubicBezTo>
                  <a:pt x="13" y="88"/>
                  <a:pt x="13" y="88"/>
                  <a:pt x="13" y="88"/>
                </a:cubicBezTo>
                <a:cubicBezTo>
                  <a:pt x="8" y="88"/>
                  <a:pt x="4" y="84"/>
                  <a:pt x="4" y="80"/>
                </a:cubicBezTo>
                <a:cubicBezTo>
                  <a:pt x="4" y="44"/>
                  <a:pt x="4" y="44"/>
                  <a:pt x="4" y="44"/>
                </a:cubicBezTo>
                <a:cubicBezTo>
                  <a:pt x="4" y="39"/>
                  <a:pt x="8" y="36"/>
                  <a:pt x="13" y="36"/>
                </a:cubicBezTo>
                <a:cubicBezTo>
                  <a:pt x="63" y="36"/>
                  <a:pt x="63" y="36"/>
                  <a:pt x="63" y="36"/>
                </a:cubicBezTo>
                <a:cubicBezTo>
                  <a:pt x="67" y="36"/>
                  <a:pt x="71" y="39"/>
                  <a:pt x="71" y="44"/>
                </a:cubicBezTo>
                <a:lnTo>
                  <a:pt x="71" y="80"/>
                </a:lnTo>
                <a:close/>
                <a:moveTo>
                  <a:pt x="77" y="54"/>
                </a:moveTo>
                <a:cubicBezTo>
                  <a:pt x="75" y="54"/>
                  <a:pt x="74" y="52"/>
                  <a:pt x="74" y="51"/>
                </a:cubicBezTo>
                <a:cubicBezTo>
                  <a:pt x="74" y="49"/>
                  <a:pt x="75" y="47"/>
                  <a:pt x="77" y="47"/>
                </a:cubicBezTo>
                <a:cubicBezTo>
                  <a:pt x="79" y="47"/>
                  <a:pt x="80" y="49"/>
                  <a:pt x="80" y="51"/>
                </a:cubicBezTo>
                <a:cubicBezTo>
                  <a:pt x="80" y="52"/>
                  <a:pt x="79" y="54"/>
                  <a:pt x="77" y="54"/>
                </a:cubicBezTo>
                <a:close/>
                <a:moveTo>
                  <a:pt x="77" y="46"/>
                </a:moveTo>
                <a:cubicBezTo>
                  <a:pt x="75" y="46"/>
                  <a:pt x="74" y="44"/>
                  <a:pt x="74" y="43"/>
                </a:cubicBezTo>
                <a:cubicBezTo>
                  <a:pt x="74" y="41"/>
                  <a:pt x="75" y="39"/>
                  <a:pt x="77" y="39"/>
                </a:cubicBezTo>
                <a:cubicBezTo>
                  <a:pt x="79" y="39"/>
                  <a:pt x="80" y="41"/>
                  <a:pt x="80" y="43"/>
                </a:cubicBezTo>
                <a:cubicBezTo>
                  <a:pt x="80" y="44"/>
                  <a:pt x="79" y="46"/>
                  <a:pt x="77" y="46"/>
                </a:cubicBezTo>
                <a:close/>
              </a:path>
            </a:pathLst>
          </a:custGeom>
          <a:solidFill>
            <a:srgbClr val="2DB4A6"/>
          </a:solidFill>
          <a:ln>
            <a:noFill/>
          </a:ln>
        </p:spPr>
        <p:txBody>
          <a:bodyPr/>
          <a:lstStyle/>
          <a:p>
            <a:endParaRPr lang="zh-CN" altLang="en-US" sz="1600">
              <a:solidFill>
                <a:prstClr val="black"/>
              </a:solidFill>
            </a:endParaRPr>
          </a:p>
        </p:txBody>
      </p:sp>
      <p:grpSp>
        <p:nvGrpSpPr>
          <p:cNvPr id="186" name="组合 185"/>
          <p:cNvGrpSpPr/>
          <p:nvPr/>
        </p:nvGrpSpPr>
        <p:grpSpPr>
          <a:xfrm>
            <a:off x="8865015" y="5068239"/>
            <a:ext cx="818899" cy="1522587"/>
            <a:chOff x="436562" y="457200"/>
            <a:chExt cx="1568451" cy="2916238"/>
          </a:xfrm>
        </p:grpSpPr>
        <p:sp>
          <p:nvSpPr>
            <p:cNvPr id="187" name="AutoShape 4"/>
            <p:cNvSpPr>
              <a:spLocks noChangeAspect="1" noChangeArrowheads="1" noTextEdit="1"/>
            </p:cNvSpPr>
            <p:nvPr/>
          </p:nvSpPr>
          <p:spPr bwMode="auto">
            <a:xfrm>
              <a:off x="438150" y="457200"/>
              <a:ext cx="1566863" cy="2881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88" name="Freeform 6"/>
            <p:cNvSpPr/>
            <p:nvPr/>
          </p:nvSpPr>
          <p:spPr bwMode="auto">
            <a:xfrm>
              <a:off x="1185863" y="3081338"/>
              <a:ext cx="296863" cy="292100"/>
            </a:xfrm>
            <a:custGeom>
              <a:avLst/>
              <a:gdLst>
                <a:gd name="T0" fmla="*/ 3 w 17"/>
                <a:gd name="T1" fmla="*/ 4 h 17"/>
                <a:gd name="T2" fmla="*/ 1 w 17"/>
                <a:gd name="T3" fmla="*/ 11 h 17"/>
                <a:gd name="T4" fmla="*/ 6 w 17"/>
                <a:gd name="T5" fmla="*/ 13 h 17"/>
                <a:gd name="T6" fmla="*/ 8 w 17"/>
                <a:gd name="T7" fmla="*/ 16 h 17"/>
                <a:gd name="T8" fmla="*/ 15 w 17"/>
                <a:gd name="T9" fmla="*/ 13 h 17"/>
                <a:gd name="T10" fmla="*/ 16 w 17"/>
                <a:gd name="T11" fmla="*/ 6 h 17"/>
                <a:gd name="T12" fmla="*/ 17 w 17"/>
                <a:gd name="T13" fmla="*/ 4 h 17"/>
                <a:gd name="T14" fmla="*/ 17 w 17"/>
                <a:gd name="T15" fmla="*/ 0 h 17"/>
                <a:gd name="T16" fmla="*/ 3 w 17"/>
                <a:gd name="T17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7">
                  <a:moveTo>
                    <a:pt x="3" y="4"/>
                  </a:moveTo>
                  <a:cubicBezTo>
                    <a:pt x="3" y="4"/>
                    <a:pt x="0" y="9"/>
                    <a:pt x="1" y="11"/>
                  </a:cubicBezTo>
                  <a:cubicBezTo>
                    <a:pt x="1" y="14"/>
                    <a:pt x="4" y="14"/>
                    <a:pt x="6" y="13"/>
                  </a:cubicBezTo>
                  <a:cubicBezTo>
                    <a:pt x="6" y="13"/>
                    <a:pt x="7" y="16"/>
                    <a:pt x="8" y="16"/>
                  </a:cubicBezTo>
                  <a:cubicBezTo>
                    <a:pt x="9" y="17"/>
                    <a:pt x="14" y="15"/>
                    <a:pt x="15" y="13"/>
                  </a:cubicBezTo>
                  <a:cubicBezTo>
                    <a:pt x="16" y="11"/>
                    <a:pt x="15" y="7"/>
                    <a:pt x="16" y="6"/>
                  </a:cubicBezTo>
                  <a:cubicBezTo>
                    <a:pt x="16" y="5"/>
                    <a:pt x="17" y="4"/>
                    <a:pt x="17" y="4"/>
                  </a:cubicBezTo>
                  <a:cubicBezTo>
                    <a:pt x="17" y="4"/>
                    <a:pt x="17" y="2"/>
                    <a:pt x="17" y="0"/>
                  </a:cubicBezTo>
                  <a:cubicBezTo>
                    <a:pt x="17" y="0"/>
                    <a:pt x="6" y="2"/>
                    <a:pt x="3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89" name="Freeform 7"/>
            <p:cNvSpPr/>
            <p:nvPr/>
          </p:nvSpPr>
          <p:spPr bwMode="auto">
            <a:xfrm>
              <a:off x="1098550" y="2327275"/>
              <a:ext cx="279400" cy="925513"/>
            </a:xfrm>
            <a:custGeom>
              <a:avLst/>
              <a:gdLst>
                <a:gd name="T0" fmla="*/ 7 w 16"/>
                <a:gd name="T1" fmla="*/ 52 h 54"/>
                <a:gd name="T2" fmla="*/ 8 w 16"/>
                <a:gd name="T3" fmla="*/ 47 h 54"/>
                <a:gd name="T4" fmla="*/ 10 w 16"/>
                <a:gd name="T5" fmla="*/ 40 h 54"/>
                <a:gd name="T6" fmla="*/ 4 w 16"/>
                <a:gd name="T7" fmla="*/ 23 h 54"/>
                <a:gd name="T8" fmla="*/ 2 w 16"/>
                <a:gd name="T9" fmla="*/ 13 h 54"/>
                <a:gd name="T10" fmla="*/ 0 w 16"/>
                <a:gd name="T11" fmla="*/ 1 h 54"/>
                <a:gd name="T12" fmla="*/ 12 w 16"/>
                <a:gd name="T13" fmla="*/ 1 h 54"/>
                <a:gd name="T14" fmla="*/ 11 w 16"/>
                <a:gd name="T15" fmla="*/ 12 h 54"/>
                <a:gd name="T16" fmla="*/ 11 w 16"/>
                <a:gd name="T17" fmla="*/ 15 h 54"/>
                <a:gd name="T18" fmla="*/ 13 w 16"/>
                <a:gd name="T19" fmla="*/ 29 h 54"/>
                <a:gd name="T20" fmla="*/ 15 w 16"/>
                <a:gd name="T21" fmla="*/ 38 h 54"/>
                <a:gd name="T22" fmla="*/ 16 w 16"/>
                <a:gd name="T23" fmla="*/ 45 h 54"/>
                <a:gd name="T24" fmla="*/ 12 w 16"/>
                <a:gd name="T25" fmla="*/ 52 h 54"/>
                <a:gd name="T26" fmla="*/ 7 w 16"/>
                <a:gd name="T27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54">
                  <a:moveTo>
                    <a:pt x="7" y="52"/>
                  </a:moveTo>
                  <a:cubicBezTo>
                    <a:pt x="7" y="52"/>
                    <a:pt x="8" y="49"/>
                    <a:pt x="8" y="47"/>
                  </a:cubicBezTo>
                  <a:cubicBezTo>
                    <a:pt x="9" y="45"/>
                    <a:pt x="10" y="41"/>
                    <a:pt x="10" y="40"/>
                  </a:cubicBezTo>
                  <a:cubicBezTo>
                    <a:pt x="9" y="40"/>
                    <a:pt x="5" y="26"/>
                    <a:pt x="4" y="23"/>
                  </a:cubicBezTo>
                  <a:cubicBezTo>
                    <a:pt x="3" y="21"/>
                    <a:pt x="3" y="16"/>
                    <a:pt x="2" y="13"/>
                  </a:cubicBezTo>
                  <a:cubicBezTo>
                    <a:pt x="1" y="9"/>
                    <a:pt x="0" y="3"/>
                    <a:pt x="0" y="1"/>
                  </a:cubicBezTo>
                  <a:cubicBezTo>
                    <a:pt x="0" y="0"/>
                    <a:pt x="12" y="1"/>
                    <a:pt x="12" y="1"/>
                  </a:cubicBezTo>
                  <a:cubicBezTo>
                    <a:pt x="12" y="1"/>
                    <a:pt x="11" y="10"/>
                    <a:pt x="11" y="12"/>
                  </a:cubicBezTo>
                  <a:cubicBezTo>
                    <a:pt x="11" y="12"/>
                    <a:pt x="11" y="14"/>
                    <a:pt x="11" y="15"/>
                  </a:cubicBezTo>
                  <a:cubicBezTo>
                    <a:pt x="11" y="16"/>
                    <a:pt x="12" y="20"/>
                    <a:pt x="13" y="29"/>
                  </a:cubicBezTo>
                  <a:cubicBezTo>
                    <a:pt x="14" y="38"/>
                    <a:pt x="15" y="38"/>
                    <a:pt x="15" y="38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2" y="52"/>
                    <a:pt x="9" y="54"/>
                    <a:pt x="7" y="52"/>
                  </a:cubicBezTo>
                  <a:close/>
                </a:path>
              </a:pathLst>
            </a:custGeom>
            <a:solidFill>
              <a:srgbClr val="F1B1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90" name="Freeform 8"/>
            <p:cNvSpPr/>
            <p:nvPr/>
          </p:nvSpPr>
          <p:spPr bwMode="auto">
            <a:xfrm>
              <a:off x="1098550" y="2327275"/>
              <a:ext cx="279400" cy="908050"/>
            </a:xfrm>
            <a:custGeom>
              <a:avLst/>
              <a:gdLst>
                <a:gd name="T0" fmla="*/ 13 w 16"/>
                <a:gd name="T1" fmla="*/ 29 h 53"/>
                <a:gd name="T2" fmla="*/ 11 w 16"/>
                <a:gd name="T3" fmla="*/ 15 h 53"/>
                <a:gd name="T4" fmla="*/ 11 w 16"/>
                <a:gd name="T5" fmla="*/ 12 h 53"/>
                <a:gd name="T6" fmla="*/ 12 w 16"/>
                <a:gd name="T7" fmla="*/ 1 h 53"/>
                <a:gd name="T8" fmla="*/ 0 w 16"/>
                <a:gd name="T9" fmla="*/ 1 h 53"/>
                <a:gd name="T10" fmla="*/ 1 w 16"/>
                <a:gd name="T11" fmla="*/ 10 h 53"/>
                <a:gd name="T12" fmla="*/ 4 w 16"/>
                <a:gd name="T13" fmla="*/ 16 h 53"/>
                <a:gd name="T14" fmla="*/ 8 w 16"/>
                <a:gd name="T15" fmla="*/ 14 h 53"/>
                <a:gd name="T16" fmla="*/ 11 w 16"/>
                <a:gd name="T17" fmla="*/ 30 h 53"/>
                <a:gd name="T18" fmla="*/ 8 w 16"/>
                <a:gd name="T19" fmla="*/ 36 h 53"/>
                <a:gd name="T20" fmla="*/ 10 w 16"/>
                <a:gd name="T21" fmla="*/ 40 h 53"/>
                <a:gd name="T22" fmla="*/ 10 w 16"/>
                <a:gd name="T23" fmla="*/ 43 h 53"/>
                <a:gd name="T24" fmla="*/ 13 w 16"/>
                <a:gd name="T25" fmla="*/ 44 h 53"/>
                <a:gd name="T26" fmla="*/ 10 w 16"/>
                <a:gd name="T27" fmla="*/ 53 h 53"/>
                <a:gd name="T28" fmla="*/ 12 w 16"/>
                <a:gd name="T29" fmla="*/ 52 h 53"/>
                <a:gd name="T30" fmla="*/ 16 w 16"/>
                <a:gd name="T31" fmla="*/ 45 h 53"/>
                <a:gd name="T32" fmla="*/ 15 w 16"/>
                <a:gd name="T33" fmla="*/ 38 h 53"/>
                <a:gd name="T34" fmla="*/ 13 w 16"/>
                <a:gd name="T35" fmla="*/ 29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53">
                  <a:moveTo>
                    <a:pt x="13" y="29"/>
                  </a:moveTo>
                  <a:cubicBezTo>
                    <a:pt x="12" y="20"/>
                    <a:pt x="11" y="16"/>
                    <a:pt x="11" y="15"/>
                  </a:cubicBezTo>
                  <a:cubicBezTo>
                    <a:pt x="11" y="14"/>
                    <a:pt x="11" y="12"/>
                    <a:pt x="11" y="12"/>
                  </a:cubicBezTo>
                  <a:cubicBezTo>
                    <a:pt x="11" y="10"/>
                    <a:pt x="12" y="1"/>
                    <a:pt x="12" y="1"/>
                  </a:cubicBezTo>
                  <a:cubicBezTo>
                    <a:pt x="12" y="1"/>
                    <a:pt x="0" y="0"/>
                    <a:pt x="0" y="1"/>
                  </a:cubicBezTo>
                  <a:cubicBezTo>
                    <a:pt x="0" y="2"/>
                    <a:pt x="1" y="6"/>
                    <a:pt x="1" y="10"/>
                  </a:cubicBezTo>
                  <a:cubicBezTo>
                    <a:pt x="3" y="13"/>
                    <a:pt x="4" y="16"/>
                    <a:pt x="4" y="16"/>
                  </a:cubicBezTo>
                  <a:cubicBezTo>
                    <a:pt x="5" y="16"/>
                    <a:pt x="8" y="14"/>
                    <a:pt x="8" y="14"/>
                  </a:cubicBezTo>
                  <a:cubicBezTo>
                    <a:pt x="8" y="14"/>
                    <a:pt x="11" y="23"/>
                    <a:pt x="11" y="30"/>
                  </a:cubicBezTo>
                  <a:cubicBezTo>
                    <a:pt x="12" y="33"/>
                    <a:pt x="10" y="35"/>
                    <a:pt x="8" y="36"/>
                  </a:cubicBezTo>
                  <a:cubicBezTo>
                    <a:pt x="9" y="39"/>
                    <a:pt x="10" y="40"/>
                    <a:pt x="10" y="40"/>
                  </a:cubicBezTo>
                  <a:cubicBezTo>
                    <a:pt x="10" y="41"/>
                    <a:pt x="10" y="42"/>
                    <a:pt x="10" y="43"/>
                  </a:cubicBezTo>
                  <a:cubicBezTo>
                    <a:pt x="11" y="43"/>
                    <a:pt x="12" y="42"/>
                    <a:pt x="13" y="44"/>
                  </a:cubicBezTo>
                  <a:cubicBezTo>
                    <a:pt x="13" y="46"/>
                    <a:pt x="11" y="50"/>
                    <a:pt x="10" y="53"/>
                  </a:cubicBezTo>
                  <a:cubicBezTo>
                    <a:pt x="11" y="53"/>
                    <a:pt x="12" y="52"/>
                    <a:pt x="12" y="52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8"/>
                    <a:pt x="14" y="38"/>
                    <a:pt x="13" y="29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91" name="Freeform 9"/>
            <p:cNvSpPr/>
            <p:nvPr/>
          </p:nvSpPr>
          <p:spPr bwMode="auto">
            <a:xfrm>
              <a:off x="436562" y="1263650"/>
              <a:ext cx="766763" cy="428625"/>
            </a:xfrm>
            <a:custGeom>
              <a:avLst/>
              <a:gdLst>
                <a:gd name="T0" fmla="*/ 1 w 44"/>
                <a:gd name="T1" fmla="*/ 21 h 25"/>
                <a:gd name="T2" fmla="*/ 6 w 44"/>
                <a:gd name="T3" fmla="*/ 24 h 25"/>
                <a:gd name="T4" fmla="*/ 11 w 44"/>
                <a:gd name="T5" fmla="*/ 24 h 25"/>
                <a:gd name="T6" fmla="*/ 17 w 44"/>
                <a:gd name="T7" fmla="*/ 24 h 25"/>
                <a:gd name="T8" fmla="*/ 18 w 44"/>
                <a:gd name="T9" fmla="*/ 23 h 25"/>
                <a:gd name="T10" fmla="*/ 26 w 44"/>
                <a:gd name="T11" fmla="*/ 22 h 25"/>
                <a:gd name="T12" fmla="*/ 43 w 44"/>
                <a:gd name="T13" fmla="*/ 15 h 25"/>
                <a:gd name="T14" fmla="*/ 40 w 44"/>
                <a:gd name="T15" fmla="*/ 0 h 25"/>
                <a:gd name="T16" fmla="*/ 37 w 44"/>
                <a:gd name="T17" fmla="*/ 11 h 25"/>
                <a:gd name="T18" fmla="*/ 27 w 44"/>
                <a:gd name="T19" fmla="*/ 16 h 25"/>
                <a:gd name="T20" fmla="*/ 16 w 44"/>
                <a:gd name="T21" fmla="*/ 20 h 25"/>
                <a:gd name="T22" fmla="*/ 9 w 44"/>
                <a:gd name="T23" fmla="*/ 21 h 25"/>
                <a:gd name="T24" fmla="*/ 1 w 44"/>
                <a:gd name="T25" fmla="*/ 20 h 25"/>
                <a:gd name="T26" fmla="*/ 1 w 44"/>
                <a:gd name="T27" fmla="*/ 2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25">
                  <a:moveTo>
                    <a:pt x="1" y="21"/>
                  </a:moveTo>
                  <a:cubicBezTo>
                    <a:pt x="6" y="24"/>
                    <a:pt x="6" y="24"/>
                    <a:pt x="6" y="24"/>
                  </a:cubicBezTo>
                  <a:cubicBezTo>
                    <a:pt x="6" y="24"/>
                    <a:pt x="7" y="25"/>
                    <a:pt x="11" y="24"/>
                  </a:cubicBezTo>
                  <a:cubicBezTo>
                    <a:pt x="11" y="24"/>
                    <a:pt x="15" y="25"/>
                    <a:pt x="17" y="24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3"/>
                    <a:pt x="20" y="23"/>
                    <a:pt x="26" y="22"/>
                  </a:cubicBezTo>
                  <a:cubicBezTo>
                    <a:pt x="32" y="21"/>
                    <a:pt x="41" y="15"/>
                    <a:pt x="43" y="15"/>
                  </a:cubicBezTo>
                  <a:cubicBezTo>
                    <a:pt x="44" y="14"/>
                    <a:pt x="42" y="1"/>
                    <a:pt x="40" y="0"/>
                  </a:cubicBezTo>
                  <a:cubicBezTo>
                    <a:pt x="40" y="0"/>
                    <a:pt x="37" y="10"/>
                    <a:pt x="37" y="11"/>
                  </a:cubicBezTo>
                  <a:cubicBezTo>
                    <a:pt x="37" y="11"/>
                    <a:pt x="31" y="14"/>
                    <a:pt x="27" y="16"/>
                  </a:cubicBezTo>
                  <a:cubicBezTo>
                    <a:pt x="24" y="18"/>
                    <a:pt x="17" y="20"/>
                    <a:pt x="16" y="20"/>
                  </a:cubicBezTo>
                  <a:cubicBezTo>
                    <a:pt x="14" y="20"/>
                    <a:pt x="10" y="20"/>
                    <a:pt x="9" y="21"/>
                  </a:cubicBezTo>
                  <a:cubicBezTo>
                    <a:pt x="8" y="21"/>
                    <a:pt x="3" y="19"/>
                    <a:pt x="1" y="20"/>
                  </a:cubicBezTo>
                  <a:cubicBezTo>
                    <a:pt x="0" y="20"/>
                    <a:pt x="0" y="21"/>
                    <a:pt x="1" y="21"/>
                  </a:cubicBezTo>
                  <a:close/>
                </a:path>
              </a:pathLst>
            </a:custGeom>
            <a:solidFill>
              <a:srgbClr val="F1B1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92" name="Freeform 10"/>
            <p:cNvSpPr/>
            <p:nvPr/>
          </p:nvSpPr>
          <p:spPr bwMode="auto">
            <a:xfrm>
              <a:off x="715963" y="1263650"/>
              <a:ext cx="487363" cy="411163"/>
            </a:xfrm>
            <a:custGeom>
              <a:avLst/>
              <a:gdLst>
                <a:gd name="T0" fmla="*/ 24 w 28"/>
                <a:gd name="T1" fmla="*/ 0 h 24"/>
                <a:gd name="T2" fmla="*/ 24 w 28"/>
                <a:gd name="T3" fmla="*/ 0 h 24"/>
                <a:gd name="T4" fmla="*/ 23 w 28"/>
                <a:gd name="T5" fmla="*/ 3 h 24"/>
                <a:gd name="T6" fmla="*/ 24 w 28"/>
                <a:gd name="T7" fmla="*/ 8 h 24"/>
                <a:gd name="T8" fmla="*/ 23 w 28"/>
                <a:gd name="T9" fmla="*/ 14 h 24"/>
                <a:gd name="T10" fmla="*/ 8 w 28"/>
                <a:gd name="T11" fmla="*/ 21 h 24"/>
                <a:gd name="T12" fmla="*/ 5 w 28"/>
                <a:gd name="T13" fmla="*/ 21 h 24"/>
                <a:gd name="T14" fmla="*/ 0 w 28"/>
                <a:gd name="T15" fmla="*/ 24 h 24"/>
                <a:gd name="T16" fmla="*/ 1 w 28"/>
                <a:gd name="T17" fmla="*/ 24 h 24"/>
                <a:gd name="T18" fmla="*/ 2 w 28"/>
                <a:gd name="T19" fmla="*/ 23 h 24"/>
                <a:gd name="T20" fmla="*/ 10 w 28"/>
                <a:gd name="T21" fmla="*/ 22 h 24"/>
                <a:gd name="T22" fmla="*/ 27 w 28"/>
                <a:gd name="T23" fmla="*/ 15 h 24"/>
                <a:gd name="T24" fmla="*/ 24 w 28"/>
                <a:gd name="T2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24"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3" y="1"/>
                    <a:pt x="23" y="3"/>
                  </a:cubicBezTo>
                  <a:cubicBezTo>
                    <a:pt x="24" y="5"/>
                    <a:pt x="24" y="7"/>
                    <a:pt x="24" y="8"/>
                  </a:cubicBezTo>
                  <a:cubicBezTo>
                    <a:pt x="23" y="10"/>
                    <a:pt x="24" y="13"/>
                    <a:pt x="23" y="14"/>
                  </a:cubicBezTo>
                  <a:cubicBezTo>
                    <a:pt x="22" y="15"/>
                    <a:pt x="12" y="21"/>
                    <a:pt x="8" y="21"/>
                  </a:cubicBezTo>
                  <a:cubicBezTo>
                    <a:pt x="8" y="21"/>
                    <a:pt x="6" y="20"/>
                    <a:pt x="5" y="21"/>
                  </a:cubicBezTo>
                  <a:cubicBezTo>
                    <a:pt x="4" y="22"/>
                    <a:pt x="2" y="23"/>
                    <a:pt x="0" y="24"/>
                  </a:cubicBezTo>
                  <a:cubicBezTo>
                    <a:pt x="0" y="24"/>
                    <a:pt x="1" y="24"/>
                    <a:pt x="1" y="24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3"/>
                    <a:pt x="4" y="23"/>
                    <a:pt x="10" y="22"/>
                  </a:cubicBezTo>
                  <a:cubicBezTo>
                    <a:pt x="16" y="21"/>
                    <a:pt x="25" y="15"/>
                    <a:pt x="27" y="15"/>
                  </a:cubicBezTo>
                  <a:cubicBezTo>
                    <a:pt x="28" y="15"/>
                    <a:pt x="26" y="3"/>
                    <a:pt x="24" y="0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93" name="Freeform 11"/>
            <p:cNvSpPr/>
            <p:nvPr/>
          </p:nvSpPr>
          <p:spPr bwMode="auto">
            <a:xfrm>
              <a:off x="1308100" y="2224088"/>
              <a:ext cx="296863" cy="1081088"/>
            </a:xfrm>
            <a:custGeom>
              <a:avLst/>
              <a:gdLst>
                <a:gd name="T0" fmla="*/ 0 w 17"/>
                <a:gd name="T1" fmla="*/ 60 h 63"/>
                <a:gd name="T2" fmla="*/ 2 w 17"/>
                <a:gd name="T3" fmla="*/ 54 h 63"/>
                <a:gd name="T4" fmla="*/ 4 w 17"/>
                <a:gd name="T5" fmla="*/ 45 h 63"/>
                <a:gd name="T6" fmla="*/ 7 w 17"/>
                <a:gd name="T7" fmla="*/ 18 h 63"/>
                <a:gd name="T8" fmla="*/ 4 w 17"/>
                <a:gd name="T9" fmla="*/ 8 h 63"/>
                <a:gd name="T10" fmla="*/ 8 w 17"/>
                <a:gd name="T11" fmla="*/ 0 h 63"/>
                <a:gd name="T12" fmla="*/ 14 w 17"/>
                <a:gd name="T13" fmla="*/ 6 h 63"/>
                <a:gd name="T14" fmla="*/ 15 w 17"/>
                <a:gd name="T15" fmla="*/ 14 h 63"/>
                <a:gd name="T16" fmla="*/ 16 w 17"/>
                <a:gd name="T17" fmla="*/ 27 h 63"/>
                <a:gd name="T18" fmla="*/ 10 w 17"/>
                <a:gd name="T19" fmla="*/ 44 h 63"/>
                <a:gd name="T20" fmla="*/ 10 w 17"/>
                <a:gd name="T21" fmla="*/ 50 h 63"/>
                <a:gd name="T22" fmla="*/ 8 w 17"/>
                <a:gd name="T23" fmla="*/ 55 h 63"/>
                <a:gd name="T24" fmla="*/ 7 w 17"/>
                <a:gd name="T25" fmla="*/ 59 h 63"/>
                <a:gd name="T26" fmla="*/ 0 w 17"/>
                <a:gd name="T27" fmla="*/ 6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63">
                  <a:moveTo>
                    <a:pt x="0" y="60"/>
                  </a:moveTo>
                  <a:cubicBezTo>
                    <a:pt x="0" y="60"/>
                    <a:pt x="1" y="55"/>
                    <a:pt x="2" y="54"/>
                  </a:cubicBezTo>
                  <a:cubicBezTo>
                    <a:pt x="2" y="52"/>
                    <a:pt x="3" y="45"/>
                    <a:pt x="4" y="45"/>
                  </a:cubicBezTo>
                  <a:cubicBezTo>
                    <a:pt x="4" y="45"/>
                    <a:pt x="7" y="28"/>
                    <a:pt x="7" y="18"/>
                  </a:cubicBezTo>
                  <a:cubicBezTo>
                    <a:pt x="7" y="18"/>
                    <a:pt x="3" y="14"/>
                    <a:pt x="4" y="8"/>
                  </a:cubicBezTo>
                  <a:cubicBezTo>
                    <a:pt x="4" y="2"/>
                    <a:pt x="8" y="0"/>
                    <a:pt x="8" y="0"/>
                  </a:cubicBezTo>
                  <a:cubicBezTo>
                    <a:pt x="8" y="0"/>
                    <a:pt x="14" y="6"/>
                    <a:pt x="14" y="6"/>
                  </a:cubicBezTo>
                  <a:cubicBezTo>
                    <a:pt x="14" y="6"/>
                    <a:pt x="15" y="13"/>
                    <a:pt x="15" y="14"/>
                  </a:cubicBezTo>
                  <a:cubicBezTo>
                    <a:pt x="15" y="15"/>
                    <a:pt x="17" y="23"/>
                    <a:pt x="16" y="27"/>
                  </a:cubicBezTo>
                  <a:cubicBezTo>
                    <a:pt x="15" y="32"/>
                    <a:pt x="11" y="39"/>
                    <a:pt x="10" y="44"/>
                  </a:cubicBezTo>
                  <a:cubicBezTo>
                    <a:pt x="10" y="44"/>
                    <a:pt x="10" y="49"/>
                    <a:pt x="10" y="50"/>
                  </a:cubicBezTo>
                  <a:cubicBezTo>
                    <a:pt x="9" y="50"/>
                    <a:pt x="8" y="54"/>
                    <a:pt x="8" y="55"/>
                  </a:cubicBezTo>
                  <a:cubicBezTo>
                    <a:pt x="8" y="55"/>
                    <a:pt x="8" y="58"/>
                    <a:pt x="7" y="59"/>
                  </a:cubicBezTo>
                  <a:cubicBezTo>
                    <a:pt x="6" y="60"/>
                    <a:pt x="3" y="63"/>
                    <a:pt x="0" y="60"/>
                  </a:cubicBezTo>
                  <a:close/>
                </a:path>
              </a:pathLst>
            </a:custGeom>
            <a:solidFill>
              <a:srgbClr val="F1B1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94" name="Freeform 12"/>
            <p:cNvSpPr/>
            <p:nvPr/>
          </p:nvSpPr>
          <p:spPr bwMode="auto">
            <a:xfrm>
              <a:off x="1325563" y="2224088"/>
              <a:ext cx="279400" cy="1081088"/>
            </a:xfrm>
            <a:custGeom>
              <a:avLst/>
              <a:gdLst>
                <a:gd name="T0" fmla="*/ 14 w 16"/>
                <a:gd name="T1" fmla="*/ 14 h 63"/>
                <a:gd name="T2" fmla="*/ 13 w 16"/>
                <a:gd name="T3" fmla="*/ 6 h 63"/>
                <a:gd name="T4" fmla="*/ 7 w 16"/>
                <a:gd name="T5" fmla="*/ 0 h 63"/>
                <a:gd name="T6" fmla="*/ 3 w 16"/>
                <a:gd name="T7" fmla="*/ 8 h 63"/>
                <a:gd name="T8" fmla="*/ 6 w 16"/>
                <a:gd name="T9" fmla="*/ 18 h 63"/>
                <a:gd name="T10" fmla="*/ 6 w 16"/>
                <a:gd name="T11" fmla="*/ 21 h 63"/>
                <a:gd name="T12" fmla="*/ 11 w 16"/>
                <a:gd name="T13" fmla="*/ 20 h 63"/>
                <a:gd name="T14" fmla="*/ 12 w 16"/>
                <a:gd name="T15" fmla="*/ 19 h 63"/>
                <a:gd name="T16" fmla="*/ 11 w 16"/>
                <a:gd name="T17" fmla="*/ 31 h 63"/>
                <a:gd name="T18" fmla="*/ 6 w 16"/>
                <a:gd name="T19" fmla="*/ 46 h 63"/>
                <a:gd name="T20" fmla="*/ 5 w 16"/>
                <a:gd name="T21" fmla="*/ 44 h 63"/>
                <a:gd name="T22" fmla="*/ 7 w 16"/>
                <a:gd name="T23" fmla="*/ 31 h 63"/>
                <a:gd name="T24" fmla="*/ 4 w 16"/>
                <a:gd name="T25" fmla="*/ 43 h 63"/>
                <a:gd name="T26" fmla="*/ 3 w 16"/>
                <a:gd name="T27" fmla="*/ 45 h 63"/>
                <a:gd name="T28" fmla="*/ 3 w 16"/>
                <a:gd name="T29" fmla="*/ 46 h 63"/>
                <a:gd name="T30" fmla="*/ 2 w 16"/>
                <a:gd name="T31" fmla="*/ 55 h 63"/>
                <a:gd name="T32" fmla="*/ 0 w 16"/>
                <a:gd name="T33" fmla="*/ 61 h 63"/>
                <a:gd name="T34" fmla="*/ 6 w 16"/>
                <a:gd name="T35" fmla="*/ 59 h 63"/>
                <a:gd name="T36" fmla="*/ 7 w 16"/>
                <a:gd name="T37" fmla="*/ 55 h 63"/>
                <a:gd name="T38" fmla="*/ 9 w 16"/>
                <a:gd name="T39" fmla="*/ 50 h 63"/>
                <a:gd name="T40" fmla="*/ 9 w 16"/>
                <a:gd name="T41" fmla="*/ 44 h 63"/>
                <a:gd name="T42" fmla="*/ 15 w 16"/>
                <a:gd name="T43" fmla="*/ 27 h 63"/>
                <a:gd name="T44" fmla="*/ 14 w 16"/>
                <a:gd name="T45" fmla="*/ 14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" h="63">
                  <a:moveTo>
                    <a:pt x="14" y="14"/>
                  </a:moveTo>
                  <a:cubicBezTo>
                    <a:pt x="14" y="13"/>
                    <a:pt x="13" y="6"/>
                    <a:pt x="13" y="6"/>
                  </a:cubicBezTo>
                  <a:cubicBezTo>
                    <a:pt x="13" y="6"/>
                    <a:pt x="7" y="0"/>
                    <a:pt x="7" y="0"/>
                  </a:cubicBezTo>
                  <a:cubicBezTo>
                    <a:pt x="7" y="0"/>
                    <a:pt x="3" y="2"/>
                    <a:pt x="3" y="8"/>
                  </a:cubicBezTo>
                  <a:cubicBezTo>
                    <a:pt x="2" y="14"/>
                    <a:pt x="6" y="18"/>
                    <a:pt x="6" y="18"/>
                  </a:cubicBezTo>
                  <a:cubicBezTo>
                    <a:pt x="6" y="19"/>
                    <a:pt x="6" y="20"/>
                    <a:pt x="6" y="21"/>
                  </a:cubicBezTo>
                  <a:cubicBezTo>
                    <a:pt x="7" y="21"/>
                    <a:pt x="9" y="22"/>
                    <a:pt x="11" y="20"/>
                  </a:cubicBezTo>
                  <a:cubicBezTo>
                    <a:pt x="11" y="20"/>
                    <a:pt x="12" y="18"/>
                    <a:pt x="12" y="19"/>
                  </a:cubicBezTo>
                  <a:cubicBezTo>
                    <a:pt x="12" y="20"/>
                    <a:pt x="14" y="26"/>
                    <a:pt x="11" y="31"/>
                  </a:cubicBezTo>
                  <a:cubicBezTo>
                    <a:pt x="8" y="36"/>
                    <a:pt x="6" y="46"/>
                    <a:pt x="6" y="46"/>
                  </a:cubicBezTo>
                  <a:cubicBezTo>
                    <a:pt x="6" y="47"/>
                    <a:pt x="4" y="47"/>
                    <a:pt x="5" y="44"/>
                  </a:cubicBezTo>
                  <a:cubicBezTo>
                    <a:pt x="6" y="40"/>
                    <a:pt x="7" y="31"/>
                    <a:pt x="7" y="31"/>
                  </a:cubicBezTo>
                  <a:cubicBezTo>
                    <a:pt x="7" y="31"/>
                    <a:pt x="5" y="40"/>
                    <a:pt x="4" y="43"/>
                  </a:cubicBezTo>
                  <a:cubicBezTo>
                    <a:pt x="4" y="44"/>
                    <a:pt x="3" y="45"/>
                    <a:pt x="3" y="45"/>
                  </a:cubicBezTo>
                  <a:cubicBezTo>
                    <a:pt x="3" y="45"/>
                    <a:pt x="3" y="45"/>
                    <a:pt x="3" y="46"/>
                  </a:cubicBezTo>
                  <a:cubicBezTo>
                    <a:pt x="3" y="48"/>
                    <a:pt x="3" y="53"/>
                    <a:pt x="2" y="55"/>
                  </a:cubicBezTo>
                  <a:cubicBezTo>
                    <a:pt x="1" y="57"/>
                    <a:pt x="0" y="59"/>
                    <a:pt x="0" y="61"/>
                  </a:cubicBezTo>
                  <a:cubicBezTo>
                    <a:pt x="2" y="63"/>
                    <a:pt x="5" y="60"/>
                    <a:pt x="6" y="59"/>
                  </a:cubicBezTo>
                  <a:cubicBezTo>
                    <a:pt x="7" y="58"/>
                    <a:pt x="7" y="55"/>
                    <a:pt x="7" y="55"/>
                  </a:cubicBezTo>
                  <a:cubicBezTo>
                    <a:pt x="7" y="54"/>
                    <a:pt x="8" y="50"/>
                    <a:pt x="9" y="50"/>
                  </a:cubicBezTo>
                  <a:cubicBezTo>
                    <a:pt x="9" y="49"/>
                    <a:pt x="9" y="44"/>
                    <a:pt x="9" y="44"/>
                  </a:cubicBezTo>
                  <a:cubicBezTo>
                    <a:pt x="10" y="39"/>
                    <a:pt x="14" y="32"/>
                    <a:pt x="15" y="27"/>
                  </a:cubicBezTo>
                  <a:cubicBezTo>
                    <a:pt x="16" y="23"/>
                    <a:pt x="14" y="15"/>
                    <a:pt x="14" y="14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95" name="Freeform 13"/>
            <p:cNvSpPr/>
            <p:nvPr/>
          </p:nvSpPr>
          <p:spPr bwMode="auto">
            <a:xfrm>
              <a:off x="1046163" y="1366838"/>
              <a:ext cx="611188" cy="1046163"/>
            </a:xfrm>
            <a:custGeom>
              <a:avLst/>
              <a:gdLst>
                <a:gd name="T0" fmla="*/ 2 w 35"/>
                <a:gd name="T1" fmla="*/ 59 h 61"/>
                <a:gd name="T2" fmla="*/ 31 w 35"/>
                <a:gd name="T3" fmla="*/ 59 h 61"/>
                <a:gd name="T4" fmla="*/ 33 w 35"/>
                <a:gd name="T5" fmla="*/ 44 h 61"/>
                <a:gd name="T6" fmla="*/ 35 w 35"/>
                <a:gd name="T7" fmla="*/ 28 h 61"/>
                <a:gd name="T8" fmla="*/ 33 w 35"/>
                <a:gd name="T9" fmla="*/ 18 h 61"/>
                <a:gd name="T10" fmla="*/ 31 w 35"/>
                <a:gd name="T11" fmla="*/ 11 h 61"/>
                <a:gd name="T12" fmla="*/ 29 w 35"/>
                <a:gd name="T13" fmla="*/ 7 h 61"/>
                <a:gd name="T14" fmla="*/ 30 w 35"/>
                <a:gd name="T15" fmla="*/ 3 h 61"/>
                <a:gd name="T16" fmla="*/ 12 w 35"/>
                <a:gd name="T17" fmla="*/ 1 h 61"/>
                <a:gd name="T18" fmla="*/ 6 w 35"/>
                <a:gd name="T19" fmla="*/ 2 h 61"/>
                <a:gd name="T20" fmla="*/ 5 w 35"/>
                <a:gd name="T21" fmla="*/ 14 h 61"/>
                <a:gd name="T22" fmla="*/ 2 w 35"/>
                <a:gd name="T23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61">
                  <a:moveTo>
                    <a:pt x="2" y="59"/>
                  </a:moveTo>
                  <a:cubicBezTo>
                    <a:pt x="2" y="59"/>
                    <a:pt x="27" y="61"/>
                    <a:pt x="31" y="59"/>
                  </a:cubicBezTo>
                  <a:cubicBezTo>
                    <a:pt x="31" y="59"/>
                    <a:pt x="32" y="46"/>
                    <a:pt x="33" y="44"/>
                  </a:cubicBezTo>
                  <a:cubicBezTo>
                    <a:pt x="33" y="42"/>
                    <a:pt x="34" y="30"/>
                    <a:pt x="35" y="28"/>
                  </a:cubicBezTo>
                  <a:cubicBezTo>
                    <a:pt x="35" y="26"/>
                    <a:pt x="35" y="20"/>
                    <a:pt x="33" y="18"/>
                  </a:cubicBezTo>
                  <a:cubicBezTo>
                    <a:pt x="32" y="17"/>
                    <a:pt x="31" y="15"/>
                    <a:pt x="31" y="11"/>
                  </a:cubicBezTo>
                  <a:cubicBezTo>
                    <a:pt x="30" y="10"/>
                    <a:pt x="29" y="7"/>
                    <a:pt x="29" y="7"/>
                  </a:cubicBezTo>
                  <a:cubicBezTo>
                    <a:pt x="29" y="7"/>
                    <a:pt x="29" y="4"/>
                    <a:pt x="30" y="3"/>
                  </a:cubicBezTo>
                  <a:cubicBezTo>
                    <a:pt x="30" y="3"/>
                    <a:pt x="20" y="0"/>
                    <a:pt x="12" y="1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11"/>
                    <a:pt x="5" y="14"/>
                  </a:cubicBezTo>
                  <a:cubicBezTo>
                    <a:pt x="3" y="16"/>
                    <a:pt x="0" y="26"/>
                    <a:pt x="2" y="59"/>
                  </a:cubicBez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96" name="Freeform 14"/>
            <p:cNvSpPr/>
            <p:nvPr/>
          </p:nvSpPr>
          <p:spPr bwMode="auto">
            <a:xfrm>
              <a:off x="1185863" y="2138363"/>
              <a:ext cx="17463" cy="17463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97" name="Freeform 15"/>
            <p:cNvSpPr/>
            <p:nvPr/>
          </p:nvSpPr>
          <p:spPr bwMode="auto">
            <a:xfrm>
              <a:off x="1185863" y="2155825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98" name="Freeform 16"/>
            <p:cNvSpPr/>
            <p:nvPr/>
          </p:nvSpPr>
          <p:spPr bwMode="auto">
            <a:xfrm>
              <a:off x="1168400" y="1400175"/>
              <a:ext cx="488950" cy="995363"/>
            </a:xfrm>
            <a:custGeom>
              <a:avLst/>
              <a:gdLst>
                <a:gd name="T0" fmla="*/ 17 w 28"/>
                <a:gd name="T1" fmla="*/ 58 h 58"/>
                <a:gd name="T2" fmla="*/ 24 w 28"/>
                <a:gd name="T3" fmla="*/ 57 h 58"/>
                <a:gd name="T4" fmla="*/ 26 w 28"/>
                <a:gd name="T5" fmla="*/ 42 h 58"/>
                <a:gd name="T6" fmla="*/ 28 w 28"/>
                <a:gd name="T7" fmla="*/ 26 h 58"/>
                <a:gd name="T8" fmla="*/ 26 w 28"/>
                <a:gd name="T9" fmla="*/ 16 h 58"/>
                <a:gd name="T10" fmla="*/ 24 w 28"/>
                <a:gd name="T11" fmla="*/ 9 h 58"/>
                <a:gd name="T12" fmla="*/ 22 w 28"/>
                <a:gd name="T13" fmla="*/ 5 h 58"/>
                <a:gd name="T14" fmla="*/ 23 w 28"/>
                <a:gd name="T15" fmla="*/ 1 h 58"/>
                <a:gd name="T16" fmla="*/ 17 w 28"/>
                <a:gd name="T17" fmla="*/ 0 h 58"/>
                <a:gd name="T18" fmla="*/ 17 w 28"/>
                <a:gd name="T19" fmla="*/ 0 h 58"/>
                <a:gd name="T20" fmla="*/ 15 w 28"/>
                <a:gd name="T21" fmla="*/ 5 h 58"/>
                <a:gd name="T22" fmla="*/ 4 w 28"/>
                <a:gd name="T23" fmla="*/ 7 h 58"/>
                <a:gd name="T24" fmla="*/ 16 w 28"/>
                <a:gd name="T25" fmla="*/ 7 h 58"/>
                <a:gd name="T26" fmla="*/ 18 w 28"/>
                <a:gd name="T27" fmla="*/ 10 h 58"/>
                <a:gd name="T28" fmla="*/ 8 w 28"/>
                <a:gd name="T29" fmla="*/ 11 h 58"/>
                <a:gd name="T30" fmla="*/ 18 w 28"/>
                <a:gd name="T31" fmla="*/ 13 h 58"/>
                <a:gd name="T32" fmla="*/ 20 w 28"/>
                <a:gd name="T33" fmla="*/ 17 h 58"/>
                <a:gd name="T34" fmla="*/ 12 w 28"/>
                <a:gd name="T35" fmla="*/ 16 h 58"/>
                <a:gd name="T36" fmla="*/ 18 w 28"/>
                <a:gd name="T37" fmla="*/ 22 h 58"/>
                <a:gd name="T38" fmla="*/ 0 w 28"/>
                <a:gd name="T39" fmla="*/ 22 h 58"/>
                <a:gd name="T40" fmla="*/ 20 w 28"/>
                <a:gd name="T41" fmla="*/ 24 h 58"/>
                <a:gd name="T42" fmla="*/ 9 w 28"/>
                <a:gd name="T43" fmla="*/ 27 h 58"/>
                <a:gd name="T44" fmla="*/ 18 w 28"/>
                <a:gd name="T45" fmla="*/ 27 h 58"/>
                <a:gd name="T46" fmla="*/ 18 w 28"/>
                <a:gd name="T47" fmla="*/ 33 h 58"/>
                <a:gd name="T48" fmla="*/ 4 w 28"/>
                <a:gd name="T49" fmla="*/ 37 h 58"/>
                <a:gd name="T50" fmla="*/ 18 w 28"/>
                <a:gd name="T51" fmla="*/ 38 h 58"/>
                <a:gd name="T52" fmla="*/ 14 w 28"/>
                <a:gd name="T53" fmla="*/ 42 h 58"/>
                <a:gd name="T54" fmla="*/ 2 w 28"/>
                <a:gd name="T55" fmla="*/ 43 h 58"/>
                <a:gd name="T56" fmla="*/ 16 w 28"/>
                <a:gd name="T57" fmla="*/ 44 h 58"/>
                <a:gd name="T58" fmla="*/ 7 w 28"/>
                <a:gd name="T59" fmla="*/ 47 h 58"/>
                <a:gd name="T60" fmla="*/ 20 w 28"/>
                <a:gd name="T61" fmla="*/ 44 h 58"/>
                <a:gd name="T62" fmla="*/ 20 w 28"/>
                <a:gd name="T63" fmla="*/ 48 h 58"/>
                <a:gd name="T64" fmla="*/ 0 w 28"/>
                <a:gd name="T65" fmla="*/ 54 h 58"/>
                <a:gd name="T66" fmla="*/ 17 w 28"/>
                <a:gd name="T67" fmla="*/ 53 h 58"/>
                <a:gd name="T68" fmla="*/ 17 w 28"/>
                <a:gd name="T6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8" h="58">
                  <a:moveTo>
                    <a:pt x="17" y="58"/>
                  </a:moveTo>
                  <a:cubicBezTo>
                    <a:pt x="21" y="58"/>
                    <a:pt x="23" y="58"/>
                    <a:pt x="24" y="57"/>
                  </a:cubicBezTo>
                  <a:cubicBezTo>
                    <a:pt x="24" y="57"/>
                    <a:pt x="25" y="44"/>
                    <a:pt x="26" y="42"/>
                  </a:cubicBezTo>
                  <a:cubicBezTo>
                    <a:pt x="26" y="40"/>
                    <a:pt x="27" y="28"/>
                    <a:pt x="28" y="26"/>
                  </a:cubicBezTo>
                  <a:cubicBezTo>
                    <a:pt x="28" y="24"/>
                    <a:pt x="28" y="18"/>
                    <a:pt x="26" y="16"/>
                  </a:cubicBezTo>
                  <a:cubicBezTo>
                    <a:pt x="25" y="15"/>
                    <a:pt x="24" y="13"/>
                    <a:pt x="24" y="9"/>
                  </a:cubicBezTo>
                  <a:cubicBezTo>
                    <a:pt x="23" y="8"/>
                    <a:pt x="22" y="5"/>
                    <a:pt x="22" y="5"/>
                  </a:cubicBezTo>
                  <a:cubicBezTo>
                    <a:pt x="22" y="5"/>
                    <a:pt x="22" y="2"/>
                    <a:pt x="23" y="1"/>
                  </a:cubicBezTo>
                  <a:cubicBezTo>
                    <a:pt x="23" y="1"/>
                    <a:pt x="20" y="1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2"/>
                    <a:pt x="15" y="5"/>
                    <a:pt x="15" y="5"/>
                  </a:cubicBezTo>
                  <a:cubicBezTo>
                    <a:pt x="9" y="5"/>
                    <a:pt x="4" y="7"/>
                    <a:pt x="4" y="7"/>
                  </a:cubicBezTo>
                  <a:cubicBezTo>
                    <a:pt x="8" y="6"/>
                    <a:pt x="16" y="7"/>
                    <a:pt x="16" y="7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5" y="10"/>
                    <a:pt x="8" y="11"/>
                    <a:pt x="8" y="11"/>
                  </a:cubicBezTo>
                  <a:cubicBezTo>
                    <a:pt x="14" y="11"/>
                    <a:pt x="19" y="13"/>
                    <a:pt x="18" y="13"/>
                  </a:cubicBezTo>
                  <a:cubicBezTo>
                    <a:pt x="17" y="14"/>
                    <a:pt x="20" y="17"/>
                    <a:pt x="20" y="17"/>
                  </a:cubicBezTo>
                  <a:cubicBezTo>
                    <a:pt x="16" y="15"/>
                    <a:pt x="12" y="16"/>
                    <a:pt x="12" y="16"/>
                  </a:cubicBezTo>
                  <a:cubicBezTo>
                    <a:pt x="17" y="16"/>
                    <a:pt x="18" y="22"/>
                    <a:pt x="18" y="22"/>
                  </a:cubicBezTo>
                  <a:cubicBezTo>
                    <a:pt x="8" y="19"/>
                    <a:pt x="0" y="22"/>
                    <a:pt x="0" y="22"/>
                  </a:cubicBezTo>
                  <a:cubicBezTo>
                    <a:pt x="14" y="20"/>
                    <a:pt x="20" y="24"/>
                    <a:pt x="20" y="24"/>
                  </a:cubicBezTo>
                  <a:cubicBezTo>
                    <a:pt x="17" y="25"/>
                    <a:pt x="9" y="27"/>
                    <a:pt x="9" y="27"/>
                  </a:cubicBezTo>
                  <a:cubicBezTo>
                    <a:pt x="14" y="26"/>
                    <a:pt x="18" y="27"/>
                    <a:pt x="18" y="27"/>
                  </a:cubicBezTo>
                  <a:cubicBezTo>
                    <a:pt x="18" y="27"/>
                    <a:pt x="19" y="31"/>
                    <a:pt x="18" y="33"/>
                  </a:cubicBezTo>
                  <a:cubicBezTo>
                    <a:pt x="17" y="36"/>
                    <a:pt x="4" y="37"/>
                    <a:pt x="4" y="37"/>
                  </a:cubicBezTo>
                  <a:cubicBezTo>
                    <a:pt x="15" y="36"/>
                    <a:pt x="16" y="36"/>
                    <a:pt x="18" y="38"/>
                  </a:cubicBezTo>
                  <a:cubicBezTo>
                    <a:pt x="20" y="41"/>
                    <a:pt x="14" y="42"/>
                    <a:pt x="14" y="42"/>
                  </a:cubicBezTo>
                  <a:cubicBezTo>
                    <a:pt x="7" y="42"/>
                    <a:pt x="3" y="43"/>
                    <a:pt x="2" y="43"/>
                  </a:cubicBezTo>
                  <a:cubicBezTo>
                    <a:pt x="6" y="43"/>
                    <a:pt x="16" y="44"/>
                    <a:pt x="16" y="44"/>
                  </a:cubicBezTo>
                  <a:cubicBezTo>
                    <a:pt x="15" y="45"/>
                    <a:pt x="7" y="47"/>
                    <a:pt x="7" y="47"/>
                  </a:cubicBezTo>
                  <a:cubicBezTo>
                    <a:pt x="15" y="46"/>
                    <a:pt x="20" y="44"/>
                    <a:pt x="20" y="44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18" y="51"/>
                    <a:pt x="0" y="54"/>
                    <a:pt x="0" y="54"/>
                  </a:cubicBezTo>
                  <a:cubicBezTo>
                    <a:pt x="4" y="54"/>
                    <a:pt x="17" y="53"/>
                    <a:pt x="17" y="53"/>
                  </a:cubicBezTo>
                  <a:cubicBezTo>
                    <a:pt x="16" y="54"/>
                    <a:pt x="17" y="56"/>
                    <a:pt x="17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99" name="Freeform 17"/>
            <p:cNvSpPr/>
            <p:nvPr/>
          </p:nvSpPr>
          <p:spPr bwMode="auto">
            <a:xfrm>
              <a:off x="1238250" y="698500"/>
              <a:ext cx="279400" cy="479425"/>
            </a:xfrm>
            <a:custGeom>
              <a:avLst/>
              <a:gdLst>
                <a:gd name="T0" fmla="*/ 2 w 16"/>
                <a:gd name="T1" fmla="*/ 28 h 28"/>
                <a:gd name="T2" fmla="*/ 13 w 16"/>
                <a:gd name="T3" fmla="*/ 16 h 28"/>
                <a:gd name="T4" fmla="*/ 16 w 16"/>
                <a:gd name="T5" fmla="*/ 10 h 28"/>
                <a:gd name="T6" fmla="*/ 12 w 16"/>
                <a:gd name="T7" fmla="*/ 0 h 28"/>
                <a:gd name="T8" fmla="*/ 5 w 16"/>
                <a:gd name="T9" fmla="*/ 8 h 28"/>
                <a:gd name="T10" fmla="*/ 4 w 16"/>
                <a:gd name="T11" fmla="*/ 14 h 28"/>
                <a:gd name="T12" fmla="*/ 0 w 16"/>
                <a:gd name="T13" fmla="*/ 21 h 28"/>
                <a:gd name="T14" fmla="*/ 2 w 16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8">
                  <a:moveTo>
                    <a:pt x="2" y="28"/>
                  </a:moveTo>
                  <a:cubicBezTo>
                    <a:pt x="2" y="28"/>
                    <a:pt x="13" y="17"/>
                    <a:pt x="13" y="16"/>
                  </a:cubicBezTo>
                  <a:cubicBezTo>
                    <a:pt x="14" y="15"/>
                    <a:pt x="16" y="10"/>
                    <a:pt x="16" y="1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4" y="13"/>
                    <a:pt x="4" y="14"/>
                  </a:cubicBezTo>
                  <a:cubicBezTo>
                    <a:pt x="4" y="14"/>
                    <a:pt x="0" y="20"/>
                    <a:pt x="0" y="21"/>
                  </a:cubicBezTo>
                  <a:cubicBezTo>
                    <a:pt x="1" y="22"/>
                    <a:pt x="2" y="28"/>
                    <a:pt x="2" y="28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00" name="Freeform 18"/>
            <p:cNvSpPr/>
            <p:nvPr/>
          </p:nvSpPr>
          <p:spPr bwMode="auto">
            <a:xfrm>
              <a:off x="1535113" y="1041400"/>
              <a:ext cx="452438" cy="736600"/>
            </a:xfrm>
            <a:custGeom>
              <a:avLst/>
              <a:gdLst>
                <a:gd name="T0" fmla="*/ 5 w 26"/>
                <a:gd name="T1" fmla="*/ 8 h 43"/>
                <a:gd name="T2" fmla="*/ 18 w 26"/>
                <a:gd name="T3" fmla="*/ 19 h 43"/>
                <a:gd name="T4" fmla="*/ 19 w 26"/>
                <a:gd name="T5" fmla="*/ 21 h 43"/>
                <a:gd name="T6" fmla="*/ 9 w 26"/>
                <a:gd name="T7" fmla="*/ 37 h 43"/>
                <a:gd name="T8" fmla="*/ 5 w 26"/>
                <a:gd name="T9" fmla="*/ 36 h 43"/>
                <a:gd name="T10" fmla="*/ 5 w 26"/>
                <a:gd name="T11" fmla="*/ 34 h 43"/>
                <a:gd name="T12" fmla="*/ 1 w 26"/>
                <a:gd name="T13" fmla="*/ 33 h 43"/>
                <a:gd name="T14" fmla="*/ 2 w 26"/>
                <a:gd name="T15" fmla="*/ 34 h 43"/>
                <a:gd name="T16" fmla="*/ 4 w 26"/>
                <a:gd name="T17" fmla="*/ 35 h 43"/>
                <a:gd name="T18" fmla="*/ 1 w 26"/>
                <a:gd name="T19" fmla="*/ 35 h 43"/>
                <a:gd name="T20" fmla="*/ 1 w 26"/>
                <a:gd name="T21" fmla="*/ 37 h 43"/>
                <a:gd name="T22" fmla="*/ 5 w 26"/>
                <a:gd name="T23" fmla="*/ 37 h 43"/>
                <a:gd name="T24" fmla="*/ 1 w 26"/>
                <a:gd name="T25" fmla="*/ 38 h 43"/>
                <a:gd name="T26" fmla="*/ 3 w 26"/>
                <a:gd name="T27" fmla="*/ 39 h 43"/>
                <a:gd name="T28" fmla="*/ 5 w 26"/>
                <a:gd name="T29" fmla="*/ 40 h 43"/>
                <a:gd name="T30" fmla="*/ 3 w 26"/>
                <a:gd name="T31" fmla="*/ 41 h 43"/>
                <a:gd name="T32" fmla="*/ 4 w 26"/>
                <a:gd name="T33" fmla="*/ 42 h 43"/>
                <a:gd name="T34" fmla="*/ 6 w 26"/>
                <a:gd name="T35" fmla="*/ 42 h 43"/>
                <a:gd name="T36" fmla="*/ 10 w 26"/>
                <a:gd name="T37" fmla="*/ 42 h 43"/>
                <a:gd name="T38" fmla="*/ 13 w 26"/>
                <a:gd name="T39" fmla="*/ 40 h 43"/>
                <a:gd name="T40" fmla="*/ 26 w 26"/>
                <a:gd name="T41" fmla="*/ 20 h 43"/>
                <a:gd name="T42" fmla="*/ 17 w 26"/>
                <a:gd name="T43" fmla="*/ 7 h 43"/>
                <a:gd name="T44" fmla="*/ 12 w 26"/>
                <a:gd name="T45" fmla="*/ 0 h 43"/>
                <a:gd name="T46" fmla="*/ 5 w 26"/>
                <a:gd name="T47" fmla="*/ 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43">
                  <a:moveTo>
                    <a:pt x="5" y="8"/>
                  </a:moveTo>
                  <a:cubicBezTo>
                    <a:pt x="5" y="8"/>
                    <a:pt x="17" y="16"/>
                    <a:pt x="18" y="19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2" y="35"/>
                    <a:pt x="9" y="37"/>
                  </a:cubicBezTo>
                  <a:cubicBezTo>
                    <a:pt x="9" y="37"/>
                    <a:pt x="6" y="38"/>
                    <a:pt x="5" y="36"/>
                  </a:cubicBezTo>
                  <a:cubicBezTo>
                    <a:pt x="5" y="36"/>
                    <a:pt x="5" y="35"/>
                    <a:pt x="5" y="34"/>
                  </a:cubicBezTo>
                  <a:cubicBezTo>
                    <a:pt x="4" y="33"/>
                    <a:pt x="2" y="32"/>
                    <a:pt x="1" y="33"/>
                  </a:cubicBezTo>
                  <a:cubicBezTo>
                    <a:pt x="1" y="33"/>
                    <a:pt x="1" y="34"/>
                    <a:pt x="2" y="34"/>
                  </a:cubicBezTo>
                  <a:cubicBezTo>
                    <a:pt x="2" y="34"/>
                    <a:pt x="4" y="35"/>
                    <a:pt x="4" y="35"/>
                  </a:cubicBezTo>
                  <a:cubicBezTo>
                    <a:pt x="4" y="35"/>
                    <a:pt x="1" y="35"/>
                    <a:pt x="1" y="35"/>
                  </a:cubicBezTo>
                  <a:cubicBezTo>
                    <a:pt x="0" y="36"/>
                    <a:pt x="0" y="37"/>
                    <a:pt x="1" y="37"/>
                  </a:cubicBezTo>
                  <a:cubicBezTo>
                    <a:pt x="2" y="37"/>
                    <a:pt x="4" y="37"/>
                    <a:pt x="5" y="37"/>
                  </a:cubicBezTo>
                  <a:cubicBezTo>
                    <a:pt x="5" y="37"/>
                    <a:pt x="1" y="38"/>
                    <a:pt x="1" y="38"/>
                  </a:cubicBezTo>
                  <a:cubicBezTo>
                    <a:pt x="1" y="39"/>
                    <a:pt x="1" y="40"/>
                    <a:pt x="3" y="39"/>
                  </a:cubicBezTo>
                  <a:cubicBezTo>
                    <a:pt x="4" y="39"/>
                    <a:pt x="5" y="40"/>
                    <a:pt x="5" y="40"/>
                  </a:cubicBezTo>
                  <a:cubicBezTo>
                    <a:pt x="5" y="40"/>
                    <a:pt x="2" y="40"/>
                    <a:pt x="3" y="41"/>
                  </a:cubicBezTo>
                  <a:cubicBezTo>
                    <a:pt x="3" y="41"/>
                    <a:pt x="3" y="42"/>
                    <a:pt x="4" y="42"/>
                  </a:cubicBezTo>
                  <a:cubicBezTo>
                    <a:pt x="5" y="42"/>
                    <a:pt x="6" y="41"/>
                    <a:pt x="6" y="42"/>
                  </a:cubicBezTo>
                  <a:cubicBezTo>
                    <a:pt x="6" y="42"/>
                    <a:pt x="8" y="43"/>
                    <a:pt x="10" y="42"/>
                  </a:cubicBezTo>
                  <a:cubicBezTo>
                    <a:pt x="13" y="42"/>
                    <a:pt x="12" y="41"/>
                    <a:pt x="13" y="40"/>
                  </a:cubicBezTo>
                  <a:cubicBezTo>
                    <a:pt x="13" y="40"/>
                    <a:pt x="26" y="24"/>
                    <a:pt x="26" y="20"/>
                  </a:cubicBezTo>
                  <a:cubicBezTo>
                    <a:pt x="26" y="17"/>
                    <a:pt x="18" y="8"/>
                    <a:pt x="17" y="7"/>
                  </a:cubicBezTo>
                  <a:cubicBezTo>
                    <a:pt x="16" y="6"/>
                    <a:pt x="15" y="1"/>
                    <a:pt x="12" y="0"/>
                  </a:cubicBezTo>
                  <a:cubicBezTo>
                    <a:pt x="10" y="0"/>
                    <a:pt x="5" y="3"/>
                    <a:pt x="5" y="8"/>
                  </a:cubicBezTo>
                  <a:close/>
                </a:path>
              </a:pathLst>
            </a:custGeom>
            <a:solidFill>
              <a:srgbClr val="F1B1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01" name="Freeform 19"/>
            <p:cNvSpPr/>
            <p:nvPr/>
          </p:nvSpPr>
          <p:spPr bwMode="auto">
            <a:xfrm>
              <a:off x="1203325" y="800100"/>
              <a:ext cx="69850" cy="103188"/>
            </a:xfrm>
            <a:custGeom>
              <a:avLst/>
              <a:gdLst>
                <a:gd name="T0" fmla="*/ 0 w 4"/>
                <a:gd name="T1" fmla="*/ 2 h 6"/>
                <a:gd name="T2" fmla="*/ 3 w 4"/>
                <a:gd name="T3" fmla="*/ 6 h 6"/>
                <a:gd name="T4" fmla="*/ 4 w 4"/>
                <a:gd name="T5" fmla="*/ 3 h 6"/>
                <a:gd name="T6" fmla="*/ 2 w 4"/>
                <a:gd name="T7" fmla="*/ 0 h 6"/>
                <a:gd name="T8" fmla="*/ 0 w 4"/>
                <a:gd name="T9" fmla="*/ 0 h 6"/>
                <a:gd name="T10" fmla="*/ 0 w 4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2"/>
                  </a:moveTo>
                  <a:cubicBezTo>
                    <a:pt x="0" y="2"/>
                    <a:pt x="1" y="3"/>
                    <a:pt x="3" y="6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02" name="Freeform 20"/>
            <p:cNvSpPr/>
            <p:nvPr/>
          </p:nvSpPr>
          <p:spPr bwMode="auto">
            <a:xfrm>
              <a:off x="1308100" y="698500"/>
              <a:ext cx="209550" cy="257175"/>
            </a:xfrm>
            <a:custGeom>
              <a:avLst/>
              <a:gdLst>
                <a:gd name="T0" fmla="*/ 12 w 12"/>
                <a:gd name="T1" fmla="*/ 10 h 15"/>
                <a:gd name="T2" fmla="*/ 8 w 12"/>
                <a:gd name="T3" fmla="*/ 0 h 15"/>
                <a:gd name="T4" fmla="*/ 1 w 12"/>
                <a:gd name="T5" fmla="*/ 8 h 15"/>
                <a:gd name="T6" fmla="*/ 0 w 12"/>
                <a:gd name="T7" fmla="*/ 12 h 15"/>
                <a:gd name="T8" fmla="*/ 2 w 12"/>
                <a:gd name="T9" fmla="*/ 11 h 15"/>
                <a:gd name="T10" fmla="*/ 8 w 12"/>
                <a:gd name="T11" fmla="*/ 14 h 15"/>
                <a:gd name="T12" fmla="*/ 10 w 12"/>
                <a:gd name="T13" fmla="*/ 13 h 15"/>
                <a:gd name="T14" fmla="*/ 12 w 12"/>
                <a:gd name="T15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5">
                  <a:moveTo>
                    <a:pt x="12" y="1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10"/>
                    <a:pt x="0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5"/>
                    <a:pt x="8" y="14"/>
                  </a:cubicBezTo>
                  <a:cubicBezTo>
                    <a:pt x="9" y="14"/>
                    <a:pt x="10" y="14"/>
                    <a:pt x="10" y="13"/>
                  </a:cubicBezTo>
                  <a:cubicBezTo>
                    <a:pt x="11" y="11"/>
                    <a:pt x="12" y="10"/>
                    <a:pt x="12" y="10"/>
                  </a:cubicBezTo>
                  <a:close/>
                </a:path>
              </a:pathLst>
            </a:custGeom>
            <a:solidFill>
              <a:srgbClr val="D081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03" name="Freeform 21"/>
            <p:cNvSpPr/>
            <p:nvPr/>
          </p:nvSpPr>
          <p:spPr bwMode="auto">
            <a:xfrm>
              <a:off x="1238250" y="955675"/>
              <a:ext cx="87313" cy="222250"/>
            </a:xfrm>
            <a:custGeom>
              <a:avLst/>
              <a:gdLst>
                <a:gd name="T0" fmla="*/ 4 w 5"/>
                <a:gd name="T1" fmla="*/ 11 h 13"/>
                <a:gd name="T2" fmla="*/ 4 w 5"/>
                <a:gd name="T3" fmla="*/ 5 h 13"/>
                <a:gd name="T4" fmla="*/ 3 w 5"/>
                <a:gd name="T5" fmla="*/ 0 h 13"/>
                <a:gd name="T6" fmla="*/ 0 w 5"/>
                <a:gd name="T7" fmla="*/ 6 h 13"/>
                <a:gd name="T8" fmla="*/ 2 w 5"/>
                <a:gd name="T9" fmla="*/ 13 h 13"/>
                <a:gd name="T10" fmla="*/ 4 w 5"/>
                <a:gd name="T11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3">
                  <a:moveTo>
                    <a:pt x="4" y="11"/>
                  </a:moveTo>
                  <a:cubicBezTo>
                    <a:pt x="4" y="9"/>
                    <a:pt x="4" y="7"/>
                    <a:pt x="4" y="5"/>
                  </a:cubicBezTo>
                  <a:cubicBezTo>
                    <a:pt x="5" y="3"/>
                    <a:pt x="4" y="1"/>
                    <a:pt x="3" y="0"/>
                  </a:cubicBezTo>
                  <a:cubicBezTo>
                    <a:pt x="2" y="2"/>
                    <a:pt x="0" y="5"/>
                    <a:pt x="0" y="6"/>
                  </a:cubicBezTo>
                  <a:cubicBezTo>
                    <a:pt x="1" y="7"/>
                    <a:pt x="2" y="13"/>
                    <a:pt x="2" y="13"/>
                  </a:cubicBezTo>
                  <a:cubicBezTo>
                    <a:pt x="2" y="13"/>
                    <a:pt x="3" y="12"/>
                    <a:pt x="4" y="11"/>
                  </a:cubicBezTo>
                  <a:close/>
                </a:path>
              </a:pathLst>
            </a:custGeom>
            <a:solidFill>
              <a:srgbClr val="D081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04" name="Freeform 22"/>
            <p:cNvSpPr/>
            <p:nvPr/>
          </p:nvSpPr>
          <p:spPr bwMode="auto">
            <a:xfrm>
              <a:off x="1098550" y="885825"/>
              <a:ext cx="714375" cy="549275"/>
            </a:xfrm>
            <a:custGeom>
              <a:avLst/>
              <a:gdLst>
                <a:gd name="T0" fmla="*/ 1 w 41"/>
                <a:gd name="T1" fmla="*/ 12 h 32"/>
                <a:gd name="T2" fmla="*/ 5 w 41"/>
                <a:gd name="T3" fmla="*/ 6 h 32"/>
                <a:gd name="T4" fmla="*/ 11 w 41"/>
                <a:gd name="T5" fmla="*/ 3 h 32"/>
                <a:gd name="T6" fmla="*/ 12 w 41"/>
                <a:gd name="T7" fmla="*/ 3 h 32"/>
                <a:gd name="T8" fmla="*/ 10 w 41"/>
                <a:gd name="T9" fmla="*/ 10 h 32"/>
                <a:gd name="T10" fmla="*/ 10 w 41"/>
                <a:gd name="T11" fmla="*/ 16 h 32"/>
                <a:gd name="T12" fmla="*/ 14 w 41"/>
                <a:gd name="T13" fmla="*/ 10 h 32"/>
                <a:gd name="T14" fmla="*/ 18 w 41"/>
                <a:gd name="T15" fmla="*/ 5 h 32"/>
                <a:gd name="T16" fmla="*/ 18 w 41"/>
                <a:gd name="T17" fmla="*/ 2 h 32"/>
                <a:gd name="T18" fmla="*/ 21 w 41"/>
                <a:gd name="T19" fmla="*/ 0 h 32"/>
                <a:gd name="T20" fmla="*/ 24 w 41"/>
                <a:gd name="T21" fmla="*/ 2 h 32"/>
                <a:gd name="T22" fmla="*/ 28 w 41"/>
                <a:gd name="T23" fmla="*/ 3 h 32"/>
                <a:gd name="T24" fmla="*/ 37 w 41"/>
                <a:gd name="T25" fmla="*/ 7 h 32"/>
                <a:gd name="T26" fmla="*/ 41 w 41"/>
                <a:gd name="T27" fmla="*/ 14 h 32"/>
                <a:gd name="T28" fmla="*/ 34 w 41"/>
                <a:gd name="T29" fmla="*/ 20 h 32"/>
                <a:gd name="T30" fmla="*/ 35 w 41"/>
                <a:gd name="T31" fmla="*/ 20 h 32"/>
                <a:gd name="T32" fmla="*/ 32 w 41"/>
                <a:gd name="T33" fmla="*/ 20 h 32"/>
                <a:gd name="T34" fmla="*/ 31 w 41"/>
                <a:gd name="T35" fmla="*/ 20 h 32"/>
                <a:gd name="T36" fmla="*/ 28 w 41"/>
                <a:gd name="T37" fmla="*/ 27 h 32"/>
                <a:gd name="T38" fmla="*/ 27 w 41"/>
                <a:gd name="T39" fmla="*/ 31 h 32"/>
                <a:gd name="T40" fmla="*/ 3 w 41"/>
                <a:gd name="T41" fmla="*/ 30 h 32"/>
                <a:gd name="T42" fmla="*/ 2 w 41"/>
                <a:gd name="T43" fmla="*/ 25 h 32"/>
                <a:gd name="T44" fmla="*/ 0 w 41"/>
                <a:gd name="T45" fmla="*/ 19 h 32"/>
                <a:gd name="T46" fmla="*/ 1 w 41"/>
                <a:gd name="T47" fmla="*/ 1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1" h="32">
                  <a:moveTo>
                    <a:pt x="1" y="12"/>
                  </a:moveTo>
                  <a:cubicBezTo>
                    <a:pt x="2" y="10"/>
                    <a:pt x="4" y="7"/>
                    <a:pt x="5" y="6"/>
                  </a:cubicBezTo>
                  <a:cubicBezTo>
                    <a:pt x="7" y="6"/>
                    <a:pt x="10" y="3"/>
                    <a:pt x="11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0" y="8"/>
                    <a:pt x="10" y="10"/>
                  </a:cubicBezTo>
                  <a:cubicBezTo>
                    <a:pt x="10" y="12"/>
                    <a:pt x="10" y="15"/>
                    <a:pt x="10" y="16"/>
                  </a:cubicBezTo>
                  <a:cubicBezTo>
                    <a:pt x="10" y="16"/>
                    <a:pt x="13" y="12"/>
                    <a:pt x="14" y="10"/>
                  </a:cubicBezTo>
                  <a:cubicBezTo>
                    <a:pt x="14" y="8"/>
                    <a:pt x="17" y="7"/>
                    <a:pt x="18" y="5"/>
                  </a:cubicBezTo>
                  <a:cubicBezTo>
                    <a:pt x="18" y="3"/>
                    <a:pt x="18" y="2"/>
                    <a:pt x="18" y="2"/>
                  </a:cubicBezTo>
                  <a:cubicBezTo>
                    <a:pt x="18" y="2"/>
                    <a:pt x="21" y="1"/>
                    <a:pt x="21" y="0"/>
                  </a:cubicBezTo>
                  <a:cubicBezTo>
                    <a:pt x="21" y="0"/>
                    <a:pt x="23" y="2"/>
                    <a:pt x="24" y="2"/>
                  </a:cubicBezTo>
                  <a:cubicBezTo>
                    <a:pt x="26" y="2"/>
                    <a:pt x="28" y="3"/>
                    <a:pt x="28" y="3"/>
                  </a:cubicBezTo>
                  <a:cubicBezTo>
                    <a:pt x="29" y="3"/>
                    <a:pt x="35" y="5"/>
                    <a:pt x="37" y="7"/>
                  </a:cubicBezTo>
                  <a:cubicBezTo>
                    <a:pt x="38" y="9"/>
                    <a:pt x="40" y="11"/>
                    <a:pt x="41" y="14"/>
                  </a:cubicBezTo>
                  <a:cubicBezTo>
                    <a:pt x="41" y="14"/>
                    <a:pt x="34" y="19"/>
                    <a:pt x="34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20"/>
                    <a:pt x="33" y="20"/>
                    <a:pt x="32" y="20"/>
                  </a:cubicBezTo>
                  <a:cubicBezTo>
                    <a:pt x="31" y="19"/>
                    <a:pt x="31" y="20"/>
                    <a:pt x="31" y="20"/>
                  </a:cubicBezTo>
                  <a:cubicBezTo>
                    <a:pt x="30" y="21"/>
                    <a:pt x="28" y="26"/>
                    <a:pt x="28" y="27"/>
                  </a:cubicBezTo>
                  <a:cubicBezTo>
                    <a:pt x="28" y="28"/>
                    <a:pt x="28" y="31"/>
                    <a:pt x="27" y="31"/>
                  </a:cubicBezTo>
                  <a:cubicBezTo>
                    <a:pt x="27" y="31"/>
                    <a:pt x="4" y="32"/>
                    <a:pt x="3" y="30"/>
                  </a:cubicBezTo>
                  <a:cubicBezTo>
                    <a:pt x="3" y="30"/>
                    <a:pt x="3" y="26"/>
                    <a:pt x="2" y="25"/>
                  </a:cubicBezTo>
                  <a:cubicBezTo>
                    <a:pt x="2" y="23"/>
                    <a:pt x="0" y="22"/>
                    <a:pt x="0" y="19"/>
                  </a:cubicBezTo>
                  <a:cubicBezTo>
                    <a:pt x="0" y="17"/>
                    <a:pt x="1" y="14"/>
                    <a:pt x="1" y="12"/>
                  </a:cubicBezTo>
                  <a:close/>
                </a:path>
              </a:pathLst>
            </a:custGeom>
            <a:solidFill>
              <a:srgbClr val="F2F2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05" name="Freeform 23"/>
            <p:cNvSpPr/>
            <p:nvPr/>
          </p:nvSpPr>
          <p:spPr bwMode="auto">
            <a:xfrm>
              <a:off x="1081088" y="474663"/>
              <a:ext cx="558800" cy="703263"/>
            </a:xfrm>
            <a:custGeom>
              <a:avLst/>
              <a:gdLst>
                <a:gd name="T0" fmla="*/ 27 w 32"/>
                <a:gd name="T1" fmla="*/ 21 h 41"/>
                <a:gd name="T2" fmla="*/ 25 w 32"/>
                <a:gd name="T3" fmla="*/ 14 h 41"/>
                <a:gd name="T4" fmla="*/ 22 w 32"/>
                <a:gd name="T5" fmla="*/ 5 h 41"/>
                <a:gd name="T6" fmla="*/ 14 w 32"/>
                <a:gd name="T7" fmla="*/ 0 h 41"/>
                <a:gd name="T8" fmla="*/ 5 w 32"/>
                <a:gd name="T9" fmla="*/ 4 h 41"/>
                <a:gd name="T10" fmla="*/ 3 w 32"/>
                <a:gd name="T11" fmla="*/ 12 h 41"/>
                <a:gd name="T12" fmla="*/ 4 w 32"/>
                <a:gd name="T13" fmla="*/ 16 h 41"/>
                <a:gd name="T14" fmla="*/ 6 w 32"/>
                <a:gd name="T15" fmla="*/ 18 h 41"/>
                <a:gd name="T16" fmla="*/ 7 w 32"/>
                <a:gd name="T17" fmla="*/ 22 h 41"/>
                <a:gd name="T18" fmla="*/ 8 w 32"/>
                <a:gd name="T19" fmla="*/ 23 h 41"/>
                <a:gd name="T20" fmla="*/ 8 w 32"/>
                <a:gd name="T21" fmla="*/ 22 h 41"/>
                <a:gd name="T22" fmla="*/ 8 w 32"/>
                <a:gd name="T23" fmla="*/ 19 h 41"/>
                <a:gd name="T24" fmla="*/ 6 w 32"/>
                <a:gd name="T25" fmla="*/ 12 h 41"/>
                <a:gd name="T26" fmla="*/ 7 w 32"/>
                <a:gd name="T27" fmla="*/ 15 h 41"/>
                <a:gd name="T28" fmla="*/ 9 w 32"/>
                <a:gd name="T29" fmla="*/ 18 h 41"/>
                <a:gd name="T30" fmla="*/ 8 w 32"/>
                <a:gd name="T31" fmla="*/ 21 h 41"/>
                <a:gd name="T32" fmla="*/ 8 w 32"/>
                <a:gd name="T33" fmla="*/ 27 h 41"/>
                <a:gd name="T34" fmla="*/ 7 w 32"/>
                <a:gd name="T35" fmla="*/ 30 h 41"/>
                <a:gd name="T36" fmla="*/ 14 w 32"/>
                <a:gd name="T37" fmla="*/ 26 h 41"/>
                <a:gd name="T38" fmla="*/ 12 w 32"/>
                <a:gd name="T39" fmla="*/ 23 h 41"/>
                <a:gd name="T40" fmla="*/ 20 w 32"/>
                <a:gd name="T41" fmla="*/ 16 h 41"/>
                <a:gd name="T42" fmla="*/ 21 w 32"/>
                <a:gd name="T43" fmla="*/ 20 h 41"/>
                <a:gd name="T44" fmla="*/ 21 w 32"/>
                <a:gd name="T45" fmla="*/ 25 h 41"/>
                <a:gd name="T46" fmla="*/ 24 w 32"/>
                <a:gd name="T47" fmla="*/ 27 h 41"/>
                <a:gd name="T48" fmla="*/ 24 w 32"/>
                <a:gd name="T49" fmla="*/ 29 h 41"/>
                <a:gd name="T50" fmla="*/ 25 w 32"/>
                <a:gd name="T51" fmla="*/ 27 h 41"/>
                <a:gd name="T52" fmla="*/ 25 w 32"/>
                <a:gd name="T53" fmla="*/ 28 h 41"/>
                <a:gd name="T54" fmla="*/ 25 w 32"/>
                <a:gd name="T55" fmla="*/ 30 h 41"/>
                <a:gd name="T56" fmla="*/ 25 w 32"/>
                <a:gd name="T57" fmla="*/ 33 h 41"/>
                <a:gd name="T58" fmla="*/ 25 w 32"/>
                <a:gd name="T59" fmla="*/ 33 h 41"/>
                <a:gd name="T60" fmla="*/ 25 w 32"/>
                <a:gd name="T61" fmla="*/ 33 h 41"/>
                <a:gd name="T62" fmla="*/ 26 w 32"/>
                <a:gd name="T63" fmla="*/ 32 h 41"/>
                <a:gd name="T64" fmla="*/ 26 w 32"/>
                <a:gd name="T65" fmla="*/ 38 h 41"/>
                <a:gd name="T66" fmla="*/ 24 w 32"/>
                <a:gd name="T67" fmla="*/ 39 h 41"/>
                <a:gd name="T68" fmla="*/ 27 w 32"/>
                <a:gd name="T69" fmla="*/ 39 h 41"/>
                <a:gd name="T70" fmla="*/ 28 w 32"/>
                <a:gd name="T71" fmla="*/ 33 h 41"/>
                <a:gd name="T72" fmla="*/ 31 w 32"/>
                <a:gd name="T73" fmla="*/ 28 h 41"/>
                <a:gd name="T74" fmla="*/ 32 w 32"/>
                <a:gd name="T75" fmla="*/ 28 h 41"/>
                <a:gd name="T76" fmla="*/ 27 w 32"/>
                <a:gd name="T7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" h="41">
                  <a:moveTo>
                    <a:pt x="27" y="21"/>
                  </a:moveTo>
                  <a:cubicBezTo>
                    <a:pt x="26" y="21"/>
                    <a:pt x="25" y="15"/>
                    <a:pt x="25" y="14"/>
                  </a:cubicBezTo>
                  <a:cubicBezTo>
                    <a:pt x="25" y="13"/>
                    <a:pt x="23" y="6"/>
                    <a:pt x="22" y="5"/>
                  </a:cubicBezTo>
                  <a:cubicBezTo>
                    <a:pt x="20" y="1"/>
                    <a:pt x="14" y="0"/>
                    <a:pt x="14" y="0"/>
                  </a:cubicBezTo>
                  <a:cubicBezTo>
                    <a:pt x="11" y="0"/>
                    <a:pt x="8" y="1"/>
                    <a:pt x="5" y="4"/>
                  </a:cubicBezTo>
                  <a:cubicBezTo>
                    <a:pt x="0" y="5"/>
                    <a:pt x="3" y="11"/>
                    <a:pt x="3" y="12"/>
                  </a:cubicBezTo>
                  <a:cubicBezTo>
                    <a:pt x="4" y="14"/>
                    <a:pt x="4" y="13"/>
                    <a:pt x="4" y="16"/>
                  </a:cubicBezTo>
                  <a:cubicBezTo>
                    <a:pt x="4" y="18"/>
                    <a:pt x="6" y="17"/>
                    <a:pt x="6" y="18"/>
                  </a:cubicBezTo>
                  <a:cubicBezTo>
                    <a:pt x="6" y="19"/>
                    <a:pt x="5" y="21"/>
                    <a:pt x="7" y="22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3"/>
                    <a:pt x="8" y="22"/>
                    <a:pt x="8" y="22"/>
                  </a:cubicBezTo>
                  <a:cubicBezTo>
                    <a:pt x="7" y="22"/>
                    <a:pt x="7" y="20"/>
                    <a:pt x="8" y="19"/>
                  </a:cubicBezTo>
                  <a:cubicBezTo>
                    <a:pt x="8" y="18"/>
                    <a:pt x="6" y="12"/>
                    <a:pt x="6" y="12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7" y="25"/>
                    <a:pt x="7" y="26"/>
                    <a:pt x="8" y="27"/>
                  </a:cubicBezTo>
                  <a:cubicBezTo>
                    <a:pt x="8" y="28"/>
                    <a:pt x="7" y="30"/>
                    <a:pt x="7" y="30"/>
                  </a:cubicBezTo>
                  <a:cubicBezTo>
                    <a:pt x="11" y="28"/>
                    <a:pt x="14" y="27"/>
                    <a:pt x="14" y="26"/>
                  </a:cubicBezTo>
                  <a:cubicBezTo>
                    <a:pt x="14" y="25"/>
                    <a:pt x="12" y="23"/>
                    <a:pt x="12" y="23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2" y="20"/>
                    <a:pt x="21" y="20"/>
                  </a:cubicBezTo>
                  <a:cubicBezTo>
                    <a:pt x="21" y="21"/>
                    <a:pt x="21" y="24"/>
                    <a:pt x="21" y="25"/>
                  </a:cubicBezTo>
                  <a:cubicBezTo>
                    <a:pt x="21" y="25"/>
                    <a:pt x="23" y="27"/>
                    <a:pt x="24" y="27"/>
                  </a:cubicBezTo>
                  <a:cubicBezTo>
                    <a:pt x="25" y="27"/>
                    <a:pt x="24" y="29"/>
                    <a:pt x="24" y="29"/>
                  </a:cubicBezTo>
                  <a:cubicBezTo>
                    <a:pt x="25" y="28"/>
                    <a:pt x="25" y="27"/>
                    <a:pt x="25" y="27"/>
                  </a:cubicBezTo>
                  <a:cubicBezTo>
                    <a:pt x="25" y="27"/>
                    <a:pt x="25" y="27"/>
                    <a:pt x="25" y="28"/>
                  </a:cubicBezTo>
                  <a:cubicBezTo>
                    <a:pt x="26" y="28"/>
                    <a:pt x="26" y="29"/>
                    <a:pt x="25" y="30"/>
                  </a:cubicBezTo>
                  <a:cubicBezTo>
                    <a:pt x="25" y="32"/>
                    <a:pt x="25" y="33"/>
                    <a:pt x="25" y="33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5" y="33"/>
                    <a:pt x="26" y="32"/>
                    <a:pt x="26" y="32"/>
                  </a:cubicBezTo>
                  <a:cubicBezTo>
                    <a:pt x="26" y="34"/>
                    <a:pt x="27" y="36"/>
                    <a:pt x="26" y="38"/>
                  </a:cubicBezTo>
                  <a:cubicBezTo>
                    <a:pt x="26" y="41"/>
                    <a:pt x="24" y="39"/>
                    <a:pt x="24" y="39"/>
                  </a:cubicBezTo>
                  <a:cubicBezTo>
                    <a:pt x="25" y="41"/>
                    <a:pt x="26" y="40"/>
                    <a:pt x="27" y="39"/>
                  </a:cubicBezTo>
                  <a:cubicBezTo>
                    <a:pt x="28" y="38"/>
                    <a:pt x="28" y="36"/>
                    <a:pt x="28" y="33"/>
                  </a:cubicBezTo>
                  <a:cubicBezTo>
                    <a:pt x="28" y="30"/>
                    <a:pt x="30" y="29"/>
                    <a:pt x="31" y="28"/>
                  </a:cubicBezTo>
                  <a:cubicBezTo>
                    <a:pt x="31" y="27"/>
                    <a:pt x="32" y="28"/>
                    <a:pt x="32" y="28"/>
                  </a:cubicBezTo>
                  <a:cubicBezTo>
                    <a:pt x="32" y="27"/>
                    <a:pt x="29" y="22"/>
                    <a:pt x="27" y="21"/>
                  </a:cubicBez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06" name="Rectangle 24"/>
            <p:cNvSpPr>
              <a:spLocks noChangeArrowheads="1"/>
            </p:cNvSpPr>
            <p:nvPr/>
          </p:nvSpPr>
          <p:spPr bwMode="auto">
            <a:xfrm>
              <a:off x="1517650" y="1041400"/>
              <a:ext cx="1588" cy="1588"/>
            </a:xfrm>
            <a:prstGeom prst="rect">
              <a:avLst/>
            </a:pr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07" name="Freeform 25"/>
            <p:cNvSpPr/>
            <p:nvPr/>
          </p:nvSpPr>
          <p:spPr bwMode="auto">
            <a:xfrm>
              <a:off x="1168400" y="577850"/>
              <a:ext cx="314325" cy="342900"/>
            </a:xfrm>
            <a:custGeom>
              <a:avLst/>
              <a:gdLst>
                <a:gd name="T0" fmla="*/ 8 w 18"/>
                <a:gd name="T1" fmla="*/ 20 h 20"/>
                <a:gd name="T2" fmla="*/ 15 w 18"/>
                <a:gd name="T3" fmla="*/ 14 h 20"/>
                <a:gd name="T4" fmla="*/ 15 w 18"/>
                <a:gd name="T5" fmla="*/ 10 h 20"/>
                <a:gd name="T6" fmla="*/ 17 w 18"/>
                <a:gd name="T7" fmla="*/ 9 h 20"/>
                <a:gd name="T8" fmla="*/ 17 w 18"/>
                <a:gd name="T9" fmla="*/ 3 h 20"/>
                <a:gd name="T10" fmla="*/ 15 w 18"/>
                <a:gd name="T11" fmla="*/ 4 h 20"/>
                <a:gd name="T12" fmla="*/ 14 w 18"/>
                <a:gd name="T13" fmla="*/ 7 h 20"/>
                <a:gd name="T14" fmla="*/ 13 w 18"/>
                <a:gd name="T15" fmla="*/ 7 h 20"/>
                <a:gd name="T16" fmla="*/ 11 w 18"/>
                <a:gd name="T17" fmla="*/ 4 h 20"/>
                <a:gd name="T18" fmla="*/ 7 w 18"/>
                <a:gd name="T19" fmla="*/ 1 h 20"/>
                <a:gd name="T20" fmla="*/ 3 w 18"/>
                <a:gd name="T21" fmla="*/ 2 h 20"/>
                <a:gd name="T22" fmla="*/ 0 w 18"/>
                <a:gd name="T23" fmla="*/ 2 h 20"/>
                <a:gd name="T24" fmla="*/ 0 w 18"/>
                <a:gd name="T25" fmla="*/ 9 h 20"/>
                <a:gd name="T26" fmla="*/ 2 w 18"/>
                <a:gd name="T27" fmla="*/ 11 h 20"/>
                <a:gd name="T28" fmla="*/ 2 w 18"/>
                <a:gd name="T29" fmla="*/ 14 h 20"/>
                <a:gd name="T30" fmla="*/ 5 w 18"/>
                <a:gd name="T31" fmla="*/ 17 h 20"/>
                <a:gd name="T32" fmla="*/ 6 w 18"/>
                <a:gd name="T33" fmla="*/ 19 h 20"/>
                <a:gd name="T34" fmla="*/ 8 w 18"/>
                <a:gd name="T3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" h="20">
                  <a:moveTo>
                    <a:pt x="8" y="20"/>
                  </a:moveTo>
                  <a:cubicBezTo>
                    <a:pt x="9" y="19"/>
                    <a:pt x="14" y="16"/>
                    <a:pt x="15" y="14"/>
                  </a:cubicBezTo>
                  <a:cubicBezTo>
                    <a:pt x="15" y="11"/>
                    <a:pt x="15" y="10"/>
                    <a:pt x="15" y="10"/>
                  </a:cubicBezTo>
                  <a:cubicBezTo>
                    <a:pt x="15" y="10"/>
                    <a:pt x="16" y="10"/>
                    <a:pt x="17" y="9"/>
                  </a:cubicBezTo>
                  <a:cubicBezTo>
                    <a:pt x="17" y="8"/>
                    <a:pt x="18" y="4"/>
                    <a:pt x="17" y="3"/>
                  </a:cubicBezTo>
                  <a:cubicBezTo>
                    <a:pt x="16" y="2"/>
                    <a:pt x="15" y="3"/>
                    <a:pt x="15" y="4"/>
                  </a:cubicBezTo>
                  <a:cubicBezTo>
                    <a:pt x="15" y="4"/>
                    <a:pt x="14" y="6"/>
                    <a:pt x="14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6"/>
                    <a:pt x="11" y="4"/>
                  </a:cubicBezTo>
                  <a:cubicBezTo>
                    <a:pt x="11" y="4"/>
                    <a:pt x="9" y="2"/>
                    <a:pt x="7" y="1"/>
                  </a:cubicBezTo>
                  <a:cubicBezTo>
                    <a:pt x="6" y="0"/>
                    <a:pt x="3" y="2"/>
                    <a:pt x="3" y="2"/>
                  </a:cubicBezTo>
                  <a:cubicBezTo>
                    <a:pt x="3" y="2"/>
                    <a:pt x="0" y="2"/>
                    <a:pt x="0" y="2"/>
                  </a:cubicBezTo>
                  <a:cubicBezTo>
                    <a:pt x="0" y="3"/>
                    <a:pt x="0" y="8"/>
                    <a:pt x="0" y="9"/>
                  </a:cubicBezTo>
                  <a:cubicBezTo>
                    <a:pt x="0" y="9"/>
                    <a:pt x="1" y="10"/>
                    <a:pt x="2" y="11"/>
                  </a:cubicBezTo>
                  <a:cubicBezTo>
                    <a:pt x="2" y="11"/>
                    <a:pt x="2" y="13"/>
                    <a:pt x="2" y="14"/>
                  </a:cubicBezTo>
                  <a:cubicBezTo>
                    <a:pt x="3" y="14"/>
                    <a:pt x="5" y="16"/>
                    <a:pt x="5" y="17"/>
                  </a:cubicBezTo>
                  <a:cubicBezTo>
                    <a:pt x="5" y="18"/>
                    <a:pt x="6" y="18"/>
                    <a:pt x="6" y="19"/>
                  </a:cubicBezTo>
                  <a:cubicBezTo>
                    <a:pt x="7" y="19"/>
                    <a:pt x="7" y="20"/>
                    <a:pt x="8" y="20"/>
                  </a:cubicBezTo>
                  <a:close/>
                </a:path>
              </a:pathLst>
            </a:custGeom>
            <a:solidFill>
              <a:srgbClr val="F1B1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08" name="Freeform 26"/>
            <p:cNvSpPr/>
            <p:nvPr/>
          </p:nvSpPr>
          <p:spPr bwMode="auto">
            <a:xfrm>
              <a:off x="1639888" y="1074738"/>
              <a:ext cx="347663" cy="703263"/>
            </a:xfrm>
            <a:custGeom>
              <a:avLst/>
              <a:gdLst>
                <a:gd name="T0" fmla="*/ 4 w 20"/>
                <a:gd name="T1" fmla="*/ 40 h 41"/>
                <a:gd name="T2" fmla="*/ 7 w 20"/>
                <a:gd name="T3" fmla="*/ 38 h 41"/>
                <a:gd name="T4" fmla="*/ 20 w 20"/>
                <a:gd name="T5" fmla="*/ 18 h 41"/>
                <a:gd name="T6" fmla="*/ 11 w 20"/>
                <a:gd name="T7" fmla="*/ 5 h 41"/>
                <a:gd name="T8" fmla="*/ 8 w 20"/>
                <a:gd name="T9" fmla="*/ 0 h 41"/>
                <a:gd name="T10" fmla="*/ 2 w 20"/>
                <a:gd name="T11" fmla="*/ 8 h 41"/>
                <a:gd name="T12" fmla="*/ 6 w 20"/>
                <a:gd name="T13" fmla="*/ 11 h 41"/>
                <a:gd name="T14" fmla="*/ 7 w 20"/>
                <a:gd name="T15" fmla="*/ 6 h 41"/>
                <a:gd name="T16" fmla="*/ 11 w 20"/>
                <a:gd name="T17" fmla="*/ 9 h 41"/>
                <a:gd name="T18" fmla="*/ 19 w 20"/>
                <a:gd name="T19" fmla="*/ 18 h 41"/>
                <a:gd name="T20" fmla="*/ 7 w 20"/>
                <a:gd name="T21" fmla="*/ 36 h 41"/>
                <a:gd name="T22" fmla="*/ 5 w 20"/>
                <a:gd name="T23" fmla="*/ 38 h 41"/>
                <a:gd name="T24" fmla="*/ 3 w 20"/>
                <a:gd name="T25" fmla="*/ 35 h 41"/>
                <a:gd name="T26" fmla="*/ 0 w 20"/>
                <a:gd name="T27" fmla="*/ 35 h 41"/>
                <a:gd name="T28" fmla="*/ 0 w 20"/>
                <a:gd name="T29" fmla="*/ 35 h 41"/>
                <a:gd name="T30" fmla="*/ 2 w 20"/>
                <a:gd name="T31" fmla="*/ 39 h 41"/>
                <a:gd name="T32" fmla="*/ 2 w 20"/>
                <a:gd name="T33" fmla="*/ 40 h 41"/>
                <a:gd name="T34" fmla="*/ 4 w 20"/>
                <a:gd name="T35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" h="41">
                  <a:moveTo>
                    <a:pt x="4" y="40"/>
                  </a:moveTo>
                  <a:cubicBezTo>
                    <a:pt x="7" y="40"/>
                    <a:pt x="6" y="39"/>
                    <a:pt x="7" y="38"/>
                  </a:cubicBezTo>
                  <a:cubicBezTo>
                    <a:pt x="7" y="38"/>
                    <a:pt x="20" y="22"/>
                    <a:pt x="20" y="18"/>
                  </a:cubicBezTo>
                  <a:cubicBezTo>
                    <a:pt x="20" y="15"/>
                    <a:pt x="12" y="6"/>
                    <a:pt x="11" y="5"/>
                  </a:cubicBezTo>
                  <a:cubicBezTo>
                    <a:pt x="10" y="4"/>
                    <a:pt x="9" y="2"/>
                    <a:pt x="8" y="0"/>
                  </a:cubicBezTo>
                  <a:cubicBezTo>
                    <a:pt x="5" y="2"/>
                    <a:pt x="2" y="5"/>
                    <a:pt x="2" y="8"/>
                  </a:cubicBezTo>
                  <a:cubicBezTo>
                    <a:pt x="3" y="9"/>
                    <a:pt x="5" y="10"/>
                    <a:pt x="6" y="11"/>
                  </a:cubicBezTo>
                  <a:cubicBezTo>
                    <a:pt x="6" y="9"/>
                    <a:pt x="6" y="7"/>
                    <a:pt x="7" y="6"/>
                  </a:cubicBezTo>
                  <a:cubicBezTo>
                    <a:pt x="9" y="6"/>
                    <a:pt x="11" y="8"/>
                    <a:pt x="11" y="9"/>
                  </a:cubicBezTo>
                  <a:cubicBezTo>
                    <a:pt x="12" y="11"/>
                    <a:pt x="17" y="17"/>
                    <a:pt x="19" y="18"/>
                  </a:cubicBezTo>
                  <a:cubicBezTo>
                    <a:pt x="19" y="18"/>
                    <a:pt x="10" y="34"/>
                    <a:pt x="7" y="36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8"/>
                    <a:pt x="5" y="36"/>
                    <a:pt x="3" y="35"/>
                  </a:cubicBezTo>
                  <a:cubicBezTo>
                    <a:pt x="3" y="35"/>
                    <a:pt x="1" y="36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2" y="37"/>
                    <a:pt x="2" y="39"/>
                  </a:cubicBezTo>
                  <a:cubicBezTo>
                    <a:pt x="2" y="39"/>
                    <a:pt x="2" y="40"/>
                    <a:pt x="2" y="40"/>
                  </a:cubicBezTo>
                  <a:cubicBezTo>
                    <a:pt x="3" y="41"/>
                    <a:pt x="3" y="41"/>
                    <a:pt x="4" y="40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09" name="Freeform 27"/>
            <p:cNvSpPr/>
            <p:nvPr/>
          </p:nvSpPr>
          <p:spPr bwMode="auto">
            <a:xfrm>
              <a:off x="1290638" y="577850"/>
              <a:ext cx="52388" cy="50800"/>
            </a:xfrm>
            <a:custGeom>
              <a:avLst/>
              <a:gdLst>
                <a:gd name="T0" fmla="*/ 0 w 3"/>
                <a:gd name="T1" fmla="*/ 1 h 3"/>
                <a:gd name="T2" fmla="*/ 1 w 3"/>
                <a:gd name="T3" fmla="*/ 3 h 3"/>
                <a:gd name="T4" fmla="*/ 2 w 3"/>
                <a:gd name="T5" fmla="*/ 1 h 3"/>
                <a:gd name="T6" fmla="*/ 0 w 3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1"/>
                  </a:moveTo>
                  <a:cubicBezTo>
                    <a:pt x="0" y="1"/>
                    <a:pt x="2" y="2"/>
                    <a:pt x="1" y="3"/>
                  </a:cubicBezTo>
                  <a:cubicBezTo>
                    <a:pt x="1" y="3"/>
                    <a:pt x="3" y="2"/>
                    <a:pt x="2" y="1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1212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10" name="Freeform 28"/>
            <p:cNvSpPr/>
            <p:nvPr/>
          </p:nvSpPr>
          <p:spPr bwMode="auto">
            <a:xfrm>
              <a:off x="1343025" y="938213"/>
              <a:ext cx="469900" cy="479425"/>
            </a:xfrm>
            <a:custGeom>
              <a:avLst/>
              <a:gdLst>
                <a:gd name="T0" fmla="*/ 27 w 27"/>
                <a:gd name="T1" fmla="*/ 11 h 28"/>
                <a:gd name="T2" fmla="*/ 23 w 27"/>
                <a:gd name="T3" fmla="*/ 4 h 28"/>
                <a:gd name="T4" fmla="*/ 14 w 27"/>
                <a:gd name="T5" fmla="*/ 0 h 28"/>
                <a:gd name="T6" fmla="*/ 14 w 27"/>
                <a:gd name="T7" fmla="*/ 0 h 28"/>
                <a:gd name="T8" fmla="*/ 14 w 27"/>
                <a:gd name="T9" fmla="*/ 3 h 28"/>
                <a:gd name="T10" fmla="*/ 21 w 27"/>
                <a:gd name="T11" fmla="*/ 10 h 28"/>
                <a:gd name="T12" fmla="*/ 15 w 27"/>
                <a:gd name="T13" fmla="*/ 10 h 28"/>
                <a:gd name="T14" fmla="*/ 7 w 27"/>
                <a:gd name="T15" fmla="*/ 14 h 28"/>
                <a:gd name="T16" fmla="*/ 14 w 27"/>
                <a:gd name="T17" fmla="*/ 13 h 28"/>
                <a:gd name="T18" fmla="*/ 6 w 27"/>
                <a:gd name="T19" fmla="*/ 20 h 28"/>
                <a:gd name="T20" fmla="*/ 0 w 27"/>
                <a:gd name="T21" fmla="*/ 23 h 28"/>
                <a:gd name="T22" fmla="*/ 6 w 27"/>
                <a:gd name="T23" fmla="*/ 23 h 28"/>
                <a:gd name="T24" fmla="*/ 4 w 27"/>
                <a:gd name="T25" fmla="*/ 28 h 28"/>
                <a:gd name="T26" fmla="*/ 13 w 27"/>
                <a:gd name="T27" fmla="*/ 28 h 28"/>
                <a:gd name="T28" fmla="*/ 14 w 27"/>
                <a:gd name="T29" fmla="*/ 24 h 28"/>
                <a:gd name="T30" fmla="*/ 17 w 27"/>
                <a:gd name="T31" fmla="*/ 17 h 28"/>
                <a:gd name="T32" fmla="*/ 18 w 27"/>
                <a:gd name="T33" fmla="*/ 17 h 28"/>
                <a:gd name="T34" fmla="*/ 21 w 27"/>
                <a:gd name="T35" fmla="*/ 17 h 28"/>
                <a:gd name="T36" fmla="*/ 20 w 27"/>
                <a:gd name="T37" fmla="*/ 17 h 28"/>
                <a:gd name="T38" fmla="*/ 27 w 27"/>
                <a:gd name="T39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" h="28">
                  <a:moveTo>
                    <a:pt x="27" y="11"/>
                  </a:moveTo>
                  <a:cubicBezTo>
                    <a:pt x="26" y="8"/>
                    <a:pt x="24" y="6"/>
                    <a:pt x="23" y="4"/>
                  </a:cubicBezTo>
                  <a:cubicBezTo>
                    <a:pt x="21" y="2"/>
                    <a:pt x="15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2"/>
                    <a:pt x="14" y="3"/>
                    <a:pt x="14" y="3"/>
                  </a:cubicBezTo>
                  <a:cubicBezTo>
                    <a:pt x="19" y="5"/>
                    <a:pt x="21" y="10"/>
                    <a:pt x="21" y="10"/>
                  </a:cubicBezTo>
                  <a:cubicBezTo>
                    <a:pt x="21" y="10"/>
                    <a:pt x="16" y="8"/>
                    <a:pt x="15" y="10"/>
                  </a:cubicBezTo>
                  <a:cubicBezTo>
                    <a:pt x="14" y="12"/>
                    <a:pt x="7" y="14"/>
                    <a:pt x="7" y="14"/>
                  </a:cubicBezTo>
                  <a:cubicBezTo>
                    <a:pt x="9" y="14"/>
                    <a:pt x="13" y="13"/>
                    <a:pt x="14" y="13"/>
                  </a:cubicBezTo>
                  <a:cubicBezTo>
                    <a:pt x="12" y="13"/>
                    <a:pt x="7" y="18"/>
                    <a:pt x="6" y="20"/>
                  </a:cubicBezTo>
                  <a:cubicBezTo>
                    <a:pt x="5" y="22"/>
                    <a:pt x="0" y="23"/>
                    <a:pt x="0" y="23"/>
                  </a:cubicBezTo>
                  <a:cubicBezTo>
                    <a:pt x="1" y="24"/>
                    <a:pt x="6" y="23"/>
                    <a:pt x="6" y="23"/>
                  </a:cubicBezTo>
                  <a:cubicBezTo>
                    <a:pt x="6" y="24"/>
                    <a:pt x="5" y="27"/>
                    <a:pt x="4" y="28"/>
                  </a:cubicBezTo>
                  <a:cubicBezTo>
                    <a:pt x="9" y="28"/>
                    <a:pt x="13" y="28"/>
                    <a:pt x="13" y="28"/>
                  </a:cubicBezTo>
                  <a:cubicBezTo>
                    <a:pt x="14" y="28"/>
                    <a:pt x="14" y="25"/>
                    <a:pt x="14" y="24"/>
                  </a:cubicBezTo>
                  <a:cubicBezTo>
                    <a:pt x="14" y="23"/>
                    <a:pt x="16" y="18"/>
                    <a:pt x="17" y="17"/>
                  </a:cubicBezTo>
                  <a:cubicBezTo>
                    <a:pt x="17" y="17"/>
                    <a:pt x="17" y="16"/>
                    <a:pt x="18" y="17"/>
                  </a:cubicBezTo>
                  <a:cubicBezTo>
                    <a:pt x="19" y="17"/>
                    <a:pt x="21" y="17"/>
                    <a:pt x="21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6"/>
                    <a:pt x="27" y="11"/>
                    <a:pt x="27" y="11"/>
                  </a:cubicBezTo>
                  <a:close/>
                </a:path>
              </a:pathLst>
            </a:custGeom>
            <a:solidFill>
              <a:srgbClr val="DAE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11" name="Freeform 29"/>
            <p:cNvSpPr/>
            <p:nvPr/>
          </p:nvSpPr>
          <p:spPr bwMode="auto">
            <a:xfrm>
              <a:off x="1150938" y="1127125"/>
              <a:ext cx="0" cy="33338"/>
            </a:xfrm>
            <a:custGeom>
              <a:avLst/>
              <a:gdLst>
                <a:gd name="T0" fmla="*/ 2 h 2"/>
                <a:gd name="T1" fmla="*/ 0 h 2"/>
                <a:gd name="T2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cubicBezTo>
                    <a:pt x="0" y="2"/>
                    <a:pt x="0" y="1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DAE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12" name="Freeform 30"/>
            <p:cNvSpPr/>
            <p:nvPr/>
          </p:nvSpPr>
          <p:spPr bwMode="auto">
            <a:xfrm>
              <a:off x="1150938" y="971550"/>
              <a:ext cx="104775" cy="155575"/>
            </a:xfrm>
            <a:custGeom>
              <a:avLst/>
              <a:gdLst>
                <a:gd name="T0" fmla="*/ 3 w 6"/>
                <a:gd name="T1" fmla="*/ 5 h 9"/>
                <a:gd name="T2" fmla="*/ 5 w 6"/>
                <a:gd name="T3" fmla="*/ 8 h 9"/>
                <a:gd name="T4" fmla="*/ 5 w 6"/>
                <a:gd name="T5" fmla="*/ 4 h 9"/>
                <a:gd name="T6" fmla="*/ 5 w 6"/>
                <a:gd name="T7" fmla="*/ 0 h 9"/>
                <a:gd name="T8" fmla="*/ 2 w 6"/>
                <a:gd name="T9" fmla="*/ 1 h 9"/>
                <a:gd name="T10" fmla="*/ 1 w 6"/>
                <a:gd name="T11" fmla="*/ 2 h 9"/>
                <a:gd name="T12" fmla="*/ 0 w 6"/>
                <a:gd name="T13" fmla="*/ 9 h 9"/>
                <a:gd name="T14" fmla="*/ 3 w 6"/>
                <a:gd name="T15" fmla="*/ 3 h 9"/>
                <a:gd name="T16" fmla="*/ 3 w 6"/>
                <a:gd name="T1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9">
                  <a:moveTo>
                    <a:pt x="3" y="5"/>
                  </a:moveTo>
                  <a:cubicBezTo>
                    <a:pt x="4" y="6"/>
                    <a:pt x="5" y="8"/>
                    <a:pt x="5" y="8"/>
                  </a:cubicBezTo>
                  <a:cubicBezTo>
                    <a:pt x="6" y="6"/>
                    <a:pt x="5" y="4"/>
                    <a:pt x="5" y="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1" y="6"/>
                    <a:pt x="3" y="3"/>
                    <a:pt x="3" y="3"/>
                  </a:cubicBezTo>
                  <a:lnTo>
                    <a:pt x="3" y="5"/>
                  </a:lnTo>
                  <a:close/>
                </a:path>
              </a:pathLst>
            </a:custGeom>
            <a:solidFill>
              <a:srgbClr val="DAE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13" name="Freeform 31"/>
            <p:cNvSpPr/>
            <p:nvPr/>
          </p:nvSpPr>
          <p:spPr bwMode="auto">
            <a:xfrm>
              <a:off x="1325563" y="955675"/>
              <a:ext cx="122238" cy="187325"/>
            </a:xfrm>
            <a:custGeom>
              <a:avLst/>
              <a:gdLst>
                <a:gd name="T0" fmla="*/ 0 w 7"/>
                <a:gd name="T1" fmla="*/ 11 h 11"/>
                <a:gd name="T2" fmla="*/ 5 w 7"/>
                <a:gd name="T3" fmla="*/ 5 h 11"/>
                <a:gd name="T4" fmla="*/ 7 w 7"/>
                <a:gd name="T5" fmla="*/ 0 h 11"/>
                <a:gd name="T6" fmla="*/ 6 w 7"/>
                <a:gd name="T7" fmla="*/ 6 h 11"/>
                <a:gd name="T8" fmla="*/ 0 w 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1">
                  <a:moveTo>
                    <a:pt x="0" y="11"/>
                  </a:move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6" y="2"/>
                    <a:pt x="7" y="0"/>
                  </a:cubicBezTo>
                  <a:cubicBezTo>
                    <a:pt x="6" y="6"/>
                    <a:pt x="6" y="6"/>
                    <a:pt x="6" y="6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DAE2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14" name="Freeform 32"/>
            <p:cNvSpPr/>
            <p:nvPr/>
          </p:nvSpPr>
          <p:spPr bwMode="auto">
            <a:xfrm>
              <a:off x="1168400" y="595313"/>
              <a:ext cx="314325" cy="325438"/>
            </a:xfrm>
            <a:custGeom>
              <a:avLst/>
              <a:gdLst>
                <a:gd name="T0" fmla="*/ 17 w 18"/>
                <a:gd name="T1" fmla="*/ 2 h 19"/>
                <a:gd name="T2" fmla="*/ 15 w 18"/>
                <a:gd name="T3" fmla="*/ 3 h 19"/>
                <a:gd name="T4" fmla="*/ 14 w 18"/>
                <a:gd name="T5" fmla="*/ 6 h 19"/>
                <a:gd name="T6" fmla="*/ 13 w 18"/>
                <a:gd name="T7" fmla="*/ 6 h 19"/>
                <a:gd name="T8" fmla="*/ 11 w 18"/>
                <a:gd name="T9" fmla="*/ 3 h 19"/>
                <a:gd name="T10" fmla="*/ 7 w 18"/>
                <a:gd name="T11" fmla="*/ 0 h 19"/>
                <a:gd name="T12" fmla="*/ 5 w 18"/>
                <a:gd name="T13" fmla="*/ 0 h 19"/>
                <a:gd name="T14" fmla="*/ 5 w 18"/>
                <a:gd name="T15" fmla="*/ 0 h 19"/>
                <a:gd name="T16" fmla="*/ 3 w 18"/>
                <a:gd name="T17" fmla="*/ 1 h 19"/>
                <a:gd name="T18" fmla="*/ 0 w 18"/>
                <a:gd name="T19" fmla="*/ 1 h 19"/>
                <a:gd name="T20" fmla="*/ 0 w 18"/>
                <a:gd name="T21" fmla="*/ 2 h 19"/>
                <a:gd name="T22" fmla="*/ 6 w 18"/>
                <a:gd name="T23" fmla="*/ 2 h 19"/>
                <a:gd name="T24" fmla="*/ 8 w 18"/>
                <a:gd name="T25" fmla="*/ 5 h 19"/>
                <a:gd name="T26" fmla="*/ 9 w 18"/>
                <a:gd name="T27" fmla="*/ 8 h 19"/>
                <a:gd name="T28" fmla="*/ 11 w 18"/>
                <a:gd name="T29" fmla="*/ 12 h 19"/>
                <a:gd name="T30" fmla="*/ 9 w 18"/>
                <a:gd name="T31" fmla="*/ 17 h 19"/>
                <a:gd name="T32" fmla="*/ 7 w 18"/>
                <a:gd name="T33" fmla="*/ 19 h 19"/>
                <a:gd name="T34" fmla="*/ 8 w 18"/>
                <a:gd name="T35" fmla="*/ 19 h 19"/>
                <a:gd name="T36" fmla="*/ 15 w 18"/>
                <a:gd name="T37" fmla="*/ 13 h 19"/>
                <a:gd name="T38" fmla="*/ 15 w 18"/>
                <a:gd name="T39" fmla="*/ 9 h 19"/>
                <a:gd name="T40" fmla="*/ 17 w 18"/>
                <a:gd name="T41" fmla="*/ 8 h 19"/>
                <a:gd name="T42" fmla="*/ 17 w 18"/>
                <a:gd name="T43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" h="19">
                  <a:moveTo>
                    <a:pt x="17" y="2"/>
                  </a:moveTo>
                  <a:cubicBezTo>
                    <a:pt x="16" y="1"/>
                    <a:pt x="15" y="2"/>
                    <a:pt x="15" y="3"/>
                  </a:cubicBezTo>
                  <a:cubicBezTo>
                    <a:pt x="15" y="3"/>
                    <a:pt x="14" y="5"/>
                    <a:pt x="14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5"/>
                    <a:pt x="11" y="3"/>
                  </a:cubicBezTo>
                  <a:cubicBezTo>
                    <a:pt x="11" y="3"/>
                    <a:pt x="9" y="1"/>
                    <a:pt x="7" y="0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3" y="1"/>
                    <a:pt x="3" y="1"/>
                  </a:cubicBezTo>
                  <a:cubicBezTo>
                    <a:pt x="3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1"/>
                    <a:pt x="4" y="1"/>
                    <a:pt x="6" y="2"/>
                  </a:cubicBezTo>
                  <a:cubicBezTo>
                    <a:pt x="6" y="4"/>
                    <a:pt x="8" y="4"/>
                    <a:pt x="8" y="5"/>
                  </a:cubicBezTo>
                  <a:cubicBezTo>
                    <a:pt x="8" y="5"/>
                    <a:pt x="10" y="6"/>
                    <a:pt x="9" y="8"/>
                  </a:cubicBezTo>
                  <a:cubicBezTo>
                    <a:pt x="9" y="10"/>
                    <a:pt x="10" y="12"/>
                    <a:pt x="11" y="12"/>
                  </a:cubicBezTo>
                  <a:cubicBezTo>
                    <a:pt x="12" y="12"/>
                    <a:pt x="12" y="15"/>
                    <a:pt x="9" y="17"/>
                  </a:cubicBezTo>
                  <a:cubicBezTo>
                    <a:pt x="8" y="18"/>
                    <a:pt x="8" y="19"/>
                    <a:pt x="7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14" y="15"/>
                    <a:pt x="15" y="13"/>
                  </a:cubicBezTo>
                  <a:cubicBezTo>
                    <a:pt x="15" y="10"/>
                    <a:pt x="15" y="9"/>
                    <a:pt x="15" y="9"/>
                  </a:cubicBezTo>
                  <a:cubicBezTo>
                    <a:pt x="15" y="9"/>
                    <a:pt x="16" y="9"/>
                    <a:pt x="17" y="8"/>
                  </a:cubicBezTo>
                  <a:cubicBezTo>
                    <a:pt x="17" y="7"/>
                    <a:pt x="18" y="3"/>
                    <a:pt x="17" y="2"/>
                  </a:cubicBezTo>
                  <a:close/>
                </a:path>
              </a:pathLst>
            </a:custGeom>
            <a:solidFill>
              <a:srgbClr val="E99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215" name="组合 214"/>
          <p:cNvGrpSpPr/>
          <p:nvPr/>
        </p:nvGrpSpPr>
        <p:grpSpPr>
          <a:xfrm>
            <a:off x="808637" y="5567138"/>
            <a:ext cx="618126" cy="1005453"/>
            <a:chOff x="971600" y="2996952"/>
            <a:chExt cx="1728242" cy="2811186"/>
          </a:xfrm>
          <a:solidFill>
            <a:schemeClr val="bg1"/>
          </a:solidFill>
        </p:grpSpPr>
        <p:grpSp>
          <p:nvGrpSpPr>
            <p:cNvPr id="216" name="组合 215"/>
            <p:cNvGrpSpPr/>
            <p:nvPr/>
          </p:nvGrpSpPr>
          <p:grpSpPr>
            <a:xfrm>
              <a:off x="971600" y="2996952"/>
              <a:ext cx="1728242" cy="2119645"/>
              <a:chOff x="971550" y="633413"/>
              <a:chExt cx="3525838" cy="4324350"/>
            </a:xfrm>
            <a:grpFill/>
          </p:grpSpPr>
          <p:sp>
            <p:nvSpPr>
              <p:cNvPr id="221" name="Freeform 5"/>
              <p:cNvSpPr/>
              <p:nvPr/>
            </p:nvSpPr>
            <p:spPr bwMode="auto">
              <a:xfrm>
                <a:off x="2482850" y="2489201"/>
                <a:ext cx="3175" cy="11113"/>
              </a:xfrm>
              <a:custGeom>
                <a:avLst/>
                <a:gdLst>
                  <a:gd name="T0" fmla="*/ 0 w 1"/>
                  <a:gd name="T1" fmla="*/ 0 h 3"/>
                  <a:gd name="T2" fmla="*/ 0 w 1"/>
                  <a:gd name="T3" fmla="*/ 0 h 3"/>
                  <a:gd name="T4" fmla="*/ 1 w 1"/>
                  <a:gd name="T5" fmla="*/ 3 h 3"/>
                  <a:gd name="T6" fmla="*/ 0 w 1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2"/>
                      <a:pt x="1" y="3"/>
                    </a:cubicBezTo>
                    <a:cubicBezTo>
                      <a:pt x="0" y="2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22" name="Freeform 13"/>
              <p:cNvSpPr>
                <a:spLocks noEditPoints="1"/>
              </p:cNvSpPr>
              <p:nvPr/>
            </p:nvSpPr>
            <p:spPr bwMode="auto">
              <a:xfrm>
                <a:off x="2598738" y="2008188"/>
                <a:ext cx="120650" cy="161925"/>
              </a:xfrm>
              <a:custGeom>
                <a:avLst/>
                <a:gdLst>
                  <a:gd name="T0" fmla="*/ 25 w 32"/>
                  <a:gd name="T1" fmla="*/ 15 h 43"/>
                  <a:gd name="T2" fmla="*/ 16 w 32"/>
                  <a:gd name="T3" fmla="*/ 8 h 43"/>
                  <a:gd name="T4" fmla="*/ 6 w 32"/>
                  <a:gd name="T5" fmla="*/ 12 h 43"/>
                  <a:gd name="T6" fmla="*/ 1 w 32"/>
                  <a:gd name="T7" fmla="*/ 23 h 43"/>
                  <a:gd name="T8" fmla="*/ 2 w 32"/>
                  <a:gd name="T9" fmla="*/ 35 h 43"/>
                  <a:gd name="T10" fmla="*/ 10 w 32"/>
                  <a:gd name="T11" fmla="*/ 41 h 43"/>
                  <a:gd name="T12" fmla="*/ 21 w 32"/>
                  <a:gd name="T13" fmla="*/ 37 h 43"/>
                  <a:gd name="T14" fmla="*/ 20 w 32"/>
                  <a:gd name="T15" fmla="*/ 42 h 43"/>
                  <a:gd name="T16" fmla="*/ 25 w 32"/>
                  <a:gd name="T17" fmla="*/ 43 h 43"/>
                  <a:gd name="T18" fmla="*/ 32 w 32"/>
                  <a:gd name="T19" fmla="*/ 1 h 43"/>
                  <a:gd name="T20" fmla="*/ 27 w 32"/>
                  <a:gd name="T21" fmla="*/ 0 h 43"/>
                  <a:gd name="T22" fmla="*/ 25 w 32"/>
                  <a:gd name="T23" fmla="*/ 15 h 43"/>
                  <a:gd name="T24" fmla="*/ 22 w 32"/>
                  <a:gd name="T25" fmla="*/ 29 h 43"/>
                  <a:gd name="T26" fmla="*/ 18 w 32"/>
                  <a:gd name="T27" fmla="*/ 36 h 43"/>
                  <a:gd name="T28" fmla="*/ 12 w 32"/>
                  <a:gd name="T29" fmla="*/ 37 h 43"/>
                  <a:gd name="T30" fmla="*/ 7 w 32"/>
                  <a:gd name="T31" fmla="*/ 33 h 43"/>
                  <a:gd name="T32" fmla="*/ 6 w 32"/>
                  <a:gd name="T33" fmla="*/ 23 h 43"/>
                  <a:gd name="T34" fmla="*/ 10 w 32"/>
                  <a:gd name="T35" fmla="*/ 15 h 43"/>
                  <a:gd name="T36" fmla="*/ 17 w 32"/>
                  <a:gd name="T37" fmla="*/ 12 h 43"/>
                  <a:gd name="T38" fmla="*/ 22 w 32"/>
                  <a:gd name="T39" fmla="*/ 16 h 43"/>
                  <a:gd name="T40" fmla="*/ 23 w 32"/>
                  <a:gd name="T41" fmla="*/ 23 h 43"/>
                  <a:gd name="T42" fmla="*/ 22 w 32"/>
                  <a:gd name="T43" fmla="*/ 2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2" h="43">
                    <a:moveTo>
                      <a:pt x="25" y="15"/>
                    </a:moveTo>
                    <a:cubicBezTo>
                      <a:pt x="23" y="11"/>
                      <a:pt x="20" y="9"/>
                      <a:pt x="16" y="8"/>
                    </a:cubicBezTo>
                    <a:cubicBezTo>
                      <a:pt x="13" y="8"/>
                      <a:pt x="9" y="9"/>
                      <a:pt x="6" y="12"/>
                    </a:cubicBezTo>
                    <a:cubicBezTo>
                      <a:pt x="3" y="14"/>
                      <a:pt x="2" y="18"/>
                      <a:pt x="1" y="23"/>
                    </a:cubicBezTo>
                    <a:cubicBezTo>
                      <a:pt x="0" y="27"/>
                      <a:pt x="0" y="32"/>
                      <a:pt x="2" y="35"/>
                    </a:cubicBezTo>
                    <a:cubicBezTo>
                      <a:pt x="4" y="38"/>
                      <a:pt x="7" y="41"/>
                      <a:pt x="10" y="41"/>
                    </a:cubicBezTo>
                    <a:cubicBezTo>
                      <a:pt x="15" y="42"/>
                      <a:pt x="18" y="41"/>
                      <a:pt x="21" y="37"/>
                    </a:cubicBezTo>
                    <a:cubicBezTo>
                      <a:pt x="20" y="42"/>
                      <a:pt x="20" y="42"/>
                      <a:pt x="20" y="42"/>
                    </a:cubicBezTo>
                    <a:cubicBezTo>
                      <a:pt x="25" y="43"/>
                      <a:pt x="25" y="43"/>
                      <a:pt x="25" y="43"/>
                    </a:cubicBezTo>
                    <a:cubicBezTo>
                      <a:pt x="32" y="1"/>
                      <a:pt x="32" y="1"/>
                      <a:pt x="32" y="1"/>
                    </a:cubicBezTo>
                    <a:cubicBezTo>
                      <a:pt x="27" y="0"/>
                      <a:pt x="27" y="0"/>
                      <a:pt x="27" y="0"/>
                    </a:cubicBezTo>
                    <a:lnTo>
                      <a:pt x="25" y="15"/>
                    </a:lnTo>
                    <a:close/>
                    <a:moveTo>
                      <a:pt x="22" y="29"/>
                    </a:moveTo>
                    <a:cubicBezTo>
                      <a:pt x="22" y="32"/>
                      <a:pt x="20" y="34"/>
                      <a:pt x="18" y="36"/>
                    </a:cubicBezTo>
                    <a:cubicBezTo>
                      <a:pt x="16" y="37"/>
                      <a:pt x="14" y="38"/>
                      <a:pt x="12" y="37"/>
                    </a:cubicBezTo>
                    <a:cubicBezTo>
                      <a:pt x="9" y="37"/>
                      <a:pt x="8" y="35"/>
                      <a:pt x="7" y="33"/>
                    </a:cubicBezTo>
                    <a:cubicBezTo>
                      <a:pt x="5" y="31"/>
                      <a:pt x="5" y="27"/>
                      <a:pt x="6" y="23"/>
                    </a:cubicBezTo>
                    <a:cubicBezTo>
                      <a:pt x="7" y="19"/>
                      <a:pt x="8" y="16"/>
                      <a:pt x="10" y="15"/>
                    </a:cubicBezTo>
                    <a:cubicBezTo>
                      <a:pt x="12" y="13"/>
                      <a:pt x="14" y="12"/>
                      <a:pt x="17" y="12"/>
                    </a:cubicBezTo>
                    <a:cubicBezTo>
                      <a:pt x="19" y="13"/>
                      <a:pt x="21" y="14"/>
                      <a:pt x="22" y="16"/>
                    </a:cubicBezTo>
                    <a:cubicBezTo>
                      <a:pt x="23" y="18"/>
                      <a:pt x="24" y="20"/>
                      <a:pt x="23" y="23"/>
                    </a:cubicBezTo>
                    <a:lnTo>
                      <a:pt x="22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23" name="Freeform 14"/>
              <p:cNvSpPr>
                <a:spLocks noEditPoints="1"/>
              </p:cNvSpPr>
              <p:nvPr/>
            </p:nvSpPr>
            <p:spPr bwMode="auto">
              <a:xfrm>
                <a:off x="2725738" y="2060576"/>
                <a:ext cx="114300" cy="127000"/>
              </a:xfrm>
              <a:custGeom>
                <a:avLst/>
                <a:gdLst>
                  <a:gd name="T0" fmla="*/ 27 w 30"/>
                  <a:gd name="T1" fmla="*/ 7 h 34"/>
                  <a:gd name="T2" fmla="*/ 18 w 30"/>
                  <a:gd name="T3" fmla="*/ 1 h 34"/>
                  <a:gd name="T4" fmla="*/ 7 w 30"/>
                  <a:gd name="T5" fmla="*/ 4 h 34"/>
                  <a:gd name="T6" fmla="*/ 1 w 30"/>
                  <a:gd name="T7" fmla="*/ 15 h 34"/>
                  <a:gd name="T8" fmla="*/ 2 w 30"/>
                  <a:gd name="T9" fmla="*/ 27 h 34"/>
                  <a:gd name="T10" fmla="*/ 12 w 30"/>
                  <a:gd name="T11" fmla="*/ 34 h 34"/>
                  <a:gd name="T12" fmla="*/ 21 w 30"/>
                  <a:gd name="T13" fmla="*/ 33 h 34"/>
                  <a:gd name="T14" fmla="*/ 27 w 30"/>
                  <a:gd name="T15" fmla="*/ 27 h 34"/>
                  <a:gd name="T16" fmla="*/ 22 w 30"/>
                  <a:gd name="T17" fmla="*/ 25 h 34"/>
                  <a:gd name="T18" fmla="*/ 13 w 30"/>
                  <a:gd name="T19" fmla="*/ 30 h 34"/>
                  <a:gd name="T20" fmla="*/ 7 w 30"/>
                  <a:gd name="T21" fmla="*/ 26 h 34"/>
                  <a:gd name="T22" fmla="*/ 6 w 30"/>
                  <a:gd name="T23" fmla="*/ 16 h 34"/>
                  <a:gd name="T24" fmla="*/ 29 w 30"/>
                  <a:gd name="T25" fmla="*/ 20 h 34"/>
                  <a:gd name="T26" fmla="*/ 27 w 30"/>
                  <a:gd name="T27" fmla="*/ 7 h 34"/>
                  <a:gd name="T28" fmla="*/ 7 w 30"/>
                  <a:gd name="T29" fmla="*/ 12 h 34"/>
                  <a:gd name="T30" fmla="*/ 11 w 30"/>
                  <a:gd name="T31" fmla="*/ 6 h 34"/>
                  <a:gd name="T32" fmla="*/ 17 w 30"/>
                  <a:gd name="T33" fmla="*/ 5 h 34"/>
                  <a:gd name="T34" fmla="*/ 22 w 30"/>
                  <a:gd name="T35" fmla="*/ 7 h 34"/>
                  <a:gd name="T36" fmla="*/ 24 w 30"/>
                  <a:gd name="T37" fmla="*/ 11 h 34"/>
                  <a:gd name="T38" fmla="*/ 24 w 30"/>
                  <a:gd name="T39" fmla="*/ 16 h 34"/>
                  <a:gd name="T40" fmla="*/ 7 w 30"/>
                  <a:gd name="T41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0" h="34">
                    <a:moveTo>
                      <a:pt x="27" y="7"/>
                    </a:moveTo>
                    <a:cubicBezTo>
                      <a:pt x="25" y="4"/>
                      <a:pt x="22" y="2"/>
                      <a:pt x="18" y="1"/>
                    </a:cubicBezTo>
                    <a:cubicBezTo>
                      <a:pt x="14" y="0"/>
                      <a:pt x="10" y="1"/>
                      <a:pt x="7" y="4"/>
                    </a:cubicBezTo>
                    <a:cubicBezTo>
                      <a:pt x="4" y="6"/>
                      <a:pt x="2" y="10"/>
                      <a:pt x="1" y="15"/>
                    </a:cubicBezTo>
                    <a:cubicBezTo>
                      <a:pt x="0" y="20"/>
                      <a:pt x="0" y="24"/>
                      <a:pt x="2" y="27"/>
                    </a:cubicBezTo>
                    <a:cubicBezTo>
                      <a:pt x="5" y="31"/>
                      <a:pt x="8" y="33"/>
                      <a:pt x="12" y="34"/>
                    </a:cubicBezTo>
                    <a:cubicBezTo>
                      <a:pt x="15" y="34"/>
                      <a:pt x="18" y="34"/>
                      <a:pt x="21" y="33"/>
                    </a:cubicBezTo>
                    <a:cubicBezTo>
                      <a:pt x="24" y="31"/>
                      <a:pt x="26" y="29"/>
                      <a:pt x="27" y="27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20" y="29"/>
                      <a:pt x="17" y="30"/>
                      <a:pt x="13" y="30"/>
                    </a:cubicBezTo>
                    <a:cubicBezTo>
                      <a:pt x="11" y="29"/>
                      <a:pt x="9" y="28"/>
                      <a:pt x="7" y="26"/>
                    </a:cubicBezTo>
                    <a:cubicBezTo>
                      <a:pt x="6" y="24"/>
                      <a:pt x="5" y="21"/>
                      <a:pt x="6" y="16"/>
                    </a:cubicBezTo>
                    <a:cubicBezTo>
                      <a:pt x="29" y="20"/>
                      <a:pt x="29" y="20"/>
                      <a:pt x="29" y="20"/>
                    </a:cubicBezTo>
                    <a:cubicBezTo>
                      <a:pt x="30" y="15"/>
                      <a:pt x="29" y="10"/>
                      <a:pt x="27" y="7"/>
                    </a:cubicBezTo>
                    <a:close/>
                    <a:moveTo>
                      <a:pt x="7" y="12"/>
                    </a:moveTo>
                    <a:cubicBezTo>
                      <a:pt x="8" y="10"/>
                      <a:pt x="9" y="7"/>
                      <a:pt x="11" y="6"/>
                    </a:cubicBezTo>
                    <a:cubicBezTo>
                      <a:pt x="13" y="5"/>
                      <a:pt x="15" y="4"/>
                      <a:pt x="17" y="5"/>
                    </a:cubicBezTo>
                    <a:cubicBezTo>
                      <a:pt x="19" y="5"/>
                      <a:pt x="21" y="6"/>
                      <a:pt x="22" y="7"/>
                    </a:cubicBezTo>
                    <a:cubicBezTo>
                      <a:pt x="23" y="8"/>
                      <a:pt x="24" y="9"/>
                      <a:pt x="24" y="11"/>
                    </a:cubicBezTo>
                    <a:cubicBezTo>
                      <a:pt x="24" y="12"/>
                      <a:pt x="24" y="14"/>
                      <a:pt x="24" y="16"/>
                    </a:cubicBezTo>
                    <a:lnTo>
                      <a:pt x="7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24" name="Freeform 15"/>
              <p:cNvSpPr/>
              <p:nvPr/>
            </p:nvSpPr>
            <p:spPr bwMode="auto">
              <a:xfrm>
                <a:off x="2851150" y="2082801"/>
                <a:ext cx="101600" cy="128588"/>
              </a:xfrm>
              <a:custGeom>
                <a:avLst/>
                <a:gdLst>
                  <a:gd name="T0" fmla="*/ 16 w 27"/>
                  <a:gd name="T1" fmla="*/ 5 h 34"/>
                  <a:gd name="T2" fmla="*/ 22 w 27"/>
                  <a:gd name="T3" fmla="*/ 14 h 34"/>
                  <a:gd name="T4" fmla="*/ 27 w 27"/>
                  <a:gd name="T5" fmla="*/ 14 h 34"/>
                  <a:gd name="T6" fmla="*/ 24 w 27"/>
                  <a:gd name="T7" fmla="*/ 5 h 34"/>
                  <a:gd name="T8" fmla="*/ 17 w 27"/>
                  <a:gd name="T9" fmla="*/ 1 h 34"/>
                  <a:gd name="T10" fmla="*/ 6 w 27"/>
                  <a:gd name="T11" fmla="*/ 4 h 34"/>
                  <a:gd name="T12" fmla="*/ 0 w 27"/>
                  <a:gd name="T13" fmla="*/ 15 h 34"/>
                  <a:gd name="T14" fmla="*/ 2 w 27"/>
                  <a:gd name="T15" fmla="*/ 27 h 34"/>
                  <a:gd name="T16" fmla="*/ 11 w 27"/>
                  <a:gd name="T17" fmla="*/ 33 h 34"/>
                  <a:gd name="T18" fmla="*/ 19 w 27"/>
                  <a:gd name="T19" fmla="*/ 32 h 34"/>
                  <a:gd name="T20" fmla="*/ 25 w 27"/>
                  <a:gd name="T21" fmla="*/ 25 h 34"/>
                  <a:gd name="T22" fmla="*/ 20 w 27"/>
                  <a:gd name="T23" fmla="*/ 23 h 34"/>
                  <a:gd name="T24" fmla="*/ 11 w 27"/>
                  <a:gd name="T25" fmla="*/ 29 h 34"/>
                  <a:gd name="T26" fmla="*/ 6 w 27"/>
                  <a:gd name="T27" fmla="*/ 25 h 34"/>
                  <a:gd name="T28" fmla="*/ 6 w 27"/>
                  <a:gd name="T29" fmla="*/ 15 h 34"/>
                  <a:gd name="T30" fmla="*/ 9 w 27"/>
                  <a:gd name="T31" fmla="*/ 7 h 34"/>
                  <a:gd name="T32" fmla="*/ 16 w 27"/>
                  <a:gd name="T33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" h="34">
                    <a:moveTo>
                      <a:pt x="16" y="5"/>
                    </a:moveTo>
                    <a:cubicBezTo>
                      <a:pt x="20" y="5"/>
                      <a:pt x="22" y="8"/>
                      <a:pt x="22" y="14"/>
                    </a:cubicBezTo>
                    <a:cubicBezTo>
                      <a:pt x="27" y="14"/>
                      <a:pt x="27" y="14"/>
                      <a:pt x="27" y="14"/>
                    </a:cubicBezTo>
                    <a:cubicBezTo>
                      <a:pt x="27" y="10"/>
                      <a:pt x="26" y="7"/>
                      <a:pt x="24" y="5"/>
                    </a:cubicBezTo>
                    <a:cubicBezTo>
                      <a:pt x="23" y="3"/>
                      <a:pt x="20" y="1"/>
                      <a:pt x="17" y="1"/>
                    </a:cubicBezTo>
                    <a:cubicBezTo>
                      <a:pt x="13" y="0"/>
                      <a:pt x="9" y="1"/>
                      <a:pt x="6" y="4"/>
                    </a:cubicBezTo>
                    <a:cubicBezTo>
                      <a:pt x="3" y="6"/>
                      <a:pt x="1" y="10"/>
                      <a:pt x="0" y="15"/>
                    </a:cubicBezTo>
                    <a:cubicBezTo>
                      <a:pt x="0" y="19"/>
                      <a:pt x="0" y="23"/>
                      <a:pt x="2" y="27"/>
                    </a:cubicBezTo>
                    <a:cubicBezTo>
                      <a:pt x="3" y="30"/>
                      <a:pt x="6" y="33"/>
                      <a:pt x="11" y="33"/>
                    </a:cubicBezTo>
                    <a:cubicBezTo>
                      <a:pt x="14" y="34"/>
                      <a:pt x="17" y="33"/>
                      <a:pt x="19" y="32"/>
                    </a:cubicBezTo>
                    <a:cubicBezTo>
                      <a:pt x="22" y="30"/>
                      <a:pt x="23" y="28"/>
                      <a:pt x="25" y="25"/>
                    </a:cubicBezTo>
                    <a:cubicBezTo>
                      <a:pt x="20" y="23"/>
                      <a:pt x="20" y="23"/>
                      <a:pt x="20" y="23"/>
                    </a:cubicBezTo>
                    <a:cubicBezTo>
                      <a:pt x="18" y="28"/>
                      <a:pt x="15" y="30"/>
                      <a:pt x="11" y="29"/>
                    </a:cubicBezTo>
                    <a:cubicBezTo>
                      <a:pt x="9" y="29"/>
                      <a:pt x="7" y="27"/>
                      <a:pt x="6" y="25"/>
                    </a:cubicBezTo>
                    <a:cubicBezTo>
                      <a:pt x="5" y="23"/>
                      <a:pt x="5" y="19"/>
                      <a:pt x="6" y="15"/>
                    </a:cubicBezTo>
                    <a:cubicBezTo>
                      <a:pt x="6" y="12"/>
                      <a:pt x="8" y="9"/>
                      <a:pt x="9" y="7"/>
                    </a:cubicBezTo>
                    <a:cubicBezTo>
                      <a:pt x="11" y="5"/>
                      <a:pt x="13" y="4"/>
                      <a:pt x="16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25" name="Freeform 16"/>
              <p:cNvSpPr/>
              <p:nvPr/>
            </p:nvSpPr>
            <p:spPr bwMode="auto">
              <a:xfrm>
                <a:off x="2959100" y="2101851"/>
                <a:ext cx="41275" cy="120650"/>
              </a:xfrm>
              <a:custGeom>
                <a:avLst/>
                <a:gdLst>
                  <a:gd name="T0" fmla="*/ 0 w 26"/>
                  <a:gd name="T1" fmla="*/ 73 h 76"/>
                  <a:gd name="T2" fmla="*/ 12 w 26"/>
                  <a:gd name="T3" fmla="*/ 76 h 76"/>
                  <a:gd name="T4" fmla="*/ 26 w 26"/>
                  <a:gd name="T5" fmla="*/ 2 h 76"/>
                  <a:gd name="T6" fmla="*/ 14 w 26"/>
                  <a:gd name="T7" fmla="*/ 0 h 76"/>
                  <a:gd name="T8" fmla="*/ 0 w 26"/>
                  <a:gd name="T9" fmla="*/ 73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76">
                    <a:moveTo>
                      <a:pt x="0" y="73"/>
                    </a:moveTo>
                    <a:lnTo>
                      <a:pt x="12" y="76"/>
                    </a:lnTo>
                    <a:lnTo>
                      <a:pt x="26" y="2"/>
                    </a:lnTo>
                    <a:lnTo>
                      <a:pt x="14" y="0"/>
                    </a:lnTo>
                    <a:lnTo>
                      <a:pt x="0" y="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26" name="Freeform 17"/>
              <p:cNvSpPr/>
              <p:nvPr/>
            </p:nvSpPr>
            <p:spPr bwMode="auto">
              <a:xfrm>
                <a:off x="2986088" y="2060576"/>
                <a:ext cx="22225" cy="22225"/>
              </a:xfrm>
              <a:custGeom>
                <a:avLst/>
                <a:gdLst>
                  <a:gd name="T0" fmla="*/ 0 w 14"/>
                  <a:gd name="T1" fmla="*/ 12 h 14"/>
                  <a:gd name="T2" fmla="*/ 12 w 14"/>
                  <a:gd name="T3" fmla="*/ 14 h 14"/>
                  <a:gd name="T4" fmla="*/ 14 w 14"/>
                  <a:gd name="T5" fmla="*/ 2 h 14"/>
                  <a:gd name="T6" fmla="*/ 2 w 14"/>
                  <a:gd name="T7" fmla="*/ 0 h 14"/>
                  <a:gd name="T8" fmla="*/ 0 w 14"/>
                  <a:gd name="T9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4">
                    <a:moveTo>
                      <a:pt x="0" y="12"/>
                    </a:moveTo>
                    <a:lnTo>
                      <a:pt x="12" y="14"/>
                    </a:lnTo>
                    <a:lnTo>
                      <a:pt x="14" y="2"/>
                    </a:lnTo>
                    <a:lnTo>
                      <a:pt x="2" y="0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27" name="Freeform 18"/>
              <p:cNvSpPr/>
              <p:nvPr/>
            </p:nvSpPr>
            <p:spPr bwMode="auto">
              <a:xfrm>
                <a:off x="3005138" y="2109788"/>
                <a:ext cx="104775" cy="131763"/>
              </a:xfrm>
              <a:custGeom>
                <a:avLst/>
                <a:gdLst>
                  <a:gd name="T0" fmla="*/ 19 w 28"/>
                  <a:gd name="T1" fmla="*/ 16 h 35"/>
                  <a:gd name="T2" fmla="*/ 13 w 28"/>
                  <a:gd name="T3" fmla="*/ 14 h 35"/>
                  <a:gd name="T4" fmla="*/ 9 w 28"/>
                  <a:gd name="T5" fmla="*/ 9 h 35"/>
                  <a:gd name="T6" fmla="*/ 12 w 28"/>
                  <a:gd name="T7" fmla="*/ 5 h 35"/>
                  <a:gd name="T8" fmla="*/ 17 w 28"/>
                  <a:gd name="T9" fmla="*/ 5 h 35"/>
                  <a:gd name="T10" fmla="*/ 24 w 28"/>
                  <a:gd name="T11" fmla="*/ 11 h 35"/>
                  <a:gd name="T12" fmla="*/ 28 w 28"/>
                  <a:gd name="T13" fmla="*/ 11 h 35"/>
                  <a:gd name="T14" fmla="*/ 17 w 28"/>
                  <a:gd name="T15" fmla="*/ 1 h 35"/>
                  <a:gd name="T16" fmla="*/ 8 w 28"/>
                  <a:gd name="T17" fmla="*/ 2 h 35"/>
                  <a:gd name="T18" fmla="*/ 4 w 28"/>
                  <a:gd name="T19" fmla="*/ 8 h 35"/>
                  <a:gd name="T20" fmla="*/ 5 w 28"/>
                  <a:gd name="T21" fmla="*/ 14 h 35"/>
                  <a:gd name="T22" fmla="*/ 11 w 28"/>
                  <a:gd name="T23" fmla="*/ 18 h 35"/>
                  <a:gd name="T24" fmla="*/ 17 w 28"/>
                  <a:gd name="T25" fmla="*/ 21 h 35"/>
                  <a:gd name="T26" fmla="*/ 22 w 28"/>
                  <a:gd name="T27" fmla="*/ 26 h 35"/>
                  <a:gd name="T28" fmla="*/ 19 w 28"/>
                  <a:gd name="T29" fmla="*/ 30 h 35"/>
                  <a:gd name="T30" fmla="*/ 14 w 28"/>
                  <a:gd name="T31" fmla="*/ 30 h 35"/>
                  <a:gd name="T32" fmla="*/ 5 w 28"/>
                  <a:gd name="T33" fmla="*/ 23 h 35"/>
                  <a:gd name="T34" fmla="*/ 0 w 28"/>
                  <a:gd name="T35" fmla="*/ 23 h 35"/>
                  <a:gd name="T36" fmla="*/ 12 w 28"/>
                  <a:gd name="T37" fmla="*/ 34 h 35"/>
                  <a:gd name="T38" fmla="*/ 22 w 28"/>
                  <a:gd name="T39" fmla="*/ 33 h 35"/>
                  <a:gd name="T40" fmla="*/ 27 w 28"/>
                  <a:gd name="T41" fmla="*/ 27 h 35"/>
                  <a:gd name="T42" fmla="*/ 19 w 28"/>
                  <a:gd name="T43" fmla="*/ 16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8" h="35">
                    <a:moveTo>
                      <a:pt x="19" y="16"/>
                    </a:moveTo>
                    <a:cubicBezTo>
                      <a:pt x="13" y="14"/>
                      <a:pt x="13" y="14"/>
                      <a:pt x="13" y="14"/>
                    </a:cubicBezTo>
                    <a:cubicBezTo>
                      <a:pt x="10" y="13"/>
                      <a:pt x="9" y="11"/>
                      <a:pt x="9" y="9"/>
                    </a:cubicBezTo>
                    <a:cubicBezTo>
                      <a:pt x="9" y="7"/>
                      <a:pt x="10" y="6"/>
                      <a:pt x="12" y="5"/>
                    </a:cubicBezTo>
                    <a:cubicBezTo>
                      <a:pt x="13" y="5"/>
                      <a:pt x="15" y="5"/>
                      <a:pt x="17" y="5"/>
                    </a:cubicBezTo>
                    <a:cubicBezTo>
                      <a:pt x="21" y="6"/>
                      <a:pt x="23" y="8"/>
                      <a:pt x="24" y="11"/>
                    </a:cubicBezTo>
                    <a:cubicBezTo>
                      <a:pt x="28" y="11"/>
                      <a:pt x="28" y="11"/>
                      <a:pt x="28" y="11"/>
                    </a:cubicBezTo>
                    <a:cubicBezTo>
                      <a:pt x="28" y="6"/>
                      <a:pt x="24" y="2"/>
                      <a:pt x="17" y="1"/>
                    </a:cubicBezTo>
                    <a:cubicBezTo>
                      <a:pt x="14" y="0"/>
                      <a:pt x="11" y="1"/>
                      <a:pt x="8" y="2"/>
                    </a:cubicBezTo>
                    <a:cubicBezTo>
                      <a:pt x="6" y="4"/>
                      <a:pt x="5" y="6"/>
                      <a:pt x="4" y="8"/>
                    </a:cubicBezTo>
                    <a:cubicBezTo>
                      <a:pt x="4" y="11"/>
                      <a:pt x="4" y="13"/>
                      <a:pt x="5" y="14"/>
                    </a:cubicBezTo>
                    <a:cubicBezTo>
                      <a:pt x="7" y="16"/>
                      <a:pt x="9" y="17"/>
                      <a:pt x="11" y="18"/>
                    </a:cubicBezTo>
                    <a:cubicBezTo>
                      <a:pt x="17" y="21"/>
                      <a:pt x="17" y="21"/>
                      <a:pt x="17" y="21"/>
                    </a:cubicBezTo>
                    <a:cubicBezTo>
                      <a:pt x="21" y="22"/>
                      <a:pt x="22" y="24"/>
                      <a:pt x="22" y="26"/>
                    </a:cubicBezTo>
                    <a:cubicBezTo>
                      <a:pt x="22" y="28"/>
                      <a:pt x="21" y="29"/>
                      <a:pt x="19" y="30"/>
                    </a:cubicBezTo>
                    <a:cubicBezTo>
                      <a:pt x="17" y="30"/>
                      <a:pt x="16" y="31"/>
                      <a:pt x="14" y="30"/>
                    </a:cubicBezTo>
                    <a:cubicBezTo>
                      <a:pt x="8" y="29"/>
                      <a:pt x="5" y="27"/>
                      <a:pt x="5" y="23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" y="29"/>
                      <a:pt x="5" y="33"/>
                      <a:pt x="12" y="34"/>
                    </a:cubicBezTo>
                    <a:cubicBezTo>
                      <a:pt x="16" y="35"/>
                      <a:pt x="20" y="34"/>
                      <a:pt x="22" y="33"/>
                    </a:cubicBezTo>
                    <a:cubicBezTo>
                      <a:pt x="25" y="32"/>
                      <a:pt x="26" y="30"/>
                      <a:pt x="27" y="27"/>
                    </a:cubicBezTo>
                    <a:cubicBezTo>
                      <a:pt x="28" y="22"/>
                      <a:pt x="25" y="18"/>
                      <a:pt x="19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28" name="Freeform 19"/>
              <p:cNvSpPr/>
              <p:nvPr/>
            </p:nvSpPr>
            <p:spPr bwMode="auto">
              <a:xfrm>
                <a:off x="3151188" y="2090738"/>
                <a:ext cx="22225" cy="22225"/>
              </a:xfrm>
              <a:custGeom>
                <a:avLst/>
                <a:gdLst>
                  <a:gd name="T0" fmla="*/ 0 w 14"/>
                  <a:gd name="T1" fmla="*/ 12 h 14"/>
                  <a:gd name="T2" fmla="*/ 12 w 14"/>
                  <a:gd name="T3" fmla="*/ 14 h 14"/>
                  <a:gd name="T4" fmla="*/ 14 w 14"/>
                  <a:gd name="T5" fmla="*/ 2 h 14"/>
                  <a:gd name="T6" fmla="*/ 2 w 14"/>
                  <a:gd name="T7" fmla="*/ 0 h 14"/>
                  <a:gd name="T8" fmla="*/ 0 w 14"/>
                  <a:gd name="T9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4">
                    <a:moveTo>
                      <a:pt x="0" y="12"/>
                    </a:moveTo>
                    <a:lnTo>
                      <a:pt x="12" y="14"/>
                    </a:lnTo>
                    <a:lnTo>
                      <a:pt x="14" y="2"/>
                    </a:lnTo>
                    <a:lnTo>
                      <a:pt x="2" y="0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29" name="Freeform 20"/>
              <p:cNvSpPr/>
              <p:nvPr/>
            </p:nvSpPr>
            <p:spPr bwMode="auto">
              <a:xfrm>
                <a:off x="3124200" y="2132013"/>
                <a:ext cx="42863" cy="120650"/>
              </a:xfrm>
              <a:custGeom>
                <a:avLst/>
                <a:gdLst>
                  <a:gd name="T0" fmla="*/ 0 w 27"/>
                  <a:gd name="T1" fmla="*/ 73 h 76"/>
                  <a:gd name="T2" fmla="*/ 12 w 27"/>
                  <a:gd name="T3" fmla="*/ 76 h 76"/>
                  <a:gd name="T4" fmla="*/ 27 w 27"/>
                  <a:gd name="T5" fmla="*/ 2 h 76"/>
                  <a:gd name="T6" fmla="*/ 15 w 27"/>
                  <a:gd name="T7" fmla="*/ 0 h 76"/>
                  <a:gd name="T8" fmla="*/ 0 w 27"/>
                  <a:gd name="T9" fmla="*/ 73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76">
                    <a:moveTo>
                      <a:pt x="0" y="73"/>
                    </a:moveTo>
                    <a:lnTo>
                      <a:pt x="12" y="76"/>
                    </a:lnTo>
                    <a:lnTo>
                      <a:pt x="27" y="2"/>
                    </a:lnTo>
                    <a:lnTo>
                      <a:pt x="15" y="0"/>
                    </a:lnTo>
                    <a:lnTo>
                      <a:pt x="0" y="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30" name="Freeform 21"/>
              <p:cNvSpPr>
                <a:spLocks noEditPoints="1"/>
              </p:cNvSpPr>
              <p:nvPr/>
            </p:nvSpPr>
            <p:spPr bwMode="auto">
              <a:xfrm>
                <a:off x="3178175" y="2143126"/>
                <a:ext cx="112713" cy="128588"/>
              </a:xfrm>
              <a:custGeom>
                <a:avLst/>
                <a:gdLst>
                  <a:gd name="T0" fmla="*/ 18 w 30"/>
                  <a:gd name="T1" fmla="*/ 1 h 34"/>
                  <a:gd name="T2" fmla="*/ 7 w 30"/>
                  <a:gd name="T3" fmla="*/ 3 h 34"/>
                  <a:gd name="T4" fmla="*/ 1 w 30"/>
                  <a:gd name="T5" fmla="*/ 14 h 34"/>
                  <a:gd name="T6" fmla="*/ 3 w 30"/>
                  <a:gd name="T7" fmla="*/ 27 h 34"/>
                  <a:gd name="T8" fmla="*/ 12 w 30"/>
                  <a:gd name="T9" fmla="*/ 33 h 34"/>
                  <a:gd name="T10" fmla="*/ 23 w 30"/>
                  <a:gd name="T11" fmla="*/ 31 h 34"/>
                  <a:gd name="T12" fmla="*/ 29 w 30"/>
                  <a:gd name="T13" fmla="*/ 19 h 34"/>
                  <a:gd name="T14" fmla="*/ 27 w 30"/>
                  <a:gd name="T15" fmla="*/ 7 h 34"/>
                  <a:gd name="T16" fmla="*/ 18 w 30"/>
                  <a:gd name="T17" fmla="*/ 1 h 34"/>
                  <a:gd name="T18" fmla="*/ 20 w 30"/>
                  <a:gd name="T19" fmla="*/ 27 h 34"/>
                  <a:gd name="T20" fmla="*/ 13 w 30"/>
                  <a:gd name="T21" fmla="*/ 29 h 34"/>
                  <a:gd name="T22" fmla="*/ 7 w 30"/>
                  <a:gd name="T23" fmla="*/ 25 h 34"/>
                  <a:gd name="T24" fmla="*/ 6 w 30"/>
                  <a:gd name="T25" fmla="*/ 15 h 34"/>
                  <a:gd name="T26" fmla="*/ 11 w 30"/>
                  <a:gd name="T27" fmla="*/ 6 h 34"/>
                  <a:gd name="T28" fmla="*/ 17 w 30"/>
                  <a:gd name="T29" fmla="*/ 4 h 34"/>
                  <a:gd name="T30" fmla="*/ 23 w 30"/>
                  <a:gd name="T31" fmla="*/ 9 h 34"/>
                  <a:gd name="T32" fmla="*/ 24 w 30"/>
                  <a:gd name="T33" fmla="*/ 18 h 34"/>
                  <a:gd name="T34" fmla="*/ 20 w 30"/>
                  <a:gd name="T35" fmla="*/ 2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0" h="34">
                    <a:moveTo>
                      <a:pt x="18" y="1"/>
                    </a:moveTo>
                    <a:cubicBezTo>
                      <a:pt x="14" y="0"/>
                      <a:pt x="10" y="1"/>
                      <a:pt x="7" y="3"/>
                    </a:cubicBezTo>
                    <a:cubicBezTo>
                      <a:pt x="4" y="6"/>
                      <a:pt x="2" y="9"/>
                      <a:pt x="1" y="14"/>
                    </a:cubicBezTo>
                    <a:cubicBezTo>
                      <a:pt x="0" y="19"/>
                      <a:pt x="1" y="23"/>
                      <a:pt x="3" y="27"/>
                    </a:cubicBezTo>
                    <a:cubicBezTo>
                      <a:pt x="4" y="30"/>
                      <a:pt x="7" y="32"/>
                      <a:pt x="12" y="33"/>
                    </a:cubicBezTo>
                    <a:cubicBezTo>
                      <a:pt x="16" y="34"/>
                      <a:pt x="20" y="33"/>
                      <a:pt x="23" y="31"/>
                    </a:cubicBezTo>
                    <a:cubicBezTo>
                      <a:pt x="26" y="28"/>
                      <a:pt x="28" y="24"/>
                      <a:pt x="29" y="19"/>
                    </a:cubicBezTo>
                    <a:cubicBezTo>
                      <a:pt x="30" y="15"/>
                      <a:pt x="29" y="11"/>
                      <a:pt x="27" y="7"/>
                    </a:cubicBezTo>
                    <a:cubicBezTo>
                      <a:pt x="25" y="3"/>
                      <a:pt x="22" y="1"/>
                      <a:pt x="18" y="1"/>
                    </a:cubicBezTo>
                    <a:close/>
                    <a:moveTo>
                      <a:pt x="20" y="27"/>
                    </a:moveTo>
                    <a:cubicBezTo>
                      <a:pt x="17" y="29"/>
                      <a:pt x="15" y="30"/>
                      <a:pt x="13" y="29"/>
                    </a:cubicBezTo>
                    <a:cubicBezTo>
                      <a:pt x="10" y="29"/>
                      <a:pt x="8" y="28"/>
                      <a:pt x="7" y="25"/>
                    </a:cubicBezTo>
                    <a:cubicBezTo>
                      <a:pt x="6" y="23"/>
                      <a:pt x="6" y="20"/>
                      <a:pt x="6" y="15"/>
                    </a:cubicBezTo>
                    <a:cubicBezTo>
                      <a:pt x="7" y="11"/>
                      <a:pt x="9" y="8"/>
                      <a:pt x="11" y="6"/>
                    </a:cubicBezTo>
                    <a:cubicBezTo>
                      <a:pt x="13" y="5"/>
                      <a:pt x="15" y="4"/>
                      <a:pt x="17" y="4"/>
                    </a:cubicBezTo>
                    <a:cubicBezTo>
                      <a:pt x="20" y="5"/>
                      <a:pt x="21" y="6"/>
                      <a:pt x="23" y="9"/>
                    </a:cubicBezTo>
                    <a:cubicBezTo>
                      <a:pt x="24" y="11"/>
                      <a:pt x="24" y="14"/>
                      <a:pt x="24" y="18"/>
                    </a:cubicBezTo>
                    <a:cubicBezTo>
                      <a:pt x="23" y="23"/>
                      <a:pt x="22" y="26"/>
                      <a:pt x="20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31" name="Freeform 22"/>
              <p:cNvSpPr/>
              <p:nvPr/>
            </p:nvSpPr>
            <p:spPr bwMode="auto">
              <a:xfrm>
                <a:off x="3302000" y="2162176"/>
                <a:ext cx="107950" cy="134938"/>
              </a:xfrm>
              <a:custGeom>
                <a:avLst/>
                <a:gdLst>
                  <a:gd name="T0" fmla="*/ 29 w 29"/>
                  <a:gd name="T1" fmla="*/ 9 h 36"/>
                  <a:gd name="T2" fmla="*/ 26 w 29"/>
                  <a:gd name="T3" fmla="*/ 5 h 36"/>
                  <a:gd name="T4" fmla="*/ 21 w 29"/>
                  <a:gd name="T5" fmla="*/ 2 h 36"/>
                  <a:gd name="T6" fmla="*/ 10 w 29"/>
                  <a:gd name="T7" fmla="*/ 7 h 36"/>
                  <a:gd name="T8" fmla="*/ 11 w 29"/>
                  <a:gd name="T9" fmla="*/ 1 h 36"/>
                  <a:gd name="T10" fmla="*/ 6 w 29"/>
                  <a:gd name="T11" fmla="*/ 0 h 36"/>
                  <a:gd name="T12" fmla="*/ 0 w 29"/>
                  <a:gd name="T13" fmla="*/ 31 h 36"/>
                  <a:gd name="T14" fmla="*/ 5 w 29"/>
                  <a:gd name="T15" fmla="*/ 32 h 36"/>
                  <a:gd name="T16" fmla="*/ 8 w 29"/>
                  <a:gd name="T17" fmla="*/ 15 h 36"/>
                  <a:gd name="T18" fmla="*/ 12 w 29"/>
                  <a:gd name="T19" fmla="*/ 8 h 36"/>
                  <a:gd name="T20" fmla="*/ 19 w 29"/>
                  <a:gd name="T21" fmla="*/ 6 h 36"/>
                  <a:gd name="T22" fmla="*/ 23 w 29"/>
                  <a:gd name="T23" fmla="*/ 9 h 36"/>
                  <a:gd name="T24" fmla="*/ 24 w 29"/>
                  <a:gd name="T25" fmla="*/ 15 h 36"/>
                  <a:gd name="T26" fmla="*/ 20 w 29"/>
                  <a:gd name="T27" fmla="*/ 35 h 36"/>
                  <a:gd name="T28" fmla="*/ 25 w 29"/>
                  <a:gd name="T29" fmla="*/ 36 h 36"/>
                  <a:gd name="T30" fmla="*/ 28 w 29"/>
                  <a:gd name="T31" fmla="*/ 18 h 36"/>
                  <a:gd name="T32" fmla="*/ 29 w 29"/>
                  <a:gd name="T33" fmla="*/ 9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" h="36">
                    <a:moveTo>
                      <a:pt x="29" y="9"/>
                    </a:moveTo>
                    <a:cubicBezTo>
                      <a:pt x="28" y="8"/>
                      <a:pt x="28" y="6"/>
                      <a:pt x="26" y="5"/>
                    </a:cubicBezTo>
                    <a:cubicBezTo>
                      <a:pt x="25" y="3"/>
                      <a:pt x="23" y="2"/>
                      <a:pt x="21" y="2"/>
                    </a:cubicBezTo>
                    <a:cubicBezTo>
                      <a:pt x="17" y="1"/>
                      <a:pt x="13" y="3"/>
                      <a:pt x="10" y="7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9" y="12"/>
                      <a:pt x="10" y="9"/>
                      <a:pt x="12" y="8"/>
                    </a:cubicBezTo>
                    <a:cubicBezTo>
                      <a:pt x="14" y="6"/>
                      <a:pt x="17" y="6"/>
                      <a:pt x="19" y="6"/>
                    </a:cubicBezTo>
                    <a:cubicBezTo>
                      <a:pt x="21" y="6"/>
                      <a:pt x="22" y="7"/>
                      <a:pt x="23" y="9"/>
                    </a:cubicBezTo>
                    <a:cubicBezTo>
                      <a:pt x="24" y="10"/>
                      <a:pt x="25" y="12"/>
                      <a:pt x="24" y="15"/>
                    </a:cubicBezTo>
                    <a:cubicBezTo>
                      <a:pt x="20" y="35"/>
                      <a:pt x="20" y="35"/>
                      <a:pt x="20" y="35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28" y="18"/>
                      <a:pt x="28" y="18"/>
                      <a:pt x="28" y="18"/>
                    </a:cubicBezTo>
                    <a:cubicBezTo>
                      <a:pt x="29" y="14"/>
                      <a:pt x="29" y="11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32" name="Freeform 23"/>
              <p:cNvSpPr/>
              <p:nvPr/>
            </p:nvSpPr>
            <p:spPr bwMode="auto">
              <a:xfrm>
                <a:off x="1263650" y="3267076"/>
                <a:ext cx="203200" cy="184150"/>
              </a:xfrm>
              <a:custGeom>
                <a:avLst/>
                <a:gdLst>
                  <a:gd name="T0" fmla="*/ 33 w 54"/>
                  <a:gd name="T1" fmla="*/ 27 h 49"/>
                  <a:gd name="T2" fmla="*/ 30 w 54"/>
                  <a:gd name="T3" fmla="*/ 18 h 49"/>
                  <a:gd name="T4" fmla="*/ 32 w 54"/>
                  <a:gd name="T5" fmla="*/ 8 h 49"/>
                  <a:gd name="T6" fmla="*/ 38 w 54"/>
                  <a:gd name="T7" fmla="*/ 8 h 49"/>
                  <a:gd name="T8" fmla="*/ 43 w 54"/>
                  <a:gd name="T9" fmla="*/ 14 h 49"/>
                  <a:gd name="T10" fmla="*/ 43 w 54"/>
                  <a:gd name="T11" fmla="*/ 28 h 49"/>
                  <a:gd name="T12" fmla="*/ 48 w 54"/>
                  <a:gd name="T13" fmla="*/ 33 h 49"/>
                  <a:gd name="T14" fmla="*/ 48 w 54"/>
                  <a:gd name="T15" fmla="*/ 10 h 49"/>
                  <a:gd name="T16" fmla="*/ 38 w 54"/>
                  <a:gd name="T17" fmla="*/ 1 h 49"/>
                  <a:gd name="T18" fmla="*/ 27 w 54"/>
                  <a:gd name="T19" fmla="*/ 2 h 49"/>
                  <a:gd name="T20" fmla="*/ 21 w 54"/>
                  <a:gd name="T21" fmla="*/ 10 h 49"/>
                  <a:gd name="T22" fmla="*/ 23 w 54"/>
                  <a:gd name="T23" fmla="*/ 20 h 49"/>
                  <a:gd name="T24" fmla="*/ 26 w 54"/>
                  <a:gd name="T25" fmla="*/ 30 h 49"/>
                  <a:gd name="T26" fmla="*/ 24 w 54"/>
                  <a:gd name="T27" fmla="*/ 40 h 49"/>
                  <a:gd name="T28" fmla="*/ 18 w 54"/>
                  <a:gd name="T29" fmla="*/ 41 h 49"/>
                  <a:gd name="T30" fmla="*/ 12 w 54"/>
                  <a:gd name="T31" fmla="*/ 35 h 49"/>
                  <a:gd name="T32" fmla="*/ 12 w 54"/>
                  <a:gd name="T33" fmla="*/ 18 h 49"/>
                  <a:gd name="T34" fmla="*/ 7 w 54"/>
                  <a:gd name="T35" fmla="*/ 12 h 49"/>
                  <a:gd name="T36" fmla="*/ 6 w 54"/>
                  <a:gd name="T37" fmla="*/ 37 h 49"/>
                  <a:gd name="T38" fmla="*/ 17 w 54"/>
                  <a:gd name="T39" fmla="*/ 48 h 49"/>
                  <a:gd name="T40" fmla="*/ 29 w 54"/>
                  <a:gd name="T41" fmla="*/ 47 h 49"/>
                  <a:gd name="T42" fmla="*/ 33 w 54"/>
                  <a:gd name="T43" fmla="*/ 2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4" h="49">
                    <a:moveTo>
                      <a:pt x="33" y="27"/>
                    </a:moveTo>
                    <a:cubicBezTo>
                      <a:pt x="30" y="18"/>
                      <a:pt x="30" y="18"/>
                      <a:pt x="30" y="18"/>
                    </a:cubicBezTo>
                    <a:cubicBezTo>
                      <a:pt x="28" y="13"/>
                      <a:pt x="29" y="10"/>
                      <a:pt x="32" y="8"/>
                    </a:cubicBezTo>
                    <a:cubicBezTo>
                      <a:pt x="34" y="7"/>
                      <a:pt x="36" y="7"/>
                      <a:pt x="38" y="8"/>
                    </a:cubicBezTo>
                    <a:cubicBezTo>
                      <a:pt x="40" y="9"/>
                      <a:pt x="42" y="11"/>
                      <a:pt x="43" y="14"/>
                    </a:cubicBezTo>
                    <a:cubicBezTo>
                      <a:pt x="46" y="19"/>
                      <a:pt x="46" y="23"/>
                      <a:pt x="43" y="28"/>
                    </a:cubicBezTo>
                    <a:cubicBezTo>
                      <a:pt x="48" y="33"/>
                      <a:pt x="48" y="33"/>
                      <a:pt x="48" y="33"/>
                    </a:cubicBezTo>
                    <a:cubicBezTo>
                      <a:pt x="54" y="26"/>
                      <a:pt x="54" y="19"/>
                      <a:pt x="48" y="10"/>
                    </a:cubicBezTo>
                    <a:cubicBezTo>
                      <a:pt x="46" y="5"/>
                      <a:pt x="42" y="2"/>
                      <a:pt x="38" y="1"/>
                    </a:cubicBezTo>
                    <a:cubicBezTo>
                      <a:pt x="34" y="0"/>
                      <a:pt x="31" y="0"/>
                      <a:pt x="27" y="2"/>
                    </a:cubicBezTo>
                    <a:cubicBezTo>
                      <a:pt x="24" y="4"/>
                      <a:pt x="22" y="7"/>
                      <a:pt x="21" y="10"/>
                    </a:cubicBezTo>
                    <a:cubicBezTo>
                      <a:pt x="21" y="13"/>
                      <a:pt x="21" y="16"/>
                      <a:pt x="23" y="20"/>
                    </a:cubicBezTo>
                    <a:cubicBezTo>
                      <a:pt x="26" y="30"/>
                      <a:pt x="26" y="30"/>
                      <a:pt x="26" y="30"/>
                    </a:cubicBezTo>
                    <a:cubicBezTo>
                      <a:pt x="28" y="35"/>
                      <a:pt x="28" y="38"/>
                      <a:pt x="24" y="40"/>
                    </a:cubicBezTo>
                    <a:cubicBezTo>
                      <a:pt x="22" y="42"/>
                      <a:pt x="20" y="42"/>
                      <a:pt x="18" y="41"/>
                    </a:cubicBezTo>
                    <a:cubicBezTo>
                      <a:pt x="15" y="40"/>
                      <a:pt x="13" y="38"/>
                      <a:pt x="12" y="35"/>
                    </a:cubicBezTo>
                    <a:cubicBezTo>
                      <a:pt x="7" y="28"/>
                      <a:pt x="7" y="22"/>
                      <a:pt x="12" y="18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0" y="19"/>
                      <a:pt x="0" y="28"/>
                      <a:pt x="6" y="37"/>
                    </a:cubicBezTo>
                    <a:cubicBezTo>
                      <a:pt x="9" y="43"/>
                      <a:pt x="13" y="46"/>
                      <a:pt x="17" y="48"/>
                    </a:cubicBezTo>
                    <a:cubicBezTo>
                      <a:pt x="21" y="49"/>
                      <a:pt x="25" y="49"/>
                      <a:pt x="29" y="47"/>
                    </a:cubicBezTo>
                    <a:cubicBezTo>
                      <a:pt x="35" y="43"/>
                      <a:pt x="37" y="36"/>
                      <a:pt x="33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33" name="Freeform 24"/>
              <p:cNvSpPr/>
              <p:nvPr/>
            </p:nvSpPr>
            <p:spPr bwMode="auto">
              <a:xfrm>
                <a:off x="1365250" y="3409951"/>
                <a:ext cx="211138" cy="212725"/>
              </a:xfrm>
              <a:custGeom>
                <a:avLst/>
                <a:gdLst>
                  <a:gd name="T0" fmla="*/ 29 w 56"/>
                  <a:gd name="T1" fmla="*/ 40 h 57"/>
                  <a:gd name="T2" fmla="*/ 21 w 56"/>
                  <a:gd name="T3" fmla="*/ 42 h 57"/>
                  <a:gd name="T4" fmla="*/ 14 w 56"/>
                  <a:gd name="T5" fmla="*/ 41 h 57"/>
                  <a:gd name="T6" fmla="*/ 9 w 56"/>
                  <a:gd name="T7" fmla="*/ 37 h 57"/>
                  <a:gd name="T8" fmla="*/ 8 w 56"/>
                  <a:gd name="T9" fmla="*/ 30 h 57"/>
                  <a:gd name="T10" fmla="*/ 14 w 56"/>
                  <a:gd name="T11" fmla="*/ 22 h 57"/>
                  <a:gd name="T12" fmla="*/ 41 w 56"/>
                  <a:gd name="T13" fmla="*/ 6 h 57"/>
                  <a:gd name="T14" fmla="*/ 37 w 56"/>
                  <a:gd name="T15" fmla="*/ 0 h 57"/>
                  <a:gd name="T16" fmla="*/ 11 w 56"/>
                  <a:gd name="T17" fmla="*/ 16 h 57"/>
                  <a:gd name="T18" fmla="*/ 1 w 56"/>
                  <a:gd name="T19" fmla="*/ 26 h 57"/>
                  <a:gd name="T20" fmla="*/ 3 w 56"/>
                  <a:gd name="T21" fmla="*/ 39 h 57"/>
                  <a:gd name="T22" fmla="*/ 20 w 56"/>
                  <a:gd name="T23" fmla="*/ 46 h 57"/>
                  <a:gd name="T24" fmla="*/ 12 w 56"/>
                  <a:gd name="T25" fmla="*/ 51 h 57"/>
                  <a:gd name="T26" fmla="*/ 15 w 56"/>
                  <a:gd name="T27" fmla="*/ 57 h 57"/>
                  <a:gd name="T28" fmla="*/ 56 w 56"/>
                  <a:gd name="T29" fmla="*/ 32 h 57"/>
                  <a:gd name="T30" fmla="*/ 52 w 56"/>
                  <a:gd name="T31" fmla="*/ 26 h 57"/>
                  <a:gd name="T32" fmla="*/ 29 w 56"/>
                  <a:gd name="T33" fmla="*/ 4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6" h="57">
                    <a:moveTo>
                      <a:pt x="29" y="40"/>
                    </a:moveTo>
                    <a:cubicBezTo>
                      <a:pt x="27" y="41"/>
                      <a:pt x="24" y="42"/>
                      <a:pt x="21" y="42"/>
                    </a:cubicBezTo>
                    <a:cubicBezTo>
                      <a:pt x="18" y="42"/>
                      <a:pt x="16" y="42"/>
                      <a:pt x="14" y="41"/>
                    </a:cubicBezTo>
                    <a:cubicBezTo>
                      <a:pt x="12" y="40"/>
                      <a:pt x="10" y="39"/>
                      <a:pt x="9" y="37"/>
                    </a:cubicBezTo>
                    <a:cubicBezTo>
                      <a:pt x="8" y="35"/>
                      <a:pt x="7" y="32"/>
                      <a:pt x="8" y="30"/>
                    </a:cubicBezTo>
                    <a:cubicBezTo>
                      <a:pt x="8" y="27"/>
                      <a:pt x="10" y="24"/>
                      <a:pt x="14" y="22"/>
                    </a:cubicBezTo>
                    <a:cubicBezTo>
                      <a:pt x="41" y="6"/>
                      <a:pt x="41" y="6"/>
                      <a:pt x="41" y="6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1" y="16"/>
                      <a:pt x="11" y="16"/>
                      <a:pt x="11" y="16"/>
                    </a:cubicBezTo>
                    <a:cubicBezTo>
                      <a:pt x="6" y="19"/>
                      <a:pt x="2" y="22"/>
                      <a:pt x="1" y="26"/>
                    </a:cubicBezTo>
                    <a:cubicBezTo>
                      <a:pt x="0" y="30"/>
                      <a:pt x="0" y="35"/>
                      <a:pt x="3" y="39"/>
                    </a:cubicBezTo>
                    <a:cubicBezTo>
                      <a:pt x="6" y="44"/>
                      <a:pt x="12" y="47"/>
                      <a:pt x="20" y="46"/>
                    </a:cubicBezTo>
                    <a:cubicBezTo>
                      <a:pt x="12" y="51"/>
                      <a:pt x="12" y="51"/>
                      <a:pt x="12" y="51"/>
                    </a:cubicBezTo>
                    <a:cubicBezTo>
                      <a:pt x="15" y="57"/>
                      <a:pt x="15" y="57"/>
                      <a:pt x="15" y="57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2" y="26"/>
                      <a:pt x="52" y="26"/>
                      <a:pt x="52" y="26"/>
                    </a:cubicBezTo>
                    <a:lnTo>
                      <a:pt x="29" y="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34" name="Freeform 25"/>
              <p:cNvSpPr/>
              <p:nvPr/>
            </p:nvSpPr>
            <p:spPr bwMode="auto">
              <a:xfrm>
                <a:off x="1466850" y="3594101"/>
                <a:ext cx="188913" cy="165100"/>
              </a:xfrm>
              <a:custGeom>
                <a:avLst/>
                <a:gdLst>
                  <a:gd name="T0" fmla="*/ 41 w 50"/>
                  <a:gd name="T1" fmla="*/ 12 h 44"/>
                  <a:gd name="T2" fmla="*/ 37 w 50"/>
                  <a:gd name="T3" fmla="*/ 28 h 44"/>
                  <a:gd name="T4" fmla="*/ 42 w 50"/>
                  <a:gd name="T5" fmla="*/ 33 h 44"/>
                  <a:gd name="T6" fmla="*/ 49 w 50"/>
                  <a:gd name="T7" fmla="*/ 22 h 44"/>
                  <a:gd name="T8" fmla="*/ 47 w 50"/>
                  <a:gd name="T9" fmla="*/ 9 h 44"/>
                  <a:gd name="T10" fmla="*/ 33 w 50"/>
                  <a:gd name="T11" fmla="*/ 0 h 44"/>
                  <a:gd name="T12" fmla="*/ 14 w 50"/>
                  <a:gd name="T13" fmla="*/ 5 h 44"/>
                  <a:gd name="T14" fmla="*/ 2 w 50"/>
                  <a:gd name="T15" fmla="*/ 19 h 44"/>
                  <a:gd name="T16" fmla="*/ 3 w 50"/>
                  <a:gd name="T17" fmla="*/ 35 h 44"/>
                  <a:gd name="T18" fmla="*/ 14 w 50"/>
                  <a:gd name="T19" fmla="*/ 43 h 44"/>
                  <a:gd name="T20" fmla="*/ 27 w 50"/>
                  <a:gd name="T21" fmla="*/ 42 h 44"/>
                  <a:gd name="T22" fmla="*/ 25 w 50"/>
                  <a:gd name="T23" fmla="*/ 36 h 44"/>
                  <a:gd name="T24" fmla="*/ 9 w 50"/>
                  <a:gd name="T25" fmla="*/ 32 h 44"/>
                  <a:gd name="T26" fmla="*/ 8 w 50"/>
                  <a:gd name="T27" fmla="*/ 22 h 44"/>
                  <a:gd name="T28" fmla="*/ 19 w 50"/>
                  <a:gd name="T29" fmla="*/ 11 h 44"/>
                  <a:gd name="T30" fmla="*/ 32 w 50"/>
                  <a:gd name="T31" fmla="*/ 7 h 44"/>
                  <a:gd name="T32" fmla="*/ 41 w 50"/>
                  <a:gd name="T33" fmla="*/ 1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" h="44">
                    <a:moveTo>
                      <a:pt x="41" y="12"/>
                    </a:moveTo>
                    <a:cubicBezTo>
                      <a:pt x="45" y="18"/>
                      <a:pt x="43" y="23"/>
                      <a:pt x="37" y="28"/>
                    </a:cubicBezTo>
                    <a:cubicBezTo>
                      <a:pt x="42" y="33"/>
                      <a:pt x="42" y="33"/>
                      <a:pt x="42" y="33"/>
                    </a:cubicBezTo>
                    <a:cubicBezTo>
                      <a:pt x="46" y="30"/>
                      <a:pt x="48" y="27"/>
                      <a:pt x="49" y="22"/>
                    </a:cubicBezTo>
                    <a:cubicBezTo>
                      <a:pt x="50" y="18"/>
                      <a:pt x="49" y="14"/>
                      <a:pt x="47" y="9"/>
                    </a:cubicBezTo>
                    <a:cubicBezTo>
                      <a:pt x="43" y="4"/>
                      <a:pt x="39" y="1"/>
                      <a:pt x="33" y="0"/>
                    </a:cubicBezTo>
                    <a:cubicBezTo>
                      <a:pt x="27" y="0"/>
                      <a:pt x="21" y="1"/>
                      <a:pt x="14" y="5"/>
                    </a:cubicBezTo>
                    <a:cubicBezTo>
                      <a:pt x="8" y="9"/>
                      <a:pt x="4" y="13"/>
                      <a:pt x="2" y="19"/>
                    </a:cubicBezTo>
                    <a:cubicBezTo>
                      <a:pt x="0" y="24"/>
                      <a:pt x="0" y="30"/>
                      <a:pt x="3" y="35"/>
                    </a:cubicBezTo>
                    <a:cubicBezTo>
                      <a:pt x="6" y="39"/>
                      <a:pt x="9" y="42"/>
                      <a:pt x="14" y="43"/>
                    </a:cubicBezTo>
                    <a:cubicBezTo>
                      <a:pt x="18" y="44"/>
                      <a:pt x="22" y="44"/>
                      <a:pt x="27" y="42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17" y="39"/>
                      <a:pt x="12" y="37"/>
                      <a:pt x="9" y="32"/>
                    </a:cubicBezTo>
                    <a:cubicBezTo>
                      <a:pt x="7" y="29"/>
                      <a:pt x="7" y="25"/>
                      <a:pt x="8" y="22"/>
                    </a:cubicBezTo>
                    <a:cubicBezTo>
                      <a:pt x="10" y="18"/>
                      <a:pt x="14" y="15"/>
                      <a:pt x="19" y="11"/>
                    </a:cubicBezTo>
                    <a:cubicBezTo>
                      <a:pt x="24" y="8"/>
                      <a:pt x="28" y="7"/>
                      <a:pt x="32" y="7"/>
                    </a:cubicBezTo>
                    <a:cubicBezTo>
                      <a:pt x="36" y="7"/>
                      <a:pt x="39" y="9"/>
                      <a:pt x="41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35" name="Freeform 26"/>
              <p:cNvSpPr/>
              <p:nvPr/>
            </p:nvSpPr>
            <p:spPr bwMode="auto">
              <a:xfrm>
                <a:off x="1554163" y="3735388"/>
                <a:ext cx="187325" cy="169863"/>
              </a:xfrm>
              <a:custGeom>
                <a:avLst/>
                <a:gdLst>
                  <a:gd name="T0" fmla="*/ 42 w 50"/>
                  <a:gd name="T1" fmla="*/ 13 h 45"/>
                  <a:gd name="T2" fmla="*/ 38 w 50"/>
                  <a:gd name="T3" fmla="*/ 29 h 45"/>
                  <a:gd name="T4" fmla="*/ 42 w 50"/>
                  <a:gd name="T5" fmla="*/ 34 h 45"/>
                  <a:gd name="T6" fmla="*/ 49 w 50"/>
                  <a:gd name="T7" fmla="*/ 23 h 45"/>
                  <a:gd name="T8" fmla="*/ 47 w 50"/>
                  <a:gd name="T9" fmla="*/ 10 h 45"/>
                  <a:gd name="T10" fmla="*/ 33 w 50"/>
                  <a:gd name="T11" fmla="*/ 1 h 45"/>
                  <a:gd name="T12" fmla="*/ 15 w 50"/>
                  <a:gd name="T13" fmla="*/ 5 h 45"/>
                  <a:gd name="T14" fmla="*/ 2 w 50"/>
                  <a:gd name="T15" fmla="*/ 19 h 45"/>
                  <a:gd name="T16" fmla="*/ 4 w 50"/>
                  <a:gd name="T17" fmla="*/ 36 h 45"/>
                  <a:gd name="T18" fmla="*/ 14 w 50"/>
                  <a:gd name="T19" fmla="*/ 44 h 45"/>
                  <a:gd name="T20" fmla="*/ 28 w 50"/>
                  <a:gd name="T21" fmla="*/ 43 h 45"/>
                  <a:gd name="T22" fmla="*/ 25 w 50"/>
                  <a:gd name="T23" fmla="*/ 36 h 45"/>
                  <a:gd name="T24" fmla="*/ 9 w 50"/>
                  <a:gd name="T25" fmla="*/ 33 h 45"/>
                  <a:gd name="T26" fmla="*/ 9 w 50"/>
                  <a:gd name="T27" fmla="*/ 22 h 45"/>
                  <a:gd name="T28" fmla="*/ 19 w 50"/>
                  <a:gd name="T29" fmla="*/ 12 h 45"/>
                  <a:gd name="T30" fmla="*/ 32 w 50"/>
                  <a:gd name="T31" fmla="*/ 8 h 45"/>
                  <a:gd name="T32" fmla="*/ 42 w 50"/>
                  <a:gd name="T33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" h="45">
                    <a:moveTo>
                      <a:pt x="42" y="13"/>
                    </a:moveTo>
                    <a:cubicBezTo>
                      <a:pt x="45" y="18"/>
                      <a:pt x="44" y="24"/>
                      <a:pt x="38" y="29"/>
                    </a:cubicBezTo>
                    <a:cubicBezTo>
                      <a:pt x="42" y="34"/>
                      <a:pt x="42" y="34"/>
                      <a:pt x="42" y="34"/>
                    </a:cubicBezTo>
                    <a:cubicBezTo>
                      <a:pt x="46" y="31"/>
                      <a:pt x="48" y="27"/>
                      <a:pt x="49" y="23"/>
                    </a:cubicBezTo>
                    <a:cubicBezTo>
                      <a:pt x="50" y="18"/>
                      <a:pt x="50" y="14"/>
                      <a:pt x="47" y="10"/>
                    </a:cubicBezTo>
                    <a:cubicBezTo>
                      <a:pt x="44" y="4"/>
                      <a:pt x="39" y="1"/>
                      <a:pt x="33" y="1"/>
                    </a:cubicBezTo>
                    <a:cubicBezTo>
                      <a:pt x="27" y="0"/>
                      <a:pt x="21" y="2"/>
                      <a:pt x="15" y="5"/>
                    </a:cubicBezTo>
                    <a:cubicBezTo>
                      <a:pt x="9" y="9"/>
                      <a:pt x="5" y="14"/>
                      <a:pt x="2" y="19"/>
                    </a:cubicBezTo>
                    <a:cubicBezTo>
                      <a:pt x="0" y="25"/>
                      <a:pt x="0" y="30"/>
                      <a:pt x="4" y="36"/>
                    </a:cubicBezTo>
                    <a:cubicBezTo>
                      <a:pt x="6" y="40"/>
                      <a:pt x="10" y="43"/>
                      <a:pt x="14" y="44"/>
                    </a:cubicBezTo>
                    <a:cubicBezTo>
                      <a:pt x="18" y="45"/>
                      <a:pt x="23" y="45"/>
                      <a:pt x="28" y="43"/>
                    </a:cubicBezTo>
                    <a:cubicBezTo>
                      <a:pt x="25" y="36"/>
                      <a:pt x="25" y="36"/>
                      <a:pt x="25" y="36"/>
                    </a:cubicBezTo>
                    <a:cubicBezTo>
                      <a:pt x="18" y="39"/>
                      <a:pt x="12" y="38"/>
                      <a:pt x="9" y="33"/>
                    </a:cubicBezTo>
                    <a:cubicBezTo>
                      <a:pt x="7" y="29"/>
                      <a:pt x="7" y="26"/>
                      <a:pt x="9" y="22"/>
                    </a:cubicBezTo>
                    <a:cubicBezTo>
                      <a:pt x="10" y="18"/>
                      <a:pt x="14" y="15"/>
                      <a:pt x="19" y="12"/>
                    </a:cubicBezTo>
                    <a:cubicBezTo>
                      <a:pt x="24" y="9"/>
                      <a:pt x="28" y="8"/>
                      <a:pt x="32" y="8"/>
                    </a:cubicBezTo>
                    <a:cubicBezTo>
                      <a:pt x="37" y="8"/>
                      <a:pt x="40" y="10"/>
                      <a:pt x="42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36" name="Freeform 27"/>
              <p:cNvSpPr>
                <a:spLocks noEditPoints="1"/>
              </p:cNvSpPr>
              <p:nvPr/>
            </p:nvSpPr>
            <p:spPr bwMode="auto">
              <a:xfrm>
                <a:off x="1643063" y="3883026"/>
                <a:ext cx="192088" cy="179388"/>
              </a:xfrm>
              <a:custGeom>
                <a:avLst/>
                <a:gdLst>
                  <a:gd name="T0" fmla="*/ 50 w 51"/>
                  <a:gd name="T1" fmla="*/ 27 h 48"/>
                  <a:gd name="T2" fmla="*/ 47 w 51"/>
                  <a:gd name="T3" fmla="*/ 11 h 48"/>
                  <a:gd name="T4" fmla="*/ 33 w 51"/>
                  <a:gd name="T5" fmla="*/ 1 h 48"/>
                  <a:gd name="T6" fmla="*/ 14 w 51"/>
                  <a:gd name="T7" fmla="*/ 5 h 48"/>
                  <a:gd name="T8" fmla="*/ 2 w 51"/>
                  <a:gd name="T9" fmla="*/ 20 h 48"/>
                  <a:gd name="T10" fmla="*/ 4 w 51"/>
                  <a:gd name="T11" fmla="*/ 37 h 48"/>
                  <a:gd name="T12" fmla="*/ 14 w 51"/>
                  <a:gd name="T13" fmla="*/ 46 h 48"/>
                  <a:gd name="T14" fmla="*/ 27 w 51"/>
                  <a:gd name="T15" fmla="*/ 47 h 48"/>
                  <a:gd name="T16" fmla="*/ 24 w 51"/>
                  <a:gd name="T17" fmla="*/ 40 h 48"/>
                  <a:gd name="T18" fmla="*/ 10 w 51"/>
                  <a:gd name="T19" fmla="*/ 34 h 48"/>
                  <a:gd name="T20" fmla="*/ 8 w 51"/>
                  <a:gd name="T21" fmla="*/ 24 h 48"/>
                  <a:gd name="T22" fmla="*/ 18 w 51"/>
                  <a:gd name="T23" fmla="*/ 12 h 48"/>
                  <a:gd name="T24" fmla="*/ 36 w 51"/>
                  <a:gd name="T25" fmla="*/ 42 h 48"/>
                  <a:gd name="T26" fmla="*/ 50 w 51"/>
                  <a:gd name="T27" fmla="*/ 27 h 48"/>
                  <a:gd name="T28" fmla="*/ 23 w 51"/>
                  <a:gd name="T29" fmla="*/ 10 h 48"/>
                  <a:gd name="T30" fmla="*/ 34 w 51"/>
                  <a:gd name="T31" fmla="*/ 8 h 48"/>
                  <a:gd name="T32" fmla="*/ 43 w 51"/>
                  <a:gd name="T33" fmla="*/ 14 h 48"/>
                  <a:gd name="T34" fmla="*/ 44 w 51"/>
                  <a:gd name="T35" fmla="*/ 21 h 48"/>
                  <a:gd name="T36" fmla="*/ 42 w 51"/>
                  <a:gd name="T37" fmla="*/ 27 h 48"/>
                  <a:gd name="T38" fmla="*/ 36 w 51"/>
                  <a:gd name="T39" fmla="*/ 32 h 48"/>
                  <a:gd name="T40" fmla="*/ 23 w 51"/>
                  <a:gd name="T41" fmla="*/ 1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1" h="48">
                    <a:moveTo>
                      <a:pt x="50" y="27"/>
                    </a:moveTo>
                    <a:cubicBezTo>
                      <a:pt x="51" y="21"/>
                      <a:pt x="50" y="16"/>
                      <a:pt x="47" y="11"/>
                    </a:cubicBezTo>
                    <a:cubicBezTo>
                      <a:pt x="44" y="5"/>
                      <a:pt x="39" y="2"/>
                      <a:pt x="33" y="1"/>
                    </a:cubicBezTo>
                    <a:cubicBezTo>
                      <a:pt x="27" y="0"/>
                      <a:pt x="21" y="1"/>
                      <a:pt x="14" y="5"/>
                    </a:cubicBezTo>
                    <a:cubicBezTo>
                      <a:pt x="8" y="9"/>
                      <a:pt x="4" y="14"/>
                      <a:pt x="2" y="20"/>
                    </a:cubicBezTo>
                    <a:cubicBezTo>
                      <a:pt x="0" y="25"/>
                      <a:pt x="1" y="31"/>
                      <a:pt x="4" y="37"/>
                    </a:cubicBezTo>
                    <a:cubicBezTo>
                      <a:pt x="7" y="41"/>
                      <a:pt x="10" y="44"/>
                      <a:pt x="14" y="46"/>
                    </a:cubicBezTo>
                    <a:cubicBezTo>
                      <a:pt x="18" y="47"/>
                      <a:pt x="23" y="48"/>
                      <a:pt x="27" y="47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18" y="41"/>
                      <a:pt x="13" y="39"/>
                      <a:pt x="10" y="34"/>
                    </a:cubicBezTo>
                    <a:cubicBezTo>
                      <a:pt x="8" y="31"/>
                      <a:pt x="7" y="28"/>
                      <a:pt x="8" y="24"/>
                    </a:cubicBezTo>
                    <a:cubicBezTo>
                      <a:pt x="8" y="20"/>
                      <a:pt x="12" y="16"/>
                      <a:pt x="18" y="12"/>
                    </a:cubicBezTo>
                    <a:cubicBezTo>
                      <a:pt x="36" y="42"/>
                      <a:pt x="36" y="42"/>
                      <a:pt x="36" y="42"/>
                    </a:cubicBezTo>
                    <a:cubicBezTo>
                      <a:pt x="43" y="37"/>
                      <a:pt x="48" y="32"/>
                      <a:pt x="50" y="27"/>
                    </a:cubicBezTo>
                    <a:close/>
                    <a:moveTo>
                      <a:pt x="23" y="10"/>
                    </a:moveTo>
                    <a:cubicBezTo>
                      <a:pt x="27" y="8"/>
                      <a:pt x="31" y="7"/>
                      <a:pt x="34" y="8"/>
                    </a:cubicBezTo>
                    <a:cubicBezTo>
                      <a:pt x="38" y="9"/>
                      <a:pt x="41" y="11"/>
                      <a:pt x="43" y="14"/>
                    </a:cubicBezTo>
                    <a:cubicBezTo>
                      <a:pt x="44" y="16"/>
                      <a:pt x="45" y="19"/>
                      <a:pt x="44" y="21"/>
                    </a:cubicBezTo>
                    <a:cubicBezTo>
                      <a:pt x="44" y="23"/>
                      <a:pt x="43" y="26"/>
                      <a:pt x="42" y="27"/>
                    </a:cubicBezTo>
                    <a:cubicBezTo>
                      <a:pt x="41" y="29"/>
                      <a:pt x="39" y="31"/>
                      <a:pt x="36" y="32"/>
                    </a:cubicBezTo>
                    <a:lnTo>
                      <a:pt x="23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37" name="Freeform 28"/>
              <p:cNvSpPr/>
              <p:nvPr/>
            </p:nvSpPr>
            <p:spPr bwMode="auto">
              <a:xfrm>
                <a:off x="1730375" y="4029076"/>
                <a:ext cx="198438" cy="187325"/>
              </a:xfrm>
              <a:custGeom>
                <a:avLst/>
                <a:gdLst>
                  <a:gd name="T0" fmla="*/ 33 w 53"/>
                  <a:gd name="T1" fmla="*/ 27 h 50"/>
                  <a:gd name="T2" fmla="*/ 29 w 53"/>
                  <a:gd name="T3" fmla="*/ 18 h 50"/>
                  <a:gd name="T4" fmla="*/ 31 w 53"/>
                  <a:gd name="T5" fmla="*/ 9 h 50"/>
                  <a:gd name="T6" fmla="*/ 37 w 53"/>
                  <a:gd name="T7" fmla="*/ 8 h 50"/>
                  <a:gd name="T8" fmla="*/ 43 w 53"/>
                  <a:gd name="T9" fmla="*/ 14 h 50"/>
                  <a:gd name="T10" fmla="*/ 42 w 53"/>
                  <a:gd name="T11" fmla="*/ 28 h 50"/>
                  <a:gd name="T12" fmla="*/ 47 w 53"/>
                  <a:gd name="T13" fmla="*/ 33 h 50"/>
                  <a:gd name="T14" fmla="*/ 48 w 53"/>
                  <a:gd name="T15" fmla="*/ 10 h 50"/>
                  <a:gd name="T16" fmla="*/ 38 w 53"/>
                  <a:gd name="T17" fmla="*/ 1 h 50"/>
                  <a:gd name="T18" fmla="*/ 27 w 53"/>
                  <a:gd name="T19" fmla="*/ 3 h 50"/>
                  <a:gd name="T20" fmla="*/ 21 w 53"/>
                  <a:gd name="T21" fmla="*/ 10 h 50"/>
                  <a:gd name="T22" fmla="*/ 22 w 53"/>
                  <a:gd name="T23" fmla="*/ 20 h 50"/>
                  <a:gd name="T24" fmla="*/ 26 w 53"/>
                  <a:gd name="T25" fmla="*/ 30 h 50"/>
                  <a:gd name="T26" fmla="*/ 24 w 53"/>
                  <a:gd name="T27" fmla="*/ 41 h 50"/>
                  <a:gd name="T28" fmla="*/ 17 w 53"/>
                  <a:gd name="T29" fmla="*/ 41 h 50"/>
                  <a:gd name="T30" fmla="*/ 11 w 53"/>
                  <a:gd name="T31" fmla="*/ 35 h 50"/>
                  <a:gd name="T32" fmla="*/ 11 w 53"/>
                  <a:gd name="T33" fmla="*/ 18 h 50"/>
                  <a:gd name="T34" fmla="*/ 6 w 53"/>
                  <a:gd name="T35" fmla="*/ 13 h 50"/>
                  <a:gd name="T36" fmla="*/ 5 w 53"/>
                  <a:gd name="T37" fmla="*/ 38 h 50"/>
                  <a:gd name="T38" fmla="*/ 16 w 53"/>
                  <a:gd name="T39" fmla="*/ 48 h 50"/>
                  <a:gd name="T40" fmla="*/ 28 w 53"/>
                  <a:gd name="T41" fmla="*/ 47 h 50"/>
                  <a:gd name="T42" fmla="*/ 33 w 53"/>
                  <a:gd name="T43" fmla="*/ 2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3" h="50">
                    <a:moveTo>
                      <a:pt x="33" y="27"/>
                    </a:moveTo>
                    <a:cubicBezTo>
                      <a:pt x="29" y="18"/>
                      <a:pt x="29" y="18"/>
                      <a:pt x="29" y="18"/>
                    </a:cubicBezTo>
                    <a:cubicBezTo>
                      <a:pt x="28" y="14"/>
                      <a:pt x="28" y="10"/>
                      <a:pt x="31" y="9"/>
                    </a:cubicBezTo>
                    <a:cubicBezTo>
                      <a:pt x="33" y="7"/>
                      <a:pt x="35" y="7"/>
                      <a:pt x="37" y="8"/>
                    </a:cubicBezTo>
                    <a:cubicBezTo>
                      <a:pt x="39" y="9"/>
                      <a:pt x="41" y="11"/>
                      <a:pt x="43" y="14"/>
                    </a:cubicBezTo>
                    <a:cubicBezTo>
                      <a:pt x="46" y="19"/>
                      <a:pt x="46" y="24"/>
                      <a:pt x="42" y="28"/>
                    </a:cubicBezTo>
                    <a:cubicBezTo>
                      <a:pt x="47" y="33"/>
                      <a:pt x="47" y="33"/>
                      <a:pt x="47" y="33"/>
                    </a:cubicBezTo>
                    <a:cubicBezTo>
                      <a:pt x="53" y="27"/>
                      <a:pt x="53" y="19"/>
                      <a:pt x="48" y="10"/>
                    </a:cubicBezTo>
                    <a:cubicBezTo>
                      <a:pt x="45" y="6"/>
                      <a:pt x="42" y="3"/>
                      <a:pt x="38" y="1"/>
                    </a:cubicBezTo>
                    <a:cubicBezTo>
                      <a:pt x="34" y="0"/>
                      <a:pt x="30" y="0"/>
                      <a:pt x="27" y="3"/>
                    </a:cubicBezTo>
                    <a:cubicBezTo>
                      <a:pt x="23" y="4"/>
                      <a:pt x="22" y="7"/>
                      <a:pt x="21" y="10"/>
                    </a:cubicBezTo>
                    <a:cubicBezTo>
                      <a:pt x="20" y="13"/>
                      <a:pt x="21" y="17"/>
                      <a:pt x="22" y="20"/>
                    </a:cubicBezTo>
                    <a:cubicBezTo>
                      <a:pt x="26" y="30"/>
                      <a:pt x="26" y="30"/>
                      <a:pt x="26" y="30"/>
                    </a:cubicBezTo>
                    <a:cubicBezTo>
                      <a:pt x="27" y="35"/>
                      <a:pt x="27" y="39"/>
                      <a:pt x="24" y="41"/>
                    </a:cubicBezTo>
                    <a:cubicBezTo>
                      <a:pt x="22" y="42"/>
                      <a:pt x="19" y="42"/>
                      <a:pt x="17" y="41"/>
                    </a:cubicBezTo>
                    <a:cubicBezTo>
                      <a:pt x="15" y="40"/>
                      <a:pt x="13" y="38"/>
                      <a:pt x="11" y="35"/>
                    </a:cubicBezTo>
                    <a:cubicBezTo>
                      <a:pt x="7" y="28"/>
                      <a:pt x="7" y="22"/>
                      <a:pt x="11" y="18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0" y="20"/>
                      <a:pt x="0" y="28"/>
                      <a:pt x="5" y="38"/>
                    </a:cubicBezTo>
                    <a:cubicBezTo>
                      <a:pt x="8" y="43"/>
                      <a:pt x="12" y="46"/>
                      <a:pt x="16" y="48"/>
                    </a:cubicBezTo>
                    <a:cubicBezTo>
                      <a:pt x="21" y="50"/>
                      <a:pt x="24" y="49"/>
                      <a:pt x="28" y="47"/>
                    </a:cubicBezTo>
                    <a:cubicBezTo>
                      <a:pt x="35" y="43"/>
                      <a:pt x="36" y="36"/>
                      <a:pt x="33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38" name="Freeform 29"/>
              <p:cNvSpPr/>
              <p:nvPr/>
            </p:nvSpPr>
            <p:spPr bwMode="auto">
              <a:xfrm>
                <a:off x="1816100" y="4171951"/>
                <a:ext cx="200025" cy="187325"/>
              </a:xfrm>
              <a:custGeom>
                <a:avLst/>
                <a:gdLst>
                  <a:gd name="T0" fmla="*/ 33 w 53"/>
                  <a:gd name="T1" fmla="*/ 28 h 50"/>
                  <a:gd name="T2" fmla="*/ 30 w 53"/>
                  <a:gd name="T3" fmla="*/ 19 h 50"/>
                  <a:gd name="T4" fmla="*/ 31 w 53"/>
                  <a:gd name="T5" fmla="*/ 9 h 50"/>
                  <a:gd name="T6" fmla="*/ 37 w 53"/>
                  <a:gd name="T7" fmla="*/ 9 h 50"/>
                  <a:gd name="T8" fmla="*/ 43 w 53"/>
                  <a:gd name="T9" fmla="*/ 14 h 50"/>
                  <a:gd name="T10" fmla="*/ 43 w 53"/>
                  <a:gd name="T11" fmla="*/ 28 h 50"/>
                  <a:gd name="T12" fmla="*/ 48 w 53"/>
                  <a:gd name="T13" fmla="*/ 33 h 50"/>
                  <a:gd name="T14" fmla="*/ 48 w 53"/>
                  <a:gd name="T15" fmla="*/ 11 h 50"/>
                  <a:gd name="T16" fmla="*/ 38 w 53"/>
                  <a:gd name="T17" fmla="*/ 2 h 50"/>
                  <a:gd name="T18" fmla="*/ 27 w 53"/>
                  <a:gd name="T19" fmla="*/ 3 h 50"/>
                  <a:gd name="T20" fmla="*/ 21 w 53"/>
                  <a:gd name="T21" fmla="*/ 10 h 50"/>
                  <a:gd name="T22" fmla="*/ 22 w 53"/>
                  <a:gd name="T23" fmla="*/ 21 h 50"/>
                  <a:gd name="T24" fmla="*/ 26 w 53"/>
                  <a:gd name="T25" fmla="*/ 30 h 50"/>
                  <a:gd name="T26" fmla="*/ 24 w 53"/>
                  <a:gd name="T27" fmla="*/ 41 h 50"/>
                  <a:gd name="T28" fmla="*/ 17 w 53"/>
                  <a:gd name="T29" fmla="*/ 41 h 50"/>
                  <a:gd name="T30" fmla="*/ 11 w 53"/>
                  <a:gd name="T31" fmla="*/ 36 h 50"/>
                  <a:gd name="T32" fmla="*/ 11 w 53"/>
                  <a:gd name="T33" fmla="*/ 18 h 50"/>
                  <a:gd name="T34" fmla="*/ 6 w 53"/>
                  <a:gd name="T35" fmla="*/ 13 h 50"/>
                  <a:gd name="T36" fmla="*/ 6 w 53"/>
                  <a:gd name="T37" fmla="*/ 38 h 50"/>
                  <a:gd name="T38" fmla="*/ 17 w 53"/>
                  <a:gd name="T39" fmla="*/ 48 h 50"/>
                  <a:gd name="T40" fmla="*/ 29 w 53"/>
                  <a:gd name="T41" fmla="*/ 47 h 50"/>
                  <a:gd name="T42" fmla="*/ 33 w 53"/>
                  <a:gd name="T43" fmla="*/ 28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3" h="50">
                    <a:moveTo>
                      <a:pt x="33" y="28"/>
                    </a:moveTo>
                    <a:cubicBezTo>
                      <a:pt x="30" y="19"/>
                      <a:pt x="30" y="19"/>
                      <a:pt x="30" y="19"/>
                    </a:cubicBezTo>
                    <a:cubicBezTo>
                      <a:pt x="28" y="14"/>
                      <a:pt x="28" y="11"/>
                      <a:pt x="31" y="9"/>
                    </a:cubicBezTo>
                    <a:cubicBezTo>
                      <a:pt x="33" y="8"/>
                      <a:pt x="35" y="8"/>
                      <a:pt x="37" y="9"/>
                    </a:cubicBezTo>
                    <a:cubicBezTo>
                      <a:pt x="40" y="10"/>
                      <a:pt x="41" y="12"/>
                      <a:pt x="43" y="14"/>
                    </a:cubicBezTo>
                    <a:cubicBezTo>
                      <a:pt x="46" y="19"/>
                      <a:pt x="46" y="24"/>
                      <a:pt x="43" y="28"/>
                    </a:cubicBezTo>
                    <a:cubicBezTo>
                      <a:pt x="48" y="33"/>
                      <a:pt x="48" y="33"/>
                      <a:pt x="48" y="33"/>
                    </a:cubicBezTo>
                    <a:cubicBezTo>
                      <a:pt x="53" y="27"/>
                      <a:pt x="53" y="20"/>
                      <a:pt x="48" y="11"/>
                    </a:cubicBezTo>
                    <a:cubicBezTo>
                      <a:pt x="45" y="6"/>
                      <a:pt x="42" y="3"/>
                      <a:pt x="38" y="2"/>
                    </a:cubicBezTo>
                    <a:cubicBezTo>
                      <a:pt x="34" y="0"/>
                      <a:pt x="30" y="1"/>
                      <a:pt x="27" y="3"/>
                    </a:cubicBezTo>
                    <a:cubicBezTo>
                      <a:pt x="24" y="5"/>
                      <a:pt x="22" y="7"/>
                      <a:pt x="21" y="10"/>
                    </a:cubicBezTo>
                    <a:cubicBezTo>
                      <a:pt x="20" y="14"/>
                      <a:pt x="21" y="17"/>
                      <a:pt x="22" y="21"/>
                    </a:cubicBezTo>
                    <a:cubicBezTo>
                      <a:pt x="26" y="30"/>
                      <a:pt x="26" y="30"/>
                      <a:pt x="26" y="30"/>
                    </a:cubicBezTo>
                    <a:cubicBezTo>
                      <a:pt x="28" y="36"/>
                      <a:pt x="27" y="39"/>
                      <a:pt x="24" y="41"/>
                    </a:cubicBezTo>
                    <a:cubicBezTo>
                      <a:pt x="22" y="42"/>
                      <a:pt x="20" y="42"/>
                      <a:pt x="17" y="41"/>
                    </a:cubicBezTo>
                    <a:cubicBezTo>
                      <a:pt x="15" y="40"/>
                      <a:pt x="13" y="38"/>
                      <a:pt x="11" y="36"/>
                    </a:cubicBezTo>
                    <a:cubicBezTo>
                      <a:pt x="7" y="29"/>
                      <a:pt x="7" y="23"/>
                      <a:pt x="11" y="18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0" y="20"/>
                      <a:pt x="0" y="28"/>
                      <a:pt x="6" y="38"/>
                    </a:cubicBezTo>
                    <a:cubicBezTo>
                      <a:pt x="9" y="43"/>
                      <a:pt x="12" y="47"/>
                      <a:pt x="17" y="48"/>
                    </a:cubicBezTo>
                    <a:cubicBezTo>
                      <a:pt x="21" y="50"/>
                      <a:pt x="25" y="50"/>
                      <a:pt x="29" y="47"/>
                    </a:cubicBezTo>
                    <a:cubicBezTo>
                      <a:pt x="35" y="43"/>
                      <a:pt x="37" y="37"/>
                      <a:pt x="33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39" name="Freeform 30"/>
              <p:cNvSpPr/>
              <p:nvPr/>
            </p:nvSpPr>
            <p:spPr bwMode="auto">
              <a:xfrm>
                <a:off x="2786063" y="4097338"/>
                <a:ext cx="139700" cy="168275"/>
              </a:xfrm>
              <a:custGeom>
                <a:avLst/>
                <a:gdLst>
                  <a:gd name="T0" fmla="*/ 0 w 88"/>
                  <a:gd name="T1" fmla="*/ 99 h 106"/>
                  <a:gd name="T2" fmla="*/ 10 w 88"/>
                  <a:gd name="T3" fmla="*/ 106 h 106"/>
                  <a:gd name="T4" fmla="*/ 88 w 88"/>
                  <a:gd name="T5" fmla="*/ 9 h 106"/>
                  <a:gd name="T6" fmla="*/ 76 w 88"/>
                  <a:gd name="T7" fmla="*/ 0 h 106"/>
                  <a:gd name="T8" fmla="*/ 0 w 88"/>
                  <a:gd name="T9" fmla="*/ 99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106">
                    <a:moveTo>
                      <a:pt x="0" y="99"/>
                    </a:moveTo>
                    <a:lnTo>
                      <a:pt x="10" y="106"/>
                    </a:lnTo>
                    <a:lnTo>
                      <a:pt x="88" y="9"/>
                    </a:lnTo>
                    <a:lnTo>
                      <a:pt x="76" y="0"/>
                    </a:lnTo>
                    <a:lnTo>
                      <a:pt x="0" y="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40" name="Freeform 31"/>
              <p:cNvSpPr/>
              <p:nvPr/>
            </p:nvSpPr>
            <p:spPr bwMode="auto">
              <a:xfrm>
                <a:off x="2854325" y="4179888"/>
                <a:ext cx="165100" cy="187325"/>
              </a:xfrm>
              <a:custGeom>
                <a:avLst/>
                <a:gdLst>
                  <a:gd name="T0" fmla="*/ 26 w 44"/>
                  <a:gd name="T1" fmla="*/ 33 h 50"/>
                  <a:gd name="T2" fmla="*/ 21 w 44"/>
                  <a:gd name="T3" fmla="*/ 37 h 50"/>
                  <a:gd name="T4" fmla="*/ 15 w 44"/>
                  <a:gd name="T5" fmla="*/ 38 h 50"/>
                  <a:gd name="T6" fmla="*/ 9 w 44"/>
                  <a:gd name="T7" fmla="*/ 36 h 50"/>
                  <a:gd name="T8" fmla="*/ 7 w 44"/>
                  <a:gd name="T9" fmla="*/ 31 h 50"/>
                  <a:gd name="T10" fmla="*/ 10 w 44"/>
                  <a:gd name="T11" fmla="*/ 23 h 50"/>
                  <a:gd name="T12" fmla="*/ 25 w 44"/>
                  <a:gd name="T13" fmla="*/ 4 h 50"/>
                  <a:gd name="T14" fmla="*/ 20 w 44"/>
                  <a:gd name="T15" fmla="*/ 0 h 50"/>
                  <a:gd name="T16" fmla="*/ 5 w 44"/>
                  <a:gd name="T17" fmla="*/ 20 h 50"/>
                  <a:gd name="T18" fmla="*/ 0 w 44"/>
                  <a:gd name="T19" fmla="*/ 31 h 50"/>
                  <a:gd name="T20" fmla="*/ 5 w 44"/>
                  <a:gd name="T21" fmla="*/ 40 h 50"/>
                  <a:gd name="T22" fmla="*/ 21 w 44"/>
                  <a:gd name="T23" fmla="*/ 41 h 50"/>
                  <a:gd name="T24" fmla="*/ 16 w 44"/>
                  <a:gd name="T25" fmla="*/ 47 h 50"/>
                  <a:gd name="T26" fmla="*/ 20 w 44"/>
                  <a:gd name="T27" fmla="*/ 50 h 50"/>
                  <a:gd name="T28" fmla="*/ 44 w 44"/>
                  <a:gd name="T29" fmla="*/ 19 h 50"/>
                  <a:gd name="T30" fmla="*/ 40 w 44"/>
                  <a:gd name="T31" fmla="*/ 15 h 50"/>
                  <a:gd name="T32" fmla="*/ 26 w 44"/>
                  <a:gd name="T33" fmla="*/ 3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4" h="50">
                    <a:moveTo>
                      <a:pt x="26" y="33"/>
                    </a:moveTo>
                    <a:cubicBezTo>
                      <a:pt x="25" y="35"/>
                      <a:pt x="23" y="36"/>
                      <a:pt x="21" y="37"/>
                    </a:cubicBezTo>
                    <a:cubicBezTo>
                      <a:pt x="19" y="38"/>
                      <a:pt x="17" y="38"/>
                      <a:pt x="15" y="38"/>
                    </a:cubicBezTo>
                    <a:cubicBezTo>
                      <a:pt x="13" y="38"/>
                      <a:pt x="11" y="38"/>
                      <a:pt x="9" y="36"/>
                    </a:cubicBezTo>
                    <a:cubicBezTo>
                      <a:pt x="8" y="35"/>
                      <a:pt x="7" y="33"/>
                      <a:pt x="7" y="31"/>
                    </a:cubicBezTo>
                    <a:cubicBezTo>
                      <a:pt x="6" y="29"/>
                      <a:pt x="7" y="27"/>
                      <a:pt x="10" y="23"/>
                    </a:cubicBezTo>
                    <a:cubicBezTo>
                      <a:pt x="25" y="4"/>
                      <a:pt x="25" y="4"/>
                      <a:pt x="25" y="4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5" y="20"/>
                      <a:pt x="5" y="20"/>
                      <a:pt x="5" y="20"/>
                    </a:cubicBezTo>
                    <a:cubicBezTo>
                      <a:pt x="2" y="24"/>
                      <a:pt x="0" y="27"/>
                      <a:pt x="0" y="31"/>
                    </a:cubicBezTo>
                    <a:cubicBezTo>
                      <a:pt x="1" y="34"/>
                      <a:pt x="2" y="37"/>
                      <a:pt x="5" y="40"/>
                    </a:cubicBezTo>
                    <a:cubicBezTo>
                      <a:pt x="10" y="43"/>
                      <a:pt x="15" y="43"/>
                      <a:pt x="21" y="41"/>
                    </a:cubicBezTo>
                    <a:cubicBezTo>
                      <a:pt x="16" y="47"/>
                      <a:pt x="16" y="47"/>
                      <a:pt x="16" y="47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0" y="15"/>
                      <a:pt x="40" y="15"/>
                      <a:pt x="40" y="15"/>
                    </a:cubicBezTo>
                    <a:lnTo>
                      <a:pt x="26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41" name="Freeform 32"/>
              <p:cNvSpPr/>
              <p:nvPr/>
            </p:nvSpPr>
            <p:spPr bwMode="auto">
              <a:xfrm>
                <a:off x="2981325" y="4292601"/>
                <a:ext cx="142875" cy="149225"/>
              </a:xfrm>
              <a:custGeom>
                <a:avLst/>
                <a:gdLst>
                  <a:gd name="T0" fmla="*/ 28 w 38"/>
                  <a:gd name="T1" fmla="*/ 8 h 40"/>
                  <a:gd name="T2" fmla="*/ 30 w 38"/>
                  <a:gd name="T3" fmla="*/ 22 h 40"/>
                  <a:gd name="T4" fmla="*/ 35 w 38"/>
                  <a:gd name="T5" fmla="*/ 24 h 40"/>
                  <a:gd name="T6" fmla="*/ 37 w 38"/>
                  <a:gd name="T7" fmla="*/ 14 h 40"/>
                  <a:gd name="T8" fmla="*/ 31 w 38"/>
                  <a:gd name="T9" fmla="*/ 4 h 40"/>
                  <a:gd name="T10" fmla="*/ 18 w 38"/>
                  <a:gd name="T11" fmla="*/ 1 h 40"/>
                  <a:gd name="T12" fmla="*/ 5 w 38"/>
                  <a:gd name="T13" fmla="*/ 10 h 40"/>
                  <a:gd name="T14" fmla="*/ 0 w 38"/>
                  <a:gd name="T15" fmla="*/ 24 h 40"/>
                  <a:gd name="T16" fmla="*/ 6 w 38"/>
                  <a:gd name="T17" fmla="*/ 37 h 40"/>
                  <a:gd name="T18" fmla="*/ 16 w 38"/>
                  <a:gd name="T19" fmla="*/ 40 h 40"/>
                  <a:gd name="T20" fmla="*/ 26 w 38"/>
                  <a:gd name="T21" fmla="*/ 35 h 40"/>
                  <a:gd name="T22" fmla="*/ 23 w 38"/>
                  <a:gd name="T23" fmla="*/ 31 h 40"/>
                  <a:gd name="T24" fmla="*/ 9 w 38"/>
                  <a:gd name="T25" fmla="*/ 33 h 40"/>
                  <a:gd name="T26" fmla="*/ 6 w 38"/>
                  <a:gd name="T27" fmla="*/ 25 h 40"/>
                  <a:gd name="T28" fmla="*/ 11 w 38"/>
                  <a:gd name="T29" fmla="*/ 14 h 40"/>
                  <a:gd name="T30" fmla="*/ 20 w 38"/>
                  <a:gd name="T31" fmla="*/ 7 h 40"/>
                  <a:gd name="T32" fmla="*/ 28 w 38"/>
                  <a:gd name="T33" fmla="*/ 8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8" h="40">
                    <a:moveTo>
                      <a:pt x="28" y="8"/>
                    </a:moveTo>
                    <a:cubicBezTo>
                      <a:pt x="33" y="12"/>
                      <a:pt x="33" y="16"/>
                      <a:pt x="30" y="22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37" y="21"/>
                      <a:pt x="38" y="17"/>
                      <a:pt x="37" y="14"/>
                    </a:cubicBezTo>
                    <a:cubicBezTo>
                      <a:pt x="37" y="10"/>
                      <a:pt x="35" y="7"/>
                      <a:pt x="31" y="4"/>
                    </a:cubicBezTo>
                    <a:cubicBezTo>
                      <a:pt x="27" y="1"/>
                      <a:pt x="23" y="0"/>
                      <a:pt x="18" y="1"/>
                    </a:cubicBezTo>
                    <a:cubicBezTo>
                      <a:pt x="13" y="3"/>
                      <a:pt x="9" y="6"/>
                      <a:pt x="5" y="10"/>
                    </a:cubicBezTo>
                    <a:cubicBezTo>
                      <a:pt x="2" y="15"/>
                      <a:pt x="0" y="19"/>
                      <a:pt x="0" y="24"/>
                    </a:cubicBezTo>
                    <a:cubicBezTo>
                      <a:pt x="0" y="29"/>
                      <a:pt x="2" y="33"/>
                      <a:pt x="6" y="37"/>
                    </a:cubicBezTo>
                    <a:cubicBezTo>
                      <a:pt x="9" y="39"/>
                      <a:pt x="12" y="40"/>
                      <a:pt x="16" y="40"/>
                    </a:cubicBezTo>
                    <a:cubicBezTo>
                      <a:pt x="20" y="40"/>
                      <a:pt x="23" y="38"/>
                      <a:pt x="26" y="35"/>
                    </a:cubicBezTo>
                    <a:cubicBezTo>
                      <a:pt x="23" y="31"/>
                      <a:pt x="23" y="31"/>
                      <a:pt x="23" y="31"/>
                    </a:cubicBezTo>
                    <a:cubicBezTo>
                      <a:pt x="17" y="35"/>
                      <a:pt x="13" y="36"/>
                      <a:pt x="9" y="33"/>
                    </a:cubicBezTo>
                    <a:cubicBezTo>
                      <a:pt x="6" y="31"/>
                      <a:pt x="5" y="28"/>
                      <a:pt x="6" y="25"/>
                    </a:cubicBezTo>
                    <a:cubicBezTo>
                      <a:pt x="6" y="22"/>
                      <a:pt x="8" y="18"/>
                      <a:pt x="11" y="14"/>
                    </a:cubicBezTo>
                    <a:cubicBezTo>
                      <a:pt x="14" y="10"/>
                      <a:pt x="17" y="8"/>
                      <a:pt x="20" y="7"/>
                    </a:cubicBezTo>
                    <a:cubicBezTo>
                      <a:pt x="23" y="6"/>
                      <a:pt x="26" y="6"/>
                      <a:pt x="28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42" name="Freeform 33"/>
              <p:cNvSpPr/>
              <p:nvPr/>
            </p:nvSpPr>
            <p:spPr bwMode="auto">
              <a:xfrm>
                <a:off x="3076575" y="4325938"/>
                <a:ext cx="179388" cy="228600"/>
              </a:xfrm>
              <a:custGeom>
                <a:avLst/>
                <a:gdLst>
                  <a:gd name="T0" fmla="*/ 71 w 113"/>
                  <a:gd name="T1" fmla="*/ 78 h 144"/>
                  <a:gd name="T2" fmla="*/ 113 w 113"/>
                  <a:gd name="T3" fmla="*/ 71 h 144"/>
                  <a:gd name="T4" fmla="*/ 102 w 113"/>
                  <a:gd name="T5" fmla="*/ 62 h 144"/>
                  <a:gd name="T6" fmla="*/ 38 w 113"/>
                  <a:gd name="T7" fmla="*/ 71 h 144"/>
                  <a:gd name="T8" fmla="*/ 87 w 113"/>
                  <a:gd name="T9" fmla="*/ 9 h 144"/>
                  <a:gd name="T10" fmla="*/ 78 w 113"/>
                  <a:gd name="T11" fmla="*/ 0 h 144"/>
                  <a:gd name="T12" fmla="*/ 0 w 113"/>
                  <a:gd name="T13" fmla="*/ 97 h 144"/>
                  <a:gd name="T14" fmla="*/ 12 w 113"/>
                  <a:gd name="T15" fmla="*/ 107 h 144"/>
                  <a:gd name="T16" fmla="*/ 28 w 113"/>
                  <a:gd name="T17" fmla="*/ 85 h 144"/>
                  <a:gd name="T18" fmla="*/ 59 w 113"/>
                  <a:gd name="T19" fmla="*/ 78 h 144"/>
                  <a:gd name="T20" fmla="*/ 47 w 113"/>
                  <a:gd name="T21" fmla="*/ 135 h 144"/>
                  <a:gd name="T22" fmla="*/ 59 w 113"/>
                  <a:gd name="T23" fmla="*/ 144 h 144"/>
                  <a:gd name="T24" fmla="*/ 71 w 113"/>
                  <a:gd name="T25" fmla="*/ 78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3" h="144">
                    <a:moveTo>
                      <a:pt x="71" y="78"/>
                    </a:moveTo>
                    <a:lnTo>
                      <a:pt x="113" y="71"/>
                    </a:lnTo>
                    <a:lnTo>
                      <a:pt x="102" y="62"/>
                    </a:lnTo>
                    <a:lnTo>
                      <a:pt x="38" y="71"/>
                    </a:lnTo>
                    <a:lnTo>
                      <a:pt x="87" y="9"/>
                    </a:lnTo>
                    <a:lnTo>
                      <a:pt x="78" y="0"/>
                    </a:lnTo>
                    <a:lnTo>
                      <a:pt x="0" y="97"/>
                    </a:lnTo>
                    <a:lnTo>
                      <a:pt x="12" y="107"/>
                    </a:lnTo>
                    <a:lnTo>
                      <a:pt x="28" y="85"/>
                    </a:lnTo>
                    <a:lnTo>
                      <a:pt x="59" y="78"/>
                    </a:lnTo>
                    <a:lnTo>
                      <a:pt x="47" y="135"/>
                    </a:lnTo>
                    <a:lnTo>
                      <a:pt x="59" y="144"/>
                    </a:lnTo>
                    <a:lnTo>
                      <a:pt x="71" y="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43" name="Freeform 34"/>
              <p:cNvSpPr>
                <a:spLocks noEditPoints="1"/>
              </p:cNvSpPr>
              <p:nvPr/>
            </p:nvSpPr>
            <p:spPr bwMode="auto">
              <a:xfrm>
                <a:off x="1279525" y="1268413"/>
                <a:ext cx="239713" cy="338138"/>
              </a:xfrm>
              <a:custGeom>
                <a:avLst/>
                <a:gdLst>
                  <a:gd name="T0" fmla="*/ 47 w 64"/>
                  <a:gd name="T1" fmla="*/ 59 h 90"/>
                  <a:gd name="T2" fmla="*/ 33 w 64"/>
                  <a:gd name="T3" fmla="*/ 56 h 90"/>
                  <a:gd name="T4" fmla="*/ 18 w 64"/>
                  <a:gd name="T5" fmla="*/ 52 h 90"/>
                  <a:gd name="T6" fmla="*/ 15 w 64"/>
                  <a:gd name="T7" fmla="*/ 47 h 90"/>
                  <a:gd name="T8" fmla="*/ 18 w 64"/>
                  <a:gd name="T9" fmla="*/ 44 h 90"/>
                  <a:gd name="T10" fmla="*/ 22 w 64"/>
                  <a:gd name="T11" fmla="*/ 43 h 90"/>
                  <a:gd name="T12" fmla="*/ 26 w 64"/>
                  <a:gd name="T13" fmla="*/ 44 h 90"/>
                  <a:gd name="T14" fmla="*/ 30 w 64"/>
                  <a:gd name="T15" fmla="*/ 45 h 90"/>
                  <a:gd name="T16" fmla="*/ 47 w 64"/>
                  <a:gd name="T17" fmla="*/ 41 h 90"/>
                  <a:gd name="T18" fmla="*/ 55 w 64"/>
                  <a:gd name="T19" fmla="*/ 28 h 90"/>
                  <a:gd name="T20" fmla="*/ 51 w 64"/>
                  <a:gd name="T21" fmla="*/ 13 h 90"/>
                  <a:gd name="T22" fmla="*/ 55 w 64"/>
                  <a:gd name="T23" fmla="*/ 8 h 90"/>
                  <a:gd name="T24" fmla="*/ 63 w 64"/>
                  <a:gd name="T25" fmla="*/ 8 h 90"/>
                  <a:gd name="T26" fmla="*/ 64 w 64"/>
                  <a:gd name="T27" fmla="*/ 1 h 90"/>
                  <a:gd name="T28" fmla="*/ 62 w 64"/>
                  <a:gd name="T29" fmla="*/ 0 h 90"/>
                  <a:gd name="T30" fmla="*/ 52 w 64"/>
                  <a:gd name="T31" fmla="*/ 1 h 90"/>
                  <a:gd name="T32" fmla="*/ 47 w 64"/>
                  <a:gd name="T33" fmla="*/ 9 h 90"/>
                  <a:gd name="T34" fmla="*/ 35 w 64"/>
                  <a:gd name="T35" fmla="*/ 4 h 90"/>
                  <a:gd name="T36" fmla="*/ 18 w 64"/>
                  <a:gd name="T37" fmla="*/ 8 h 90"/>
                  <a:gd name="T38" fmla="*/ 10 w 64"/>
                  <a:gd name="T39" fmla="*/ 21 h 90"/>
                  <a:gd name="T40" fmla="*/ 16 w 64"/>
                  <a:gd name="T41" fmla="*/ 38 h 90"/>
                  <a:gd name="T42" fmla="*/ 6 w 64"/>
                  <a:gd name="T43" fmla="*/ 47 h 90"/>
                  <a:gd name="T44" fmla="*/ 11 w 64"/>
                  <a:gd name="T45" fmla="*/ 58 h 90"/>
                  <a:gd name="T46" fmla="*/ 0 w 64"/>
                  <a:gd name="T47" fmla="*/ 68 h 90"/>
                  <a:gd name="T48" fmla="*/ 5 w 64"/>
                  <a:gd name="T49" fmla="*/ 80 h 90"/>
                  <a:gd name="T50" fmla="*/ 25 w 64"/>
                  <a:gd name="T51" fmla="*/ 87 h 90"/>
                  <a:gd name="T52" fmla="*/ 57 w 64"/>
                  <a:gd name="T53" fmla="*/ 74 h 90"/>
                  <a:gd name="T54" fmla="*/ 55 w 64"/>
                  <a:gd name="T55" fmla="*/ 65 h 90"/>
                  <a:gd name="T56" fmla="*/ 47 w 64"/>
                  <a:gd name="T57" fmla="*/ 59 h 90"/>
                  <a:gd name="T58" fmla="*/ 25 w 64"/>
                  <a:gd name="T59" fmla="*/ 14 h 90"/>
                  <a:gd name="T60" fmla="*/ 34 w 64"/>
                  <a:gd name="T61" fmla="*/ 12 h 90"/>
                  <a:gd name="T62" fmla="*/ 43 w 64"/>
                  <a:gd name="T63" fmla="*/ 16 h 90"/>
                  <a:gd name="T64" fmla="*/ 46 w 64"/>
                  <a:gd name="T65" fmla="*/ 27 h 90"/>
                  <a:gd name="T66" fmla="*/ 41 w 64"/>
                  <a:gd name="T67" fmla="*/ 35 h 90"/>
                  <a:gd name="T68" fmla="*/ 31 w 64"/>
                  <a:gd name="T69" fmla="*/ 38 h 90"/>
                  <a:gd name="T70" fmla="*/ 22 w 64"/>
                  <a:gd name="T71" fmla="*/ 33 h 90"/>
                  <a:gd name="T72" fmla="*/ 19 w 64"/>
                  <a:gd name="T73" fmla="*/ 23 h 90"/>
                  <a:gd name="T74" fmla="*/ 25 w 64"/>
                  <a:gd name="T75" fmla="*/ 14 h 90"/>
                  <a:gd name="T76" fmla="*/ 41 w 64"/>
                  <a:gd name="T77" fmla="*/ 80 h 90"/>
                  <a:gd name="T78" fmla="*/ 27 w 64"/>
                  <a:gd name="T79" fmla="*/ 80 h 90"/>
                  <a:gd name="T80" fmla="*/ 14 w 64"/>
                  <a:gd name="T81" fmla="*/ 76 h 90"/>
                  <a:gd name="T82" fmla="*/ 9 w 64"/>
                  <a:gd name="T83" fmla="*/ 68 h 90"/>
                  <a:gd name="T84" fmla="*/ 17 w 64"/>
                  <a:gd name="T85" fmla="*/ 61 h 90"/>
                  <a:gd name="T86" fmla="*/ 31 w 64"/>
                  <a:gd name="T87" fmla="*/ 64 h 90"/>
                  <a:gd name="T88" fmla="*/ 42 w 64"/>
                  <a:gd name="T89" fmla="*/ 66 h 90"/>
                  <a:gd name="T90" fmla="*/ 47 w 64"/>
                  <a:gd name="T91" fmla="*/ 69 h 90"/>
                  <a:gd name="T92" fmla="*/ 48 w 64"/>
                  <a:gd name="T93" fmla="*/ 74 h 90"/>
                  <a:gd name="T94" fmla="*/ 41 w 64"/>
                  <a:gd name="T95" fmla="*/ 8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4" h="90">
                    <a:moveTo>
                      <a:pt x="47" y="59"/>
                    </a:moveTo>
                    <a:cubicBezTo>
                      <a:pt x="44" y="58"/>
                      <a:pt x="39" y="57"/>
                      <a:pt x="33" y="56"/>
                    </a:cubicBezTo>
                    <a:cubicBezTo>
                      <a:pt x="25" y="54"/>
                      <a:pt x="20" y="53"/>
                      <a:pt x="18" y="52"/>
                    </a:cubicBezTo>
                    <a:cubicBezTo>
                      <a:pt x="16" y="51"/>
                      <a:pt x="15" y="50"/>
                      <a:pt x="15" y="47"/>
                    </a:cubicBezTo>
                    <a:cubicBezTo>
                      <a:pt x="15" y="46"/>
                      <a:pt x="16" y="44"/>
                      <a:pt x="18" y="44"/>
                    </a:cubicBezTo>
                    <a:cubicBezTo>
                      <a:pt x="19" y="43"/>
                      <a:pt x="21" y="42"/>
                      <a:pt x="22" y="43"/>
                    </a:cubicBezTo>
                    <a:cubicBezTo>
                      <a:pt x="22" y="43"/>
                      <a:pt x="24" y="43"/>
                      <a:pt x="26" y="44"/>
                    </a:cubicBezTo>
                    <a:cubicBezTo>
                      <a:pt x="27" y="44"/>
                      <a:pt x="28" y="44"/>
                      <a:pt x="30" y="45"/>
                    </a:cubicBezTo>
                    <a:cubicBezTo>
                      <a:pt x="37" y="46"/>
                      <a:pt x="42" y="44"/>
                      <a:pt x="47" y="41"/>
                    </a:cubicBezTo>
                    <a:cubicBezTo>
                      <a:pt x="51" y="38"/>
                      <a:pt x="54" y="33"/>
                      <a:pt x="55" y="28"/>
                    </a:cubicBezTo>
                    <a:cubicBezTo>
                      <a:pt x="55" y="23"/>
                      <a:pt x="54" y="18"/>
                      <a:pt x="51" y="13"/>
                    </a:cubicBezTo>
                    <a:cubicBezTo>
                      <a:pt x="52" y="11"/>
                      <a:pt x="53" y="9"/>
                      <a:pt x="55" y="8"/>
                    </a:cubicBezTo>
                    <a:cubicBezTo>
                      <a:pt x="56" y="7"/>
                      <a:pt x="59" y="7"/>
                      <a:pt x="63" y="8"/>
                    </a:cubicBezTo>
                    <a:cubicBezTo>
                      <a:pt x="64" y="1"/>
                      <a:pt x="64" y="1"/>
                      <a:pt x="64" y="1"/>
                    </a:cubicBezTo>
                    <a:cubicBezTo>
                      <a:pt x="63" y="0"/>
                      <a:pt x="62" y="0"/>
                      <a:pt x="62" y="0"/>
                    </a:cubicBezTo>
                    <a:cubicBezTo>
                      <a:pt x="57" y="0"/>
                      <a:pt x="54" y="0"/>
                      <a:pt x="52" y="1"/>
                    </a:cubicBezTo>
                    <a:cubicBezTo>
                      <a:pt x="50" y="2"/>
                      <a:pt x="48" y="5"/>
                      <a:pt x="47" y="9"/>
                    </a:cubicBezTo>
                    <a:cubicBezTo>
                      <a:pt x="43" y="6"/>
                      <a:pt x="39" y="5"/>
                      <a:pt x="35" y="4"/>
                    </a:cubicBezTo>
                    <a:cubicBezTo>
                      <a:pt x="29" y="4"/>
                      <a:pt x="23" y="5"/>
                      <a:pt x="18" y="8"/>
                    </a:cubicBezTo>
                    <a:cubicBezTo>
                      <a:pt x="14" y="11"/>
                      <a:pt x="11" y="16"/>
                      <a:pt x="10" y="21"/>
                    </a:cubicBezTo>
                    <a:cubicBezTo>
                      <a:pt x="9" y="28"/>
                      <a:pt x="11" y="33"/>
                      <a:pt x="16" y="38"/>
                    </a:cubicBezTo>
                    <a:cubicBezTo>
                      <a:pt x="10" y="40"/>
                      <a:pt x="7" y="43"/>
                      <a:pt x="6" y="47"/>
                    </a:cubicBezTo>
                    <a:cubicBezTo>
                      <a:pt x="6" y="51"/>
                      <a:pt x="7" y="55"/>
                      <a:pt x="11" y="58"/>
                    </a:cubicBezTo>
                    <a:cubicBezTo>
                      <a:pt x="4" y="59"/>
                      <a:pt x="1" y="63"/>
                      <a:pt x="0" y="68"/>
                    </a:cubicBezTo>
                    <a:cubicBezTo>
                      <a:pt x="0" y="73"/>
                      <a:pt x="1" y="77"/>
                      <a:pt x="5" y="80"/>
                    </a:cubicBezTo>
                    <a:cubicBezTo>
                      <a:pt x="9" y="84"/>
                      <a:pt x="16" y="86"/>
                      <a:pt x="25" y="87"/>
                    </a:cubicBezTo>
                    <a:cubicBezTo>
                      <a:pt x="45" y="90"/>
                      <a:pt x="55" y="85"/>
                      <a:pt x="57" y="74"/>
                    </a:cubicBezTo>
                    <a:cubicBezTo>
                      <a:pt x="57" y="71"/>
                      <a:pt x="57" y="67"/>
                      <a:pt x="55" y="65"/>
                    </a:cubicBezTo>
                    <a:cubicBezTo>
                      <a:pt x="53" y="62"/>
                      <a:pt x="50" y="60"/>
                      <a:pt x="47" y="59"/>
                    </a:cubicBezTo>
                    <a:close/>
                    <a:moveTo>
                      <a:pt x="25" y="14"/>
                    </a:moveTo>
                    <a:cubicBezTo>
                      <a:pt x="28" y="12"/>
                      <a:pt x="31" y="11"/>
                      <a:pt x="34" y="12"/>
                    </a:cubicBezTo>
                    <a:cubicBezTo>
                      <a:pt x="38" y="12"/>
                      <a:pt x="41" y="14"/>
                      <a:pt x="43" y="16"/>
                    </a:cubicBezTo>
                    <a:cubicBezTo>
                      <a:pt x="45" y="19"/>
                      <a:pt x="46" y="23"/>
                      <a:pt x="46" y="27"/>
                    </a:cubicBezTo>
                    <a:cubicBezTo>
                      <a:pt x="45" y="30"/>
                      <a:pt x="44" y="33"/>
                      <a:pt x="41" y="35"/>
                    </a:cubicBezTo>
                    <a:cubicBezTo>
                      <a:pt x="38" y="37"/>
                      <a:pt x="35" y="38"/>
                      <a:pt x="31" y="38"/>
                    </a:cubicBezTo>
                    <a:cubicBezTo>
                      <a:pt x="27" y="37"/>
                      <a:pt x="24" y="36"/>
                      <a:pt x="22" y="33"/>
                    </a:cubicBezTo>
                    <a:cubicBezTo>
                      <a:pt x="20" y="30"/>
                      <a:pt x="19" y="27"/>
                      <a:pt x="19" y="23"/>
                    </a:cubicBezTo>
                    <a:cubicBezTo>
                      <a:pt x="20" y="19"/>
                      <a:pt x="22" y="16"/>
                      <a:pt x="25" y="14"/>
                    </a:cubicBezTo>
                    <a:close/>
                    <a:moveTo>
                      <a:pt x="41" y="80"/>
                    </a:moveTo>
                    <a:cubicBezTo>
                      <a:pt x="36" y="81"/>
                      <a:pt x="32" y="81"/>
                      <a:pt x="27" y="80"/>
                    </a:cubicBezTo>
                    <a:cubicBezTo>
                      <a:pt x="21" y="80"/>
                      <a:pt x="17" y="78"/>
                      <a:pt x="14" y="76"/>
                    </a:cubicBezTo>
                    <a:cubicBezTo>
                      <a:pt x="10" y="74"/>
                      <a:pt x="9" y="71"/>
                      <a:pt x="9" y="68"/>
                    </a:cubicBezTo>
                    <a:cubicBezTo>
                      <a:pt x="10" y="65"/>
                      <a:pt x="12" y="62"/>
                      <a:pt x="17" y="61"/>
                    </a:cubicBezTo>
                    <a:cubicBezTo>
                      <a:pt x="20" y="62"/>
                      <a:pt x="24" y="63"/>
                      <a:pt x="31" y="64"/>
                    </a:cubicBezTo>
                    <a:cubicBezTo>
                      <a:pt x="36" y="65"/>
                      <a:pt x="40" y="65"/>
                      <a:pt x="42" y="66"/>
                    </a:cubicBezTo>
                    <a:cubicBezTo>
                      <a:pt x="44" y="67"/>
                      <a:pt x="46" y="67"/>
                      <a:pt x="47" y="69"/>
                    </a:cubicBezTo>
                    <a:cubicBezTo>
                      <a:pt x="48" y="70"/>
                      <a:pt x="48" y="72"/>
                      <a:pt x="48" y="74"/>
                    </a:cubicBezTo>
                    <a:cubicBezTo>
                      <a:pt x="48" y="77"/>
                      <a:pt x="45" y="79"/>
                      <a:pt x="41" y="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44" name="Freeform 35"/>
              <p:cNvSpPr/>
              <p:nvPr/>
            </p:nvSpPr>
            <p:spPr bwMode="auto">
              <a:xfrm>
                <a:off x="1527175" y="1309688"/>
                <a:ext cx="139700" cy="225425"/>
              </a:xfrm>
              <a:custGeom>
                <a:avLst/>
                <a:gdLst>
                  <a:gd name="T0" fmla="*/ 24 w 37"/>
                  <a:gd name="T1" fmla="*/ 3 h 60"/>
                  <a:gd name="T2" fmla="*/ 14 w 37"/>
                  <a:gd name="T3" fmla="*/ 15 h 60"/>
                  <a:gd name="T4" fmla="*/ 15 w 37"/>
                  <a:gd name="T5" fmla="*/ 1 h 60"/>
                  <a:gd name="T6" fmla="*/ 7 w 37"/>
                  <a:gd name="T7" fmla="*/ 0 h 60"/>
                  <a:gd name="T8" fmla="*/ 0 w 37"/>
                  <a:gd name="T9" fmla="*/ 59 h 60"/>
                  <a:gd name="T10" fmla="*/ 9 w 37"/>
                  <a:gd name="T11" fmla="*/ 60 h 60"/>
                  <a:gd name="T12" fmla="*/ 13 w 37"/>
                  <a:gd name="T13" fmla="*/ 29 h 60"/>
                  <a:gd name="T14" fmla="*/ 20 w 37"/>
                  <a:gd name="T15" fmla="*/ 15 h 60"/>
                  <a:gd name="T16" fmla="*/ 34 w 37"/>
                  <a:gd name="T17" fmla="*/ 11 h 60"/>
                  <a:gd name="T18" fmla="*/ 35 w 37"/>
                  <a:gd name="T19" fmla="*/ 11 h 60"/>
                  <a:gd name="T20" fmla="*/ 37 w 37"/>
                  <a:gd name="T21" fmla="*/ 2 h 60"/>
                  <a:gd name="T22" fmla="*/ 33 w 37"/>
                  <a:gd name="T23" fmla="*/ 2 h 60"/>
                  <a:gd name="T24" fmla="*/ 24 w 37"/>
                  <a:gd name="T25" fmla="*/ 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7" h="60">
                    <a:moveTo>
                      <a:pt x="24" y="3"/>
                    </a:moveTo>
                    <a:cubicBezTo>
                      <a:pt x="21" y="5"/>
                      <a:pt x="17" y="9"/>
                      <a:pt x="14" y="15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0" y="59"/>
                      <a:pt x="0" y="59"/>
                      <a:pt x="0" y="59"/>
                    </a:cubicBezTo>
                    <a:cubicBezTo>
                      <a:pt x="9" y="60"/>
                      <a:pt x="9" y="60"/>
                      <a:pt x="9" y="60"/>
                    </a:cubicBezTo>
                    <a:cubicBezTo>
                      <a:pt x="13" y="29"/>
                      <a:pt x="13" y="29"/>
                      <a:pt x="13" y="29"/>
                    </a:cubicBezTo>
                    <a:cubicBezTo>
                      <a:pt x="14" y="23"/>
                      <a:pt x="16" y="18"/>
                      <a:pt x="20" y="15"/>
                    </a:cubicBezTo>
                    <a:cubicBezTo>
                      <a:pt x="24" y="11"/>
                      <a:pt x="29" y="10"/>
                      <a:pt x="34" y="11"/>
                    </a:cubicBezTo>
                    <a:cubicBezTo>
                      <a:pt x="35" y="11"/>
                      <a:pt x="35" y="11"/>
                      <a:pt x="35" y="11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5" y="2"/>
                      <a:pt x="34" y="2"/>
                      <a:pt x="33" y="2"/>
                    </a:cubicBezTo>
                    <a:cubicBezTo>
                      <a:pt x="30" y="1"/>
                      <a:pt x="27" y="2"/>
                      <a:pt x="2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45" name="Freeform 36"/>
              <p:cNvSpPr>
                <a:spLocks noEditPoints="1"/>
              </p:cNvSpPr>
              <p:nvPr/>
            </p:nvSpPr>
            <p:spPr bwMode="auto">
              <a:xfrm>
                <a:off x="1658938" y="1323976"/>
                <a:ext cx="206375" cy="247650"/>
              </a:xfrm>
              <a:custGeom>
                <a:avLst/>
                <a:gdLst>
                  <a:gd name="T0" fmla="*/ 54 w 55"/>
                  <a:gd name="T1" fmla="*/ 29 h 66"/>
                  <a:gd name="T2" fmla="*/ 51 w 55"/>
                  <a:gd name="T3" fmla="*/ 10 h 66"/>
                  <a:gd name="T4" fmla="*/ 34 w 55"/>
                  <a:gd name="T5" fmla="*/ 2 h 66"/>
                  <a:gd name="T6" fmla="*/ 6 w 55"/>
                  <a:gd name="T7" fmla="*/ 15 h 66"/>
                  <a:gd name="T8" fmla="*/ 15 w 55"/>
                  <a:gd name="T9" fmla="*/ 18 h 66"/>
                  <a:gd name="T10" fmla="*/ 32 w 55"/>
                  <a:gd name="T11" fmla="*/ 9 h 66"/>
                  <a:gd name="T12" fmla="*/ 41 w 55"/>
                  <a:gd name="T13" fmla="*/ 12 h 66"/>
                  <a:gd name="T14" fmla="*/ 45 w 55"/>
                  <a:gd name="T15" fmla="*/ 18 h 66"/>
                  <a:gd name="T16" fmla="*/ 45 w 55"/>
                  <a:gd name="T17" fmla="*/ 28 h 66"/>
                  <a:gd name="T18" fmla="*/ 37 w 55"/>
                  <a:gd name="T19" fmla="*/ 27 h 66"/>
                  <a:gd name="T20" fmla="*/ 11 w 55"/>
                  <a:gd name="T21" fmla="*/ 29 h 66"/>
                  <a:gd name="T22" fmla="*/ 1 w 55"/>
                  <a:gd name="T23" fmla="*/ 43 h 66"/>
                  <a:gd name="T24" fmla="*/ 5 w 55"/>
                  <a:gd name="T25" fmla="*/ 56 h 66"/>
                  <a:gd name="T26" fmla="*/ 19 w 55"/>
                  <a:gd name="T27" fmla="*/ 64 h 66"/>
                  <a:gd name="T28" fmla="*/ 41 w 55"/>
                  <a:gd name="T29" fmla="*/ 54 h 66"/>
                  <a:gd name="T30" fmla="*/ 41 w 55"/>
                  <a:gd name="T31" fmla="*/ 65 h 66"/>
                  <a:gd name="T32" fmla="*/ 50 w 55"/>
                  <a:gd name="T33" fmla="*/ 66 h 66"/>
                  <a:gd name="T34" fmla="*/ 50 w 55"/>
                  <a:gd name="T35" fmla="*/ 54 h 66"/>
                  <a:gd name="T36" fmla="*/ 54 w 55"/>
                  <a:gd name="T37" fmla="*/ 29 h 66"/>
                  <a:gd name="T38" fmla="*/ 36 w 55"/>
                  <a:gd name="T39" fmla="*/ 53 h 66"/>
                  <a:gd name="T40" fmla="*/ 22 w 55"/>
                  <a:gd name="T41" fmla="*/ 57 h 66"/>
                  <a:gd name="T42" fmla="*/ 13 w 55"/>
                  <a:gd name="T43" fmla="*/ 53 h 66"/>
                  <a:gd name="T44" fmla="*/ 11 w 55"/>
                  <a:gd name="T45" fmla="*/ 45 h 66"/>
                  <a:gd name="T46" fmla="*/ 18 w 55"/>
                  <a:gd name="T47" fmla="*/ 35 h 66"/>
                  <a:gd name="T48" fmla="*/ 35 w 55"/>
                  <a:gd name="T49" fmla="*/ 34 h 66"/>
                  <a:gd name="T50" fmla="*/ 44 w 55"/>
                  <a:gd name="T51" fmla="*/ 35 h 66"/>
                  <a:gd name="T52" fmla="*/ 44 w 55"/>
                  <a:gd name="T53" fmla="*/ 39 h 66"/>
                  <a:gd name="T54" fmla="*/ 36 w 55"/>
                  <a:gd name="T55" fmla="*/ 53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5" h="66">
                    <a:moveTo>
                      <a:pt x="54" y="29"/>
                    </a:moveTo>
                    <a:cubicBezTo>
                      <a:pt x="55" y="21"/>
                      <a:pt x="54" y="14"/>
                      <a:pt x="51" y="10"/>
                    </a:cubicBezTo>
                    <a:cubicBezTo>
                      <a:pt x="48" y="6"/>
                      <a:pt x="42" y="3"/>
                      <a:pt x="34" y="2"/>
                    </a:cubicBezTo>
                    <a:cubicBezTo>
                      <a:pt x="19" y="0"/>
                      <a:pt x="10" y="5"/>
                      <a:pt x="6" y="15"/>
                    </a:cubicBezTo>
                    <a:cubicBezTo>
                      <a:pt x="15" y="18"/>
                      <a:pt x="15" y="18"/>
                      <a:pt x="15" y="18"/>
                    </a:cubicBezTo>
                    <a:cubicBezTo>
                      <a:pt x="17" y="11"/>
                      <a:pt x="23" y="8"/>
                      <a:pt x="32" y="9"/>
                    </a:cubicBezTo>
                    <a:cubicBezTo>
                      <a:pt x="36" y="10"/>
                      <a:pt x="39" y="11"/>
                      <a:pt x="41" y="12"/>
                    </a:cubicBezTo>
                    <a:cubicBezTo>
                      <a:pt x="43" y="14"/>
                      <a:pt x="45" y="16"/>
                      <a:pt x="45" y="18"/>
                    </a:cubicBezTo>
                    <a:cubicBezTo>
                      <a:pt x="45" y="20"/>
                      <a:pt x="45" y="24"/>
                      <a:pt x="45" y="28"/>
                    </a:cubicBezTo>
                    <a:cubicBezTo>
                      <a:pt x="41" y="28"/>
                      <a:pt x="39" y="27"/>
                      <a:pt x="37" y="27"/>
                    </a:cubicBezTo>
                    <a:cubicBezTo>
                      <a:pt x="25" y="25"/>
                      <a:pt x="16" y="26"/>
                      <a:pt x="11" y="29"/>
                    </a:cubicBezTo>
                    <a:cubicBezTo>
                      <a:pt x="5" y="33"/>
                      <a:pt x="2" y="37"/>
                      <a:pt x="1" y="43"/>
                    </a:cubicBezTo>
                    <a:cubicBezTo>
                      <a:pt x="0" y="48"/>
                      <a:pt x="2" y="52"/>
                      <a:pt x="5" y="56"/>
                    </a:cubicBezTo>
                    <a:cubicBezTo>
                      <a:pt x="8" y="60"/>
                      <a:pt x="13" y="63"/>
                      <a:pt x="19" y="64"/>
                    </a:cubicBezTo>
                    <a:cubicBezTo>
                      <a:pt x="29" y="65"/>
                      <a:pt x="36" y="62"/>
                      <a:pt x="41" y="54"/>
                    </a:cubicBezTo>
                    <a:cubicBezTo>
                      <a:pt x="41" y="59"/>
                      <a:pt x="41" y="63"/>
                      <a:pt x="41" y="65"/>
                    </a:cubicBezTo>
                    <a:cubicBezTo>
                      <a:pt x="50" y="66"/>
                      <a:pt x="50" y="66"/>
                      <a:pt x="50" y="66"/>
                    </a:cubicBezTo>
                    <a:cubicBezTo>
                      <a:pt x="50" y="62"/>
                      <a:pt x="50" y="59"/>
                      <a:pt x="50" y="54"/>
                    </a:cubicBezTo>
                    <a:lnTo>
                      <a:pt x="54" y="29"/>
                    </a:lnTo>
                    <a:close/>
                    <a:moveTo>
                      <a:pt x="36" y="53"/>
                    </a:moveTo>
                    <a:cubicBezTo>
                      <a:pt x="32" y="56"/>
                      <a:pt x="28" y="58"/>
                      <a:pt x="22" y="57"/>
                    </a:cubicBezTo>
                    <a:cubicBezTo>
                      <a:pt x="18" y="56"/>
                      <a:pt x="15" y="55"/>
                      <a:pt x="13" y="53"/>
                    </a:cubicBezTo>
                    <a:cubicBezTo>
                      <a:pt x="11" y="50"/>
                      <a:pt x="10" y="48"/>
                      <a:pt x="11" y="45"/>
                    </a:cubicBezTo>
                    <a:cubicBezTo>
                      <a:pt x="11" y="40"/>
                      <a:pt x="14" y="37"/>
                      <a:pt x="18" y="35"/>
                    </a:cubicBezTo>
                    <a:cubicBezTo>
                      <a:pt x="22" y="33"/>
                      <a:pt x="28" y="33"/>
                      <a:pt x="35" y="34"/>
                    </a:cubicBezTo>
                    <a:cubicBezTo>
                      <a:pt x="37" y="34"/>
                      <a:pt x="40" y="35"/>
                      <a:pt x="44" y="35"/>
                    </a:cubicBezTo>
                    <a:cubicBezTo>
                      <a:pt x="44" y="37"/>
                      <a:pt x="44" y="38"/>
                      <a:pt x="44" y="39"/>
                    </a:cubicBezTo>
                    <a:cubicBezTo>
                      <a:pt x="43" y="45"/>
                      <a:pt x="40" y="49"/>
                      <a:pt x="36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46" name="Freeform 37"/>
              <p:cNvSpPr>
                <a:spLocks noEditPoints="1"/>
              </p:cNvSpPr>
              <p:nvPr/>
            </p:nvSpPr>
            <p:spPr bwMode="auto">
              <a:xfrm>
                <a:off x="1903413" y="1357313"/>
                <a:ext cx="214313" cy="301625"/>
              </a:xfrm>
              <a:custGeom>
                <a:avLst/>
                <a:gdLst>
                  <a:gd name="T0" fmla="*/ 37 w 57"/>
                  <a:gd name="T1" fmla="*/ 2 h 80"/>
                  <a:gd name="T2" fmla="*/ 17 w 57"/>
                  <a:gd name="T3" fmla="*/ 13 h 80"/>
                  <a:gd name="T4" fmla="*/ 18 w 57"/>
                  <a:gd name="T5" fmla="*/ 1 h 80"/>
                  <a:gd name="T6" fmla="*/ 10 w 57"/>
                  <a:gd name="T7" fmla="*/ 0 h 80"/>
                  <a:gd name="T8" fmla="*/ 0 w 57"/>
                  <a:gd name="T9" fmla="*/ 79 h 80"/>
                  <a:gd name="T10" fmla="*/ 9 w 57"/>
                  <a:gd name="T11" fmla="*/ 80 h 80"/>
                  <a:gd name="T12" fmla="*/ 13 w 57"/>
                  <a:gd name="T13" fmla="*/ 51 h 80"/>
                  <a:gd name="T14" fmla="*/ 29 w 57"/>
                  <a:gd name="T15" fmla="*/ 64 h 80"/>
                  <a:gd name="T16" fmla="*/ 47 w 57"/>
                  <a:gd name="T17" fmla="*/ 58 h 80"/>
                  <a:gd name="T18" fmla="*/ 56 w 57"/>
                  <a:gd name="T19" fmla="*/ 36 h 80"/>
                  <a:gd name="T20" fmla="*/ 53 w 57"/>
                  <a:gd name="T21" fmla="*/ 13 h 80"/>
                  <a:gd name="T22" fmla="*/ 37 w 57"/>
                  <a:gd name="T23" fmla="*/ 2 h 80"/>
                  <a:gd name="T24" fmla="*/ 39 w 57"/>
                  <a:gd name="T25" fmla="*/ 53 h 80"/>
                  <a:gd name="T26" fmla="*/ 28 w 57"/>
                  <a:gd name="T27" fmla="*/ 56 h 80"/>
                  <a:gd name="T28" fmla="*/ 18 w 57"/>
                  <a:gd name="T29" fmla="*/ 51 h 80"/>
                  <a:gd name="T30" fmla="*/ 14 w 57"/>
                  <a:gd name="T31" fmla="*/ 39 h 80"/>
                  <a:gd name="T32" fmla="*/ 16 w 57"/>
                  <a:gd name="T33" fmla="*/ 22 h 80"/>
                  <a:gd name="T34" fmla="*/ 23 w 57"/>
                  <a:gd name="T35" fmla="*/ 13 h 80"/>
                  <a:gd name="T36" fmla="*/ 34 w 57"/>
                  <a:gd name="T37" fmla="*/ 10 h 80"/>
                  <a:gd name="T38" fmla="*/ 44 w 57"/>
                  <a:gd name="T39" fmla="*/ 17 h 80"/>
                  <a:gd name="T40" fmla="*/ 46 w 57"/>
                  <a:gd name="T41" fmla="*/ 35 h 80"/>
                  <a:gd name="T42" fmla="*/ 39 w 57"/>
                  <a:gd name="T43" fmla="*/ 53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7" h="80">
                    <a:moveTo>
                      <a:pt x="37" y="2"/>
                    </a:moveTo>
                    <a:cubicBezTo>
                      <a:pt x="29" y="1"/>
                      <a:pt x="22" y="5"/>
                      <a:pt x="17" y="13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9" y="80"/>
                      <a:pt x="9" y="80"/>
                      <a:pt x="9" y="80"/>
                    </a:cubicBezTo>
                    <a:cubicBezTo>
                      <a:pt x="13" y="51"/>
                      <a:pt x="13" y="51"/>
                      <a:pt x="13" y="51"/>
                    </a:cubicBezTo>
                    <a:cubicBezTo>
                      <a:pt x="16" y="59"/>
                      <a:pt x="21" y="63"/>
                      <a:pt x="29" y="64"/>
                    </a:cubicBezTo>
                    <a:cubicBezTo>
                      <a:pt x="35" y="65"/>
                      <a:pt x="41" y="63"/>
                      <a:pt x="47" y="58"/>
                    </a:cubicBezTo>
                    <a:cubicBezTo>
                      <a:pt x="52" y="53"/>
                      <a:pt x="55" y="46"/>
                      <a:pt x="56" y="36"/>
                    </a:cubicBezTo>
                    <a:cubicBezTo>
                      <a:pt x="57" y="27"/>
                      <a:pt x="56" y="19"/>
                      <a:pt x="53" y="13"/>
                    </a:cubicBezTo>
                    <a:cubicBezTo>
                      <a:pt x="49" y="7"/>
                      <a:pt x="44" y="3"/>
                      <a:pt x="37" y="2"/>
                    </a:cubicBezTo>
                    <a:close/>
                    <a:moveTo>
                      <a:pt x="39" y="53"/>
                    </a:moveTo>
                    <a:cubicBezTo>
                      <a:pt x="36" y="56"/>
                      <a:pt x="32" y="57"/>
                      <a:pt x="28" y="56"/>
                    </a:cubicBezTo>
                    <a:cubicBezTo>
                      <a:pt x="24" y="56"/>
                      <a:pt x="21" y="54"/>
                      <a:pt x="18" y="51"/>
                    </a:cubicBezTo>
                    <a:cubicBezTo>
                      <a:pt x="16" y="47"/>
                      <a:pt x="14" y="44"/>
                      <a:pt x="14" y="39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8" y="19"/>
                      <a:pt x="20" y="15"/>
                      <a:pt x="23" y="13"/>
                    </a:cubicBezTo>
                    <a:cubicBezTo>
                      <a:pt x="27" y="10"/>
                      <a:pt x="30" y="9"/>
                      <a:pt x="34" y="10"/>
                    </a:cubicBezTo>
                    <a:cubicBezTo>
                      <a:pt x="38" y="10"/>
                      <a:pt x="42" y="13"/>
                      <a:pt x="44" y="17"/>
                    </a:cubicBezTo>
                    <a:cubicBezTo>
                      <a:pt x="46" y="22"/>
                      <a:pt x="47" y="28"/>
                      <a:pt x="46" y="35"/>
                    </a:cubicBezTo>
                    <a:cubicBezTo>
                      <a:pt x="45" y="44"/>
                      <a:pt x="43" y="49"/>
                      <a:pt x="39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47" name="Freeform 38"/>
              <p:cNvSpPr/>
              <p:nvPr/>
            </p:nvSpPr>
            <p:spPr bwMode="auto">
              <a:xfrm>
                <a:off x="2151063" y="1312863"/>
                <a:ext cx="195263" cy="319088"/>
              </a:xfrm>
              <a:custGeom>
                <a:avLst/>
                <a:gdLst>
                  <a:gd name="T0" fmla="*/ 51 w 52"/>
                  <a:gd name="T1" fmla="*/ 39 h 85"/>
                  <a:gd name="T2" fmla="*/ 49 w 52"/>
                  <a:gd name="T3" fmla="*/ 32 h 85"/>
                  <a:gd name="T4" fmla="*/ 44 w 52"/>
                  <a:gd name="T5" fmla="*/ 26 h 85"/>
                  <a:gd name="T6" fmla="*/ 35 w 52"/>
                  <a:gd name="T7" fmla="*/ 22 h 85"/>
                  <a:gd name="T8" fmla="*/ 15 w 52"/>
                  <a:gd name="T9" fmla="*/ 33 h 85"/>
                  <a:gd name="T10" fmla="*/ 19 w 52"/>
                  <a:gd name="T11" fmla="*/ 1 h 85"/>
                  <a:gd name="T12" fmla="*/ 10 w 52"/>
                  <a:gd name="T13" fmla="*/ 0 h 85"/>
                  <a:gd name="T14" fmla="*/ 0 w 52"/>
                  <a:gd name="T15" fmla="*/ 79 h 85"/>
                  <a:gd name="T16" fmla="*/ 9 w 52"/>
                  <a:gd name="T17" fmla="*/ 81 h 85"/>
                  <a:gd name="T18" fmla="*/ 13 w 52"/>
                  <a:gd name="T19" fmla="*/ 49 h 85"/>
                  <a:gd name="T20" fmla="*/ 20 w 52"/>
                  <a:gd name="T21" fmla="*/ 34 h 85"/>
                  <a:gd name="T22" fmla="*/ 32 w 52"/>
                  <a:gd name="T23" fmla="*/ 30 h 85"/>
                  <a:gd name="T24" fmla="*/ 39 w 52"/>
                  <a:gd name="T25" fmla="*/ 33 h 85"/>
                  <a:gd name="T26" fmla="*/ 42 w 52"/>
                  <a:gd name="T27" fmla="*/ 39 h 85"/>
                  <a:gd name="T28" fmla="*/ 42 w 52"/>
                  <a:gd name="T29" fmla="*/ 48 h 85"/>
                  <a:gd name="T30" fmla="*/ 37 w 52"/>
                  <a:gd name="T31" fmla="*/ 84 h 85"/>
                  <a:gd name="T32" fmla="*/ 46 w 52"/>
                  <a:gd name="T33" fmla="*/ 85 h 85"/>
                  <a:gd name="T34" fmla="*/ 51 w 52"/>
                  <a:gd name="T35" fmla="*/ 50 h 85"/>
                  <a:gd name="T36" fmla="*/ 51 w 52"/>
                  <a:gd name="T37" fmla="*/ 3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2" h="85">
                    <a:moveTo>
                      <a:pt x="51" y="39"/>
                    </a:moveTo>
                    <a:cubicBezTo>
                      <a:pt x="51" y="37"/>
                      <a:pt x="50" y="34"/>
                      <a:pt x="49" y="32"/>
                    </a:cubicBezTo>
                    <a:cubicBezTo>
                      <a:pt x="48" y="29"/>
                      <a:pt x="46" y="27"/>
                      <a:pt x="44" y="26"/>
                    </a:cubicBezTo>
                    <a:cubicBezTo>
                      <a:pt x="41" y="24"/>
                      <a:pt x="38" y="23"/>
                      <a:pt x="35" y="22"/>
                    </a:cubicBezTo>
                    <a:cubicBezTo>
                      <a:pt x="27" y="21"/>
                      <a:pt x="21" y="25"/>
                      <a:pt x="15" y="33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9" y="81"/>
                      <a:pt x="9" y="81"/>
                      <a:pt x="9" y="81"/>
                    </a:cubicBezTo>
                    <a:cubicBezTo>
                      <a:pt x="13" y="49"/>
                      <a:pt x="13" y="49"/>
                      <a:pt x="13" y="49"/>
                    </a:cubicBezTo>
                    <a:cubicBezTo>
                      <a:pt x="14" y="42"/>
                      <a:pt x="16" y="38"/>
                      <a:pt x="20" y="34"/>
                    </a:cubicBezTo>
                    <a:cubicBezTo>
                      <a:pt x="24" y="31"/>
                      <a:pt x="28" y="29"/>
                      <a:pt x="32" y="30"/>
                    </a:cubicBezTo>
                    <a:cubicBezTo>
                      <a:pt x="35" y="30"/>
                      <a:pt x="37" y="31"/>
                      <a:pt x="39" y="33"/>
                    </a:cubicBezTo>
                    <a:cubicBezTo>
                      <a:pt x="41" y="35"/>
                      <a:pt x="42" y="37"/>
                      <a:pt x="42" y="39"/>
                    </a:cubicBezTo>
                    <a:cubicBezTo>
                      <a:pt x="42" y="41"/>
                      <a:pt x="42" y="44"/>
                      <a:pt x="42" y="48"/>
                    </a:cubicBezTo>
                    <a:cubicBezTo>
                      <a:pt x="37" y="84"/>
                      <a:pt x="37" y="84"/>
                      <a:pt x="37" y="84"/>
                    </a:cubicBezTo>
                    <a:cubicBezTo>
                      <a:pt x="46" y="85"/>
                      <a:pt x="46" y="85"/>
                      <a:pt x="46" y="85"/>
                    </a:cubicBezTo>
                    <a:cubicBezTo>
                      <a:pt x="51" y="50"/>
                      <a:pt x="51" y="50"/>
                      <a:pt x="51" y="50"/>
                    </a:cubicBezTo>
                    <a:cubicBezTo>
                      <a:pt x="51" y="45"/>
                      <a:pt x="52" y="41"/>
                      <a:pt x="51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48" name="Freeform 39"/>
              <p:cNvSpPr>
                <a:spLocks noEditPoints="1"/>
              </p:cNvSpPr>
              <p:nvPr/>
            </p:nvSpPr>
            <p:spPr bwMode="auto">
              <a:xfrm>
                <a:off x="1677988" y="2519363"/>
                <a:ext cx="214313" cy="285750"/>
              </a:xfrm>
              <a:custGeom>
                <a:avLst/>
                <a:gdLst>
                  <a:gd name="T0" fmla="*/ 41 w 57"/>
                  <a:gd name="T1" fmla="*/ 45 h 76"/>
                  <a:gd name="T2" fmla="*/ 30 w 57"/>
                  <a:gd name="T3" fmla="*/ 48 h 76"/>
                  <a:gd name="T4" fmla="*/ 19 w 57"/>
                  <a:gd name="T5" fmla="*/ 52 h 76"/>
                  <a:gd name="T6" fmla="*/ 15 w 57"/>
                  <a:gd name="T7" fmla="*/ 50 h 76"/>
                  <a:gd name="T8" fmla="*/ 16 w 57"/>
                  <a:gd name="T9" fmla="*/ 46 h 76"/>
                  <a:gd name="T10" fmla="*/ 18 w 57"/>
                  <a:gd name="T11" fmla="*/ 44 h 76"/>
                  <a:gd name="T12" fmla="*/ 21 w 57"/>
                  <a:gd name="T13" fmla="*/ 43 h 76"/>
                  <a:gd name="T14" fmla="*/ 24 w 57"/>
                  <a:gd name="T15" fmla="*/ 42 h 76"/>
                  <a:gd name="T16" fmla="*/ 34 w 57"/>
                  <a:gd name="T17" fmla="*/ 33 h 76"/>
                  <a:gd name="T18" fmla="*/ 34 w 57"/>
                  <a:gd name="T19" fmla="*/ 21 h 76"/>
                  <a:gd name="T20" fmla="*/ 26 w 57"/>
                  <a:gd name="T21" fmla="*/ 13 h 76"/>
                  <a:gd name="T22" fmla="*/ 27 w 57"/>
                  <a:gd name="T23" fmla="*/ 8 h 76"/>
                  <a:gd name="T24" fmla="*/ 32 w 57"/>
                  <a:gd name="T25" fmla="*/ 5 h 76"/>
                  <a:gd name="T26" fmla="*/ 30 w 57"/>
                  <a:gd name="T27" fmla="*/ 0 h 76"/>
                  <a:gd name="T28" fmla="*/ 28 w 57"/>
                  <a:gd name="T29" fmla="*/ 0 h 76"/>
                  <a:gd name="T30" fmla="*/ 22 w 57"/>
                  <a:gd name="T31" fmla="*/ 5 h 76"/>
                  <a:gd name="T32" fmla="*/ 22 w 57"/>
                  <a:gd name="T33" fmla="*/ 12 h 76"/>
                  <a:gd name="T34" fmla="*/ 12 w 57"/>
                  <a:gd name="T35" fmla="*/ 13 h 76"/>
                  <a:gd name="T36" fmla="*/ 3 w 57"/>
                  <a:gd name="T37" fmla="*/ 22 h 76"/>
                  <a:gd name="T38" fmla="*/ 2 w 57"/>
                  <a:gd name="T39" fmla="*/ 34 h 76"/>
                  <a:gd name="T40" fmla="*/ 12 w 57"/>
                  <a:gd name="T41" fmla="*/ 43 h 76"/>
                  <a:gd name="T42" fmla="*/ 9 w 57"/>
                  <a:gd name="T43" fmla="*/ 53 h 76"/>
                  <a:gd name="T44" fmla="*/ 16 w 57"/>
                  <a:gd name="T45" fmla="*/ 58 h 76"/>
                  <a:gd name="T46" fmla="*/ 13 w 57"/>
                  <a:gd name="T47" fmla="*/ 69 h 76"/>
                  <a:gd name="T48" fmla="*/ 21 w 57"/>
                  <a:gd name="T49" fmla="*/ 75 h 76"/>
                  <a:gd name="T50" fmla="*/ 37 w 57"/>
                  <a:gd name="T51" fmla="*/ 72 h 76"/>
                  <a:gd name="T52" fmla="*/ 53 w 57"/>
                  <a:gd name="T53" fmla="*/ 51 h 76"/>
                  <a:gd name="T54" fmla="*/ 48 w 57"/>
                  <a:gd name="T55" fmla="*/ 46 h 76"/>
                  <a:gd name="T56" fmla="*/ 41 w 57"/>
                  <a:gd name="T57" fmla="*/ 45 h 76"/>
                  <a:gd name="T58" fmla="*/ 9 w 57"/>
                  <a:gd name="T59" fmla="*/ 24 h 76"/>
                  <a:gd name="T60" fmla="*/ 14 w 57"/>
                  <a:gd name="T61" fmla="*/ 18 h 76"/>
                  <a:gd name="T62" fmla="*/ 22 w 57"/>
                  <a:gd name="T63" fmla="*/ 18 h 76"/>
                  <a:gd name="T64" fmla="*/ 28 w 57"/>
                  <a:gd name="T65" fmla="*/ 24 h 76"/>
                  <a:gd name="T66" fmla="*/ 28 w 57"/>
                  <a:gd name="T67" fmla="*/ 32 h 76"/>
                  <a:gd name="T68" fmla="*/ 22 w 57"/>
                  <a:gd name="T69" fmla="*/ 37 h 76"/>
                  <a:gd name="T70" fmla="*/ 14 w 57"/>
                  <a:gd name="T71" fmla="*/ 37 h 76"/>
                  <a:gd name="T72" fmla="*/ 9 w 57"/>
                  <a:gd name="T73" fmla="*/ 32 h 76"/>
                  <a:gd name="T74" fmla="*/ 9 w 57"/>
                  <a:gd name="T75" fmla="*/ 24 h 76"/>
                  <a:gd name="T76" fmla="*/ 45 w 57"/>
                  <a:gd name="T77" fmla="*/ 61 h 76"/>
                  <a:gd name="T78" fmla="*/ 36 w 57"/>
                  <a:gd name="T79" fmla="*/ 67 h 76"/>
                  <a:gd name="T80" fmla="*/ 25 w 57"/>
                  <a:gd name="T81" fmla="*/ 69 h 76"/>
                  <a:gd name="T82" fmla="*/ 19 w 57"/>
                  <a:gd name="T83" fmla="*/ 66 h 76"/>
                  <a:gd name="T84" fmla="*/ 22 w 57"/>
                  <a:gd name="T85" fmla="*/ 58 h 76"/>
                  <a:gd name="T86" fmla="*/ 32 w 57"/>
                  <a:gd name="T87" fmla="*/ 55 h 76"/>
                  <a:gd name="T88" fmla="*/ 40 w 57"/>
                  <a:gd name="T89" fmla="*/ 52 h 76"/>
                  <a:gd name="T90" fmla="*/ 45 w 57"/>
                  <a:gd name="T91" fmla="*/ 52 h 76"/>
                  <a:gd name="T92" fmla="*/ 47 w 57"/>
                  <a:gd name="T93" fmla="*/ 54 h 76"/>
                  <a:gd name="T94" fmla="*/ 45 w 57"/>
                  <a:gd name="T95" fmla="*/ 6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7" h="76">
                    <a:moveTo>
                      <a:pt x="41" y="45"/>
                    </a:moveTo>
                    <a:cubicBezTo>
                      <a:pt x="39" y="45"/>
                      <a:pt x="35" y="47"/>
                      <a:pt x="30" y="48"/>
                    </a:cubicBezTo>
                    <a:cubicBezTo>
                      <a:pt x="24" y="51"/>
                      <a:pt x="21" y="52"/>
                      <a:pt x="19" y="52"/>
                    </a:cubicBezTo>
                    <a:cubicBezTo>
                      <a:pt x="17" y="52"/>
                      <a:pt x="16" y="51"/>
                      <a:pt x="15" y="50"/>
                    </a:cubicBezTo>
                    <a:cubicBezTo>
                      <a:pt x="15" y="48"/>
                      <a:pt x="15" y="47"/>
                      <a:pt x="16" y="46"/>
                    </a:cubicBezTo>
                    <a:cubicBezTo>
                      <a:pt x="16" y="45"/>
                      <a:pt x="17" y="44"/>
                      <a:pt x="18" y="44"/>
                    </a:cubicBezTo>
                    <a:cubicBezTo>
                      <a:pt x="18" y="44"/>
                      <a:pt x="19" y="43"/>
                      <a:pt x="21" y="43"/>
                    </a:cubicBezTo>
                    <a:cubicBezTo>
                      <a:pt x="22" y="43"/>
                      <a:pt x="23" y="43"/>
                      <a:pt x="24" y="42"/>
                    </a:cubicBezTo>
                    <a:cubicBezTo>
                      <a:pt x="29" y="40"/>
                      <a:pt x="32" y="37"/>
                      <a:pt x="34" y="33"/>
                    </a:cubicBezTo>
                    <a:cubicBezTo>
                      <a:pt x="36" y="29"/>
                      <a:pt x="36" y="25"/>
                      <a:pt x="34" y="21"/>
                    </a:cubicBezTo>
                    <a:cubicBezTo>
                      <a:pt x="33" y="18"/>
                      <a:pt x="30" y="15"/>
                      <a:pt x="26" y="13"/>
                    </a:cubicBezTo>
                    <a:cubicBezTo>
                      <a:pt x="26" y="11"/>
                      <a:pt x="26" y="10"/>
                      <a:pt x="27" y="8"/>
                    </a:cubicBezTo>
                    <a:cubicBezTo>
                      <a:pt x="27" y="7"/>
                      <a:pt x="29" y="6"/>
                      <a:pt x="32" y="5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29" y="0"/>
                      <a:pt x="29" y="0"/>
                      <a:pt x="28" y="0"/>
                    </a:cubicBezTo>
                    <a:cubicBezTo>
                      <a:pt x="25" y="2"/>
                      <a:pt x="23" y="3"/>
                      <a:pt x="22" y="5"/>
                    </a:cubicBezTo>
                    <a:cubicBezTo>
                      <a:pt x="21" y="6"/>
                      <a:pt x="21" y="9"/>
                      <a:pt x="22" y="12"/>
                    </a:cubicBezTo>
                    <a:cubicBezTo>
                      <a:pt x="19" y="11"/>
                      <a:pt x="15" y="12"/>
                      <a:pt x="12" y="13"/>
                    </a:cubicBezTo>
                    <a:cubicBezTo>
                      <a:pt x="8" y="15"/>
                      <a:pt x="5" y="18"/>
                      <a:pt x="3" y="22"/>
                    </a:cubicBezTo>
                    <a:cubicBezTo>
                      <a:pt x="0" y="26"/>
                      <a:pt x="0" y="30"/>
                      <a:pt x="2" y="34"/>
                    </a:cubicBezTo>
                    <a:cubicBezTo>
                      <a:pt x="4" y="39"/>
                      <a:pt x="7" y="42"/>
                      <a:pt x="12" y="43"/>
                    </a:cubicBezTo>
                    <a:cubicBezTo>
                      <a:pt x="9" y="46"/>
                      <a:pt x="8" y="50"/>
                      <a:pt x="9" y="53"/>
                    </a:cubicBezTo>
                    <a:cubicBezTo>
                      <a:pt x="11" y="56"/>
                      <a:pt x="13" y="57"/>
                      <a:pt x="16" y="58"/>
                    </a:cubicBezTo>
                    <a:cubicBezTo>
                      <a:pt x="13" y="61"/>
                      <a:pt x="12" y="65"/>
                      <a:pt x="13" y="69"/>
                    </a:cubicBezTo>
                    <a:cubicBezTo>
                      <a:pt x="15" y="73"/>
                      <a:pt x="17" y="75"/>
                      <a:pt x="21" y="75"/>
                    </a:cubicBezTo>
                    <a:cubicBezTo>
                      <a:pt x="25" y="76"/>
                      <a:pt x="31" y="75"/>
                      <a:pt x="37" y="72"/>
                    </a:cubicBezTo>
                    <a:cubicBezTo>
                      <a:pt x="51" y="66"/>
                      <a:pt x="57" y="60"/>
                      <a:pt x="53" y="51"/>
                    </a:cubicBezTo>
                    <a:cubicBezTo>
                      <a:pt x="52" y="49"/>
                      <a:pt x="51" y="47"/>
                      <a:pt x="48" y="46"/>
                    </a:cubicBezTo>
                    <a:cubicBezTo>
                      <a:pt x="46" y="45"/>
                      <a:pt x="44" y="45"/>
                      <a:pt x="41" y="45"/>
                    </a:cubicBezTo>
                    <a:close/>
                    <a:moveTo>
                      <a:pt x="9" y="24"/>
                    </a:moveTo>
                    <a:cubicBezTo>
                      <a:pt x="10" y="21"/>
                      <a:pt x="12" y="19"/>
                      <a:pt x="14" y="18"/>
                    </a:cubicBezTo>
                    <a:cubicBezTo>
                      <a:pt x="17" y="17"/>
                      <a:pt x="20" y="17"/>
                      <a:pt x="22" y="18"/>
                    </a:cubicBezTo>
                    <a:cubicBezTo>
                      <a:pt x="25" y="19"/>
                      <a:pt x="27" y="21"/>
                      <a:pt x="28" y="24"/>
                    </a:cubicBezTo>
                    <a:cubicBezTo>
                      <a:pt x="29" y="27"/>
                      <a:pt x="29" y="29"/>
                      <a:pt x="28" y="32"/>
                    </a:cubicBezTo>
                    <a:cubicBezTo>
                      <a:pt x="27" y="34"/>
                      <a:pt x="25" y="36"/>
                      <a:pt x="22" y="37"/>
                    </a:cubicBezTo>
                    <a:cubicBezTo>
                      <a:pt x="19" y="38"/>
                      <a:pt x="17" y="38"/>
                      <a:pt x="14" y="37"/>
                    </a:cubicBezTo>
                    <a:cubicBezTo>
                      <a:pt x="12" y="36"/>
                      <a:pt x="10" y="35"/>
                      <a:pt x="9" y="32"/>
                    </a:cubicBezTo>
                    <a:cubicBezTo>
                      <a:pt x="8" y="29"/>
                      <a:pt x="8" y="26"/>
                      <a:pt x="9" y="24"/>
                    </a:cubicBezTo>
                    <a:close/>
                    <a:moveTo>
                      <a:pt x="45" y="61"/>
                    </a:moveTo>
                    <a:cubicBezTo>
                      <a:pt x="42" y="64"/>
                      <a:pt x="39" y="66"/>
                      <a:pt x="36" y="67"/>
                    </a:cubicBezTo>
                    <a:cubicBezTo>
                      <a:pt x="32" y="69"/>
                      <a:pt x="28" y="69"/>
                      <a:pt x="25" y="69"/>
                    </a:cubicBezTo>
                    <a:cubicBezTo>
                      <a:pt x="22" y="69"/>
                      <a:pt x="20" y="68"/>
                      <a:pt x="19" y="66"/>
                    </a:cubicBezTo>
                    <a:cubicBezTo>
                      <a:pt x="18" y="63"/>
                      <a:pt x="19" y="61"/>
                      <a:pt x="22" y="58"/>
                    </a:cubicBezTo>
                    <a:cubicBezTo>
                      <a:pt x="24" y="58"/>
                      <a:pt x="27" y="56"/>
                      <a:pt x="32" y="55"/>
                    </a:cubicBezTo>
                    <a:cubicBezTo>
                      <a:pt x="36" y="53"/>
                      <a:pt x="39" y="52"/>
                      <a:pt x="40" y="52"/>
                    </a:cubicBezTo>
                    <a:cubicBezTo>
                      <a:pt x="42" y="51"/>
                      <a:pt x="43" y="51"/>
                      <a:pt x="45" y="52"/>
                    </a:cubicBezTo>
                    <a:cubicBezTo>
                      <a:pt x="46" y="52"/>
                      <a:pt x="47" y="53"/>
                      <a:pt x="47" y="54"/>
                    </a:cubicBezTo>
                    <a:cubicBezTo>
                      <a:pt x="48" y="57"/>
                      <a:pt x="48" y="59"/>
                      <a:pt x="45" y="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49" name="Freeform 40"/>
              <p:cNvSpPr/>
              <p:nvPr/>
            </p:nvSpPr>
            <p:spPr bwMode="auto">
              <a:xfrm>
                <a:off x="1828800" y="2492376"/>
                <a:ext cx="88900" cy="195263"/>
              </a:xfrm>
              <a:custGeom>
                <a:avLst/>
                <a:gdLst>
                  <a:gd name="T0" fmla="*/ 13 w 24"/>
                  <a:gd name="T1" fmla="*/ 6 h 52"/>
                  <a:gd name="T2" fmla="*/ 10 w 24"/>
                  <a:gd name="T3" fmla="*/ 18 h 52"/>
                  <a:gd name="T4" fmla="*/ 6 w 24"/>
                  <a:gd name="T5" fmla="*/ 8 h 52"/>
                  <a:gd name="T6" fmla="*/ 0 w 24"/>
                  <a:gd name="T7" fmla="*/ 10 h 52"/>
                  <a:gd name="T8" fmla="*/ 18 w 24"/>
                  <a:gd name="T9" fmla="*/ 52 h 52"/>
                  <a:gd name="T10" fmla="*/ 24 w 24"/>
                  <a:gd name="T11" fmla="*/ 49 h 52"/>
                  <a:gd name="T12" fmla="*/ 15 w 24"/>
                  <a:gd name="T13" fmla="*/ 27 h 52"/>
                  <a:gd name="T14" fmla="*/ 15 w 24"/>
                  <a:gd name="T15" fmla="*/ 15 h 52"/>
                  <a:gd name="T16" fmla="*/ 22 w 24"/>
                  <a:gd name="T17" fmla="*/ 7 h 52"/>
                  <a:gd name="T18" fmla="*/ 23 w 24"/>
                  <a:gd name="T19" fmla="*/ 7 h 52"/>
                  <a:gd name="T20" fmla="*/ 21 w 24"/>
                  <a:gd name="T21" fmla="*/ 0 h 52"/>
                  <a:gd name="T22" fmla="*/ 18 w 24"/>
                  <a:gd name="T23" fmla="*/ 1 h 52"/>
                  <a:gd name="T24" fmla="*/ 13 w 24"/>
                  <a:gd name="T25" fmla="*/ 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52">
                    <a:moveTo>
                      <a:pt x="13" y="6"/>
                    </a:moveTo>
                    <a:cubicBezTo>
                      <a:pt x="11" y="8"/>
                      <a:pt x="10" y="12"/>
                      <a:pt x="10" y="1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24" y="49"/>
                      <a:pt x="24" y="49"/>
                      <a:pt x="24" y="49"/>
                    </a:cubicBezTo>
                    <a:cubicBezTo>
                      <a:pt x="15" y="27"/>
                      <a:pt x="15" y="27"/>
                      <a:pt x="15" y="27"/>
                    </a:cubicBezTo>
                    <a:cubicBezTo>
                      <a:pt x="13" y="23"/>
                      <a:pt x="13" y="19"/>
                      <a:pt x="15" y="15"/>
                    </a:cubicBezTo>
                    <a:cubicBezTo>
                      <a:pt x="16" y="11"/>
                      <a:pt x="18" y="9"/>
                      <a:pt x="22" y="7"/>
                    </a:cubicBezTo>
                    <a:cubicBezTo>
                      <a:pt x="23" y="7"/>
                      <a:pt x="23" y="7"/>
                      <a:pt x="23" y="7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9" y="1"/>
                      <a:pt x="19" y="1"/>
                      <a:pt x="18" y="1"/>
                    </a:cubicBezTo>
                    <a:cubicBezTo>
                      <a:pt x="16" y="2"/>
                      <a:pt x="14" y="4"/>
                      <a:pt x="13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50" name="Freeform 41"/>
              <p:cNvSpPr>
                <a:spLocks noEditPoints="1"/>
              </p:cNvSpPr>
              <p:nvPr/>
            </p:nvSpPr>
            <p:spPr bwMode="auto">
              <a:xfrm>
                <a:off x="1936750" y="2451101"/>
                <a:ext cx="165100" cy="184150"/>
              </a:xfrm>
              <a:custGeom>
                <a:avLst/>
                <a:gdLst>
                  <a:gd name="T0" fmla="*/ 13 w 44"/>
                  <a:gd name="T1" fmla="*/ 2 h 49"/>
                  <a:gd name="T2" fmla="*/ 2 w 44"/>
                  <a:gd name="T3" fmla="*/ 14 h 49"/>
                  <a:gd name="T4" fmla="*/ 3 w 44"/>
                  <a:gd name="T5" fmla="*/ 32 h 49"/>
                  <a:gd name="T6" fmla="*/ 15 w 44"/>
                  <a:gd name="T7" fmla="*/ 46 h 49"/>
                  <a:gd name="T8" fmla="*/ 31 w 44"/>
                  <a:gd name="T9" fmla="*/ 47 h 49"/>
                  <a:gd name="T10" fmla="*/ 42 w 44"/>
                  <a:gd name="T11" fmla="*/ 35 h 49"/>
                  <a:gd name="T12" fmla="*/ 41 w 44"/>
                  <a:gd name="T13" fmla="*/ 17 h 49"/>
                  <a:gd name="T14" fmla="*/ 30 w 44"/>
                  <a:gd name="T15" fmla="*/ 3 h 49"/>
                  <a:gd name="T16" fmla="*/ 13 w 44"/>
                  <a:gd name="T17" fmla="*/ 2 h 49"/>
                  <a:gd name="T18" fmla="*/ 36 w 44"/>
                  <a:gd name="T19" fmla="*/ 34 h 49"/>
                  <a:gd name="T20" fmla="*/ 29 w 44"/>
                  <a:gd name="T21" fmla="*/ 41 h 49"/>
                  <a:gd name="T22" fmla="*/ 19 w 44"/>
                  <a:gd name="T23" fmla="*/ 41 h 49"/>
                  <a:gd name="T24" fmla="*/ 10 w 44"/>
                  <a:gd name="T25" fmla="*/ 29 h 49"/>
                  <a:gd name="T26" fmla="*/ 9 w 44"/>
                  <a:gd name="T27" fmla="*/ 15 h 49"/>
                  <a:gd name="T28" fmla="*/ 15 w 44"/>
                  <a:gd name="T29" fmla="*/ 8 h 49"/>
                  <a:gd name="T30" fmla="*/ 25 w 44"/>
                  <a:gd name="T31" fmla="*/ 8 h 49"/>
                  <a:gd name="T32" fmla="*/ 34 w 44"/>
                  <a:gd name="T33" fmla="*/ 20 h 49"/>
                  <a:gd name="T34" fmla="*/ 36 w 44"/>
                  <a:gd name="T35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" h="49">
                    <a:moveTo>
                      <a:pt x="13" y="2"/>
                    </a:moveTo>
                    <a:cubicBezTo>
                      <a:pt x="8" y="5"/>
                      <a:pt x="4" y="9"/>
                      <a:pt x="2" y="14"/>
                    </a:cubicBezTo>
                    <a:cubicBezTo>
                      <a:pt x="0" y="20"/>
                      <a:pt x="1" y="26"/>
                      <a:pt x="3" y="32"/>
                    </a:cubicBezTo>
                    <a:cubicBezTo>
                      <a:pt x="6" y="39"/>
                      <a:pt x="10" y="43"/>
                      <a:pt x="15" y="46"/>
                    </a:cubicBezTo>
                    <a:cubicBezTo>
                      <a:pt x="20" y="49"/>
                      <a:pt x="25" y="49"/>
                      <a:pt x="31" y="47"/>
                    </a:cubicBezTo>
                    <a:cubicBezTo>
                      <a:pt x="37" y="45"/>
                      <a:pt x="40" y="41"/>
                      <a:pt x="42" y="35"/>
                    </a:cubicBezTo>
                    <a:cubicBezTo>
                      <a:pt x="44" y="29"/>
                      <a:pt x="44" y="23"/>
                      <a:pt x="41" y="17"/>
                    </a:cubicBezTo>
                    <a:cubicBezTo>
                      <a:pt x="38" y="10"/>
                      <a:pt x="35" y="6"/>
                      <a:pt x="30" y="3"/>
                    </a:cubicBezTo>
                    <a:cubicBezTo>
                      <a:pt x="24" y="0"/>
                      <a:pt x="19" y="0"/>
                      <a:pt x="13" y="2"/>
                    </a:cubicBezTo>
                    <a:close/>
                    <a:moveTo>
                      <a:pt x="36" y="34"/>
                    </a:moveTo>
                    <a:cubicBezTo>
                      <a:pt x="35" y="38"/>
                      <a:pt x="33" y="40"/>
                      <a:pt x="29" y="41"/>
                    </a:cubicBezTo>
                    <a:cubicBezTo>
                      <a:pt x="26" y="43"/>
                      <a:pt x="23" y="43"/>
                      <a:pt x="19" y="41"/>
                    </a:cubicBezTo>
                    <a:cubicBezTo>
                      <a:pt x="16" y="39"/>
                      <a:pt x="13" y="35"/>
                      <a:pt x="10" y="29"/>
                    </a:cubicBezTo>
                    <a:cubicBezTo>
                      <a:pt x="8" y="24"/>
                      <a:pt x="7" y="19"/>
                      <a:pt x="9" y="15"/>
                    </a:cubicBezTo>
                    <a:cubicBezTo>
                      <a:pt x="10" y="12"/>
                      <a:pt x="12" y="9"/>
                      <a:pt x="15" y="8"/>
                    </a:cubicBezTo>
                    <a:cubicBezTo>
                      <a:pt x="18" y="7"/>
                      <a:pt x="22" y="7"/>
                      <a:pt x="25" y="8"/>
                    </a:cubicBezTo>
                    <a:cubicBezTo>
                      <a:pt x="29" y="10"/>
                      <a:pt x="31" y="14"/>
                      <a:pt x="34" y="20"/>
                    </a:cubicBezTo>
                    <a:cubicBezTo>
                      <a:pt x="36" y="25"/>
                      <a:pt x="37" y="30"/>
                      <a:pt x="36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51" name="Freeform 42"/>
              <p:cNvSpPr/>
              <p:nvPr/>
            </p:nvSpPr>
            <p:spPr bwMode="auto">
              <a:xfrm>
                <a:off x="2071688" y="2346326"/>
                <a:ext cx="222250" cy="220663"/>
              </a:xfrm>
              <a:custGeom>
                <a:avLst/>
                <a:gdLst>
                  <a:gd name="T0" fmla="*/ 124 w 140"/>
                  <a:gd name="T1" fmla="*/ 90 h 139"/>
                  <a:gd name="T2" fmla="*/ 69 w 140"/>
                  <a:gd name="T3" fmla="*/ 24 h 139"/>
                  <a:gd name="T4" fmla="*/ 60 w 140"/>
                  <a:gd name="T5" fmla="*/ 28 h 139"/>
                  <a:gd name="T6" fmla="*/ 69 w 140"/>
                  <a:gd name="T7" fmla="*/ 111 h 139"/>
                  <a:gd name="T8" fmla="*/ 17 w 140"/>
                  <a:gd name="T9" fmla="*/ 45 h 139"/>
                  <a:gd name="T10" fmla="*/ 0 w 140"/>
                  <a:gd name="T11" fmla="*/ 52 h 139"/>
                  <a:gd name="T12" fmla="*/ 71 w 140"/>
                  <a:gd name="T13" fmla="*/ 139 h 139"/>
                  <a:gd name="T14" fmla="*/ 86 w 140"/>
                  <a:gd name="T15" fmla="*/ 135 h 139"/>
                  <a:gd name="T16" fmla="*/ 74 w 140"/>
                  <a:gd name="T17" fmla="*/ 52 h 139"/>
                  <a:gd name="T18" fmla="*/ 128 w 140"/>
                  <a:gd name="T19" fmla="*/ 116 h 139"/>
                  <a:gd name="T20" fmla="*/ 140 w 140"/>
                  <a:gd name="T21" fmla="*/ 111 h 139"/>
                  <a:gd name="T22" fmla="*/ 128 w 140"/>
                  <a:gd name="T23" fmla="*/ 0 h 139"/>
                  <a:gd name="T24" fmla="*/ 114 w 140"/>
                  <a:gd name="T25" fmla="*/ 5 h 139"/>
                  <a:gd name="T26" fmla="*/ 124 w 140"/>
                  <a:gd name="T27" fmla="*/ 9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0" h="139">
                    <a:moveTo>
                      <a:pt x="124" y="90"/>
                    </a:moveTo>
                    <a:lnTo>
                      <a:pt x="69" y="24"/>
                    </a:lnTo>
                    <a:lnTo>
                      <a:pt x="60" y="28"/>
                    </a:lnTo>
                    <a:lnTo>
                      <a:pt x="69" y="111"/>
                    </a:lnTo>
                    <a:lnTo>
                      <a:pt x="17" y="45"/>
                    </a:lnTo>
                    <a:lnTo>
                      <a:pt x="0" y="52"/>
                    </a:lnTo>
                    <a:lnTo>
                      <a:pt x="71" y="139"/>
                    </a:lnTo>
                    <a:lnTo>
                      <a:pt x="86" y="135"/>
                    </a:lnTo>
                    <a:lnTo>
                      <a:pt x="74" y="52"/>
                    </a:lnTo>
                    <a:lnTo>
                      <a:pt x="128" y="116"/>
                    </a:lnTo>
                    <a:lnTo>
                      <a:pt x="140" y="111"/>
                    </a:lnTo>
                    <a:lnTo>
                      <a:pt x="128" y="0"/>
                    </a:lnTo>
                    <a:lnTo>
                      <a:pt x="114" y="5"/>
                    </a:lnTo>
                    <a:lnTo>
                      <a:pt x="124" y="9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52" name="Freeform 43"/>
              <p:cNvSpPr/>
              <p:nvPr/>
            </p:nvSpPr>
            <p:spPr bwMode="auto">
              <a:xfrm>
                <a:off x="2279650" y="2278063"/>
                <a:ext cx="165100" cy="211138"/>
              </a:xfrm>
              <a:custGeom>
                <a:avLst/>
                <a:gdLst>
                  <a:gd name="T0" fmla="*/ 27 w 44"/>
                  <a:gd name="T1" fmla="*/ 43 h 56"/>
                  <a:gd name="T2" fmla="*/ 16 w 44"/>
                  <a:gd name="T3" fmla="*/ 17 h 56"/>
                  <a:gd name="T4" fmla="*/ 26 w 44"/>
                  <a:gd name="T5" fmla="*/ 13 h 56"/>
                  <a:gd name="T6" fmla="*/ 24 w 44"/>
                  <a:gd name="T7" fmla="*/ 8 h 56"/>
                  <a:gd name="T8" fmla="*/ 14 w 44"/>
                  <a:gd name="T9" fmla="*/ 12 h 56"/>
                  <a:gd name="T10" fmla="*/ 9 w 44"/>
                  <a:gd name="T11" fmla="*/ 0 h 56"/>
                  <a:gd name="T12" fmla="*/ 4 w 44"/>
                  <a:gd name="T13" fmla="*/ 4 h 56"/>
                  <a:gd name="T14" fmla="*/ 8 w 44"/>
                  <a:gd name="T15" fmla="*/ 14 h 56"/>
                  <a:gd name="T16" fmla="*/ 0 w 44"/>
                  <a:gd name="T17" fmla="*/ 17 h 56"/>
                  <a:gd name="T18" fmla="*/ 2 w 44"/>
                  <a:gd name="T19" fmla="*/ 23 h 56"/>
                  <a:gd name="T20" fmla="*/ 10 w 44"/>
                  <a:gd name="T21" fmla="*/ 19 h 56"/>
                  <a:gd name="T22" fmla="*/ 20 w 44"/>
                  <a:gd name="T23" fmla="*/ 45 h 56"/>
                  <a:gd name="T24" fmla="*/ 38 w 44"/>
                  <a:gd name="T25" fmla="*/ 53 h 56"/>
                  <a:gd name="T26" fmla="*/ 44 w 44"/>
                  <a:gd name="T27" fmla="*/ 50 h 56"/>
                  <a:gd name="T28" fmla="*/ 42 w 44"/>
                  <a:gd name="T29" fmla="*/ 44 h 56"/>
                  <a:gd name="T30" fmla="*/ 37 w 44"/>
                  <a:gd name="T31" fmla="*/ 47 h 56"/>
                  <a:gd name="T32" fmla="*/ 27 w 44"/>
                  <a:gd name="T33" fmla="*/ 4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4" h="56">
                    <a:moveTo>
                      <a:pt x="27" y="43"/>
                    </a:moveTo>
                    <a:cubicBezTo>
                      <a:pt x="16" y="17"/>
                      <a:pt x="16" y="17"/>
                      <a:pt x="16" y="17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20" y="45"/>
                      <a:pt x="20" y="45"/>
                      <a:pt x="20" y="45"/>
                    </a:cubicBezTo>
                    <a:cubicBezTo>
                      <a:pt x="24" y="53"/>
                      <a:pt x="30" y="56"/>
                      <a:pt x="38" y="53"/>
                    </a:cubicBezTo>
                    <a:cubicBezTo>
                      <a:pt x="40" y="52"/>
                      <a:pt x="41" y="51"/>
                      <a:pt x="44" y="50"/>
                    </a:cubicBezTo>
                    <a:cubicBezTo>
                      <a:pt x="42" y="44"/>
                      <a:pt x="42" y="44"/>
                      <a:pt x="42" y="44"/>
                    </a:cubicBezTo>
                    <a:cubicBezTo>
                      <a:pt x="40" y="45"/>
                      <a:pt x="38" y="46"/>
                      <a:pt x="37" y="47"/>
                    </a:cubicBezTo>
                    <a:cubicBezTo>
                      <a:pt x="32" y="49"/>
                      <a:pt x="29" y="48"/>
                      <a:pt x="27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53" name="Freeform 44"/>
              <p:cNvSpPr/>
              <p:nvPr/>
            </p:nvSpPr>
            <p:spPr bwMode="auto">
              <a:xfrm>
                <a:off x="2381250" y="2225676"/>
                <a:ext cx="214313" cy="225425"/>
              </a:xfrm>
              <a:custGeom>
                <a:avLst/>
                <a:gdLst>
                  <a:gd name="T0" fmla="*/ 42 w 57"/>
                  <a:gd name="T1" fmla="*/ 13 h 60"/>
                  <a:gd name="T2" fmla="*/ 38 w 57"/>
                  <a:gd name="T3" fmla="*/ 9 h 60"/>
                  <a:gd name="T4" fmla="*/ 32 w 57"/>
                  <a:gd name="T5" fmla="*/ 7 h 60"/>
                  <a:gd name="T6" fmla="*/ 25 w 57"/>
                  <a:gd name="T7" fmla="*/ 9 h 60"/>
                  <a:gd name="T8" fmla="*/ 16 w 57"/>
                  <a:gd name="T9" fmla="*/ 23 h 60"/>
                  <a:gd name="T10" fmla="*/ 7 w 57"/>
                  <a:gd name="T11" fmla="*/ 0 h 60"/>
                  <a:gd name="T12" fmla="*/ 0 w 57"/>
                  <a:gd name="T13" fmla="*/ 3 h 60"/>
                  <a:gd name="T14" fmla="*/ 24 w 57"/>
                  <a:gd name="T15" fmla="*/ 60 h 60"/>
                  <a:gd name="T16" fmla="*/ 30 w 57"/>
                  <a:gd name="T17" fmla="*/ 57 h 60"/>
                  <a:gd name="T18" fmla="*/ 21 w 57"/>
                  <a:gd name="T19" fmla="*/ 34 h 60"/>
                  <a:gd name="T20" fmla="*/ 20 w 57"/>
                  <a:gd name="T21" fmla="*/ 22 h 60"/>
                  <a:gd name="T22" fmla="*/ 26 w 57"/>
                  <a:gd name="T23" fmla="*/ 14 h 60"/>
                  <a:gd name="T24" fmla="*/ 32 w 57"/>
                  <a:gd name="T25" fmla="*/ 14 h 60"/>
                  <a:gd name="T26" fmla="*/ 36 w 57"/>
                  <a:gd name="T27" fmla="*/ 17 h 60"/>
                  <a:gd name="T28" fmla="*/ 39 w 57"/>
                  <a:gd name="T29" fmla="*/ 23 h 60"/>
                  <a:gd name="T30" fmla="*/ 50 w 57"/>
                  <a:gd name="T31" fmla="*/ 49 h 60"/>
                  <a:gd name="T32" fmla="*/ 57 w 57"/>
                  <a:gd name="T33" fmla="*/ 46 h 60"/>
                  <a:gd name="T34" fmla="*/ 46 w 57"/>
                  <a:gd name="T35" fmla="*/ 21 h 60"/>
                  <a:gd name="T36" fmla="*/ 42 w 57"/>
                  <a:gd name="T37" fmla="*/ 1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7" h="60">
                    <a:moveTo>
                      <a:pt x="42" y="13"/>
                    </a:moveTo>
                    <a:cubicBezTo>
                      <a:pt x="41" y="12"/>
                      <a:pt x="40" y="10"/>
                      <a:pt x="38" y="9"/>
                    </a:cubicBezTo>
                    <a:cubicBezTo>
                      <a:pt x="36" y="8"/>
                      <a:pt x="34" y="7"/>
                      <a:pt x="32" y="7"/>
                    </a:cubicBezTo>
                    <a:cubicBezTo>
                      <a:pt x="30" y="7"/>
                      <a:pt x="27" y="8"/>
                      <a:pt x="25" y="9"/>
                    </a:cubicBezTo>
                    <a:cubicBezTo>
                      <a:pt x="19" y="11"/>
                      <a:pt x="16" y="16"/>
                      <a:pt x="16" y="23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24" y="60"/>
                      <a:pt x="24" y="60"/>
                      <a:pt x="24" y="60"/>
                    </a:cubicBezTo>
                    <a:cubicBezTo>
                      <a:pt x="30" y="57"/>
                      <a:pt x="30" y="57"/>
                      <a:pt x="30" y="57"/>
                    </a:cubicBezTo>
                    <a:cubicBezTo>
                      <a:pt x="21" y="34"/>
                      <a:pt x="21" y="34"/>
                      <a:pt x="21" y="34"/>
                    </a:cubicBezTo>
                    <a:cubicBezTo>
                      <a:pt x="19" y="30"/>
                      <a:pt x="18" y="26"/>
                      <a:pt x="20" y="22"/>
                    </a:cubicBezTo>
                    <a:cubicBezTo>
                      <a:pt x="21" y="18"/>
                      <a:pt x="23" y="16"/>
                      <a:pt x="26" y="14"/>
                    </a:cubicBezTo>
                    <a:cubicBezTo>
                      <a:pt x="28" y="14"/>
                      <a:pt x="30" y="14"/>
                      <a:pt x="32" y="14"/>
                    </a:cubicBezTo>
                    <a:cubicBezTo>
                      <a:pt x="34" y="15"/>
                      <a:pt x="35" y="15"/>
                      <a:pt x="36" y="17"/>
                    </a:cubicBezTo>
                    <a:cubicBezTo>
                      <a:pt x="37" y="18"/>
                      <a:pt x="38" y="20"/>
                      <a:pt x="39" y="23"/>
                    </a:cubicBezTo>
                    <a:cubicBezTo>
                      <a:pt x="50" y="49"/>
                      <a:pt x="50" y="49"/>
                      <a:pt x="50" y="49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46" y="21"/>
                      <a:pt x="46" y="21"/>
                      <a:pt x="46" y="21"/>
                    </a:cubicBezTo>
                    <a:cubicBezTo>
                      <a:pt x="44" y="17"/>
                      <a:pt x="43" y="15"/>
                      <a:pt x="42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54" name="Freeform 45"/>
              <p:cNvSpPr/>
              <p:nvPr/>
            </p:nvSpPr>
            <p:spPr bwMode="auto">
              <a:xfrm>
                <a:off x="2809875" y="1703388"/>
                <a:ext cx="149225" cy="180975"/>
              </a:xfrm>
              <a:custGeom>
                <a:avLst/>
                <a:gdLst>
                  <a:gd name="T0" fmla="*/ 26 w 40"/>
                  <a:gd name="T1" fmla="*/ 7 h 48"/>
                  <a:gd name="T2" fmla="*/ 33 w 40"/>
                  <a:gd name="T3" fmla="*/ 21 h 48"/>
                  <a:gd name="T4" fmla="*/ 39 w 40"/>
                  <a:gd name="T5" fmla="*/ 22 h 48"/>
                  <a:gd name="T6" fmla="*/ 37 w 40"/>
                  <a:gd name="T7" fmla="*/ 10 h 48"/>
                  <a:gd name="T8" fmla="*/ 28 w 40"/>
                  <a:gd name="T9" fmla="*/ 2 h 48"/>
                  <a:gd name="T10" fmla="*/ 12 w 40"/>
                  <a:gd name="T11" fmla="*/ 4 h 48"/>
                  <a:gd name="T12" fmla="*/ 2 w 40"/>
                  <a:gd name="T13" fmla="*/ 18 h 48"/>
                  <a:gd name="T14" fmla="*/ 1 w 40"/>
                  <a:gd name="T15" fmla="*/ 35 h 48"/>
                  <a:gd name="T16" fmla="*/ 12 w 40"/>
                  <a:gd name="T17" fmla="*/ 46 h 48"/>
                  <a:gd name="T18" fmla="*/ 24 w 40"/>
                  <a:gd name="T19" fmla="*/ 46 h 48"/>
                  <a:gd name="T20" fmla="*/ 34 w 40"/>
                  <a:gd name="T21" fmla="*/ 37 h 48"/>
                  <a:gd name="T22" fmla="*/ 28 w 40"/>
                  <a:gd name="T23" fmla="*/ 34 h 48"/>
                  <a:gd name="T24" fmla="*/ 14 w 40"/>
                  <a:gd name="T25" fmla="*/ 41 h 48"/>
                  <a:gd name="T26" fmla="*/ 8 w 40"/>
                  <a:gd name="T27" fmla="*/ 34 h 48"/>
                  <a:gd name="T28" fmla="*/ 9 w 40"/>
                  <a:gd name="T29" fmla="*/ 20 h 48"/>
                  <a:gd name="T30" fmla="*/ 16 w 40"/>
                  <a:gd name="T31" fmla="*/ 9 h 48"/>
                  <a:gd name="T32" fmla="*/ 26 w 40"/>
                  <a:gd name="T33" fmla="*/ 7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" h="48">
                    <a:moveTo>
                      <a:pt x="26" y="7"/>
                    </a:moveTo>
                    <a:cubicBezTo>
                      <a:pt x="32" y="9"/>
                      <a:pt x="34" y="14"/>
                      <a:pt x="33" y="21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40" y="18"/>
                      <a:pt x="39" y="14"/>
                      <a:pt x="37" y="10"/>
                    </a:cubicBezTo>
                    <a:cubicBezTo>
                      <a:pt x="35" y="6"/>
                      <a:pt x="32" y="4"/>
                      <a:pt x="28" y="2"/>
                    </a:cubicBezTo>
                    <a:cubicBezTo>
                      <a:pt x="22" y="0"/>
                      <a:pt x="17" y="1"/>
                      <a:pt x="12" y="4"/>
                    </a:cubicBezTo>
                    <a:cubicBezTo>
                      <a:pt x="8" y="7"/>
                      <a:pt x="4" y="12"/>
                      <a:pt x="2" y="18"/>
                    </a:cubicBezTo>
                    <a:cubicBezTo>
                      <a:pt x="0" y="24"/>
                      <a:pt x="0" y="30"/>
                      <a:pt x="1" y="35"/>
                    </a:cubicBezTo>
                    <a:cubicBezTo>
                      <a:pt x="3" y="41"/>
                      <a:pt x="7" y="44"/>
                      <a:pt x="12" y="46"/>
                    </a:cubicBezTo>
                    <a:cubicBezTo>
                      <a:pt x="17" y="48"/>
                      <a:pt x="21" y="48"/>
                      <a:pt x="24" y="46"/>
                    </a:cubicBezTo>
                    <a:cubicBezTo>
                      <a:pt x="28" y="44"/>
                      <a:pt x="31" y="41"/>
                      <a:pt x="34" y="37"/>
                    </a:cubicBezTo>
                    <a:cubicBezTo>
                      <a:pt x="28" y="34"/>
                      <a:pt x="28" y="34"/>
                      <a:pt x="28" y="34"/>
                    </a:cubicBezTo>
                    <a:cubicBezTo>
                      <a:pt x="24" y="41"/>
                      <a:pt x="20" y="43"/>
                      <a:pt x="14" y="41"/>
                    </a:cubicBezTo>
                    <a:cubicBezTo>
                      <a:pt x="11" y="40"/>
                      <a:pt x="9" y="37"/>
                      <a:pt x="8" y="34"/>
                    </a:cubicBezTo>
                    <a:cubicBezTo>
                      <a:pt x="7" y="30"/>
                      <a:pt x="7" y="26"/>
                      <a:pt x="9" y="20"/>
                    </a:cubicBezTo>
                    <a:cubicBezTo>
                      <a:pt x="11" y="15"/>
                      <a:pt x="13" y="12"/>
                      <a:pt x="16" y="9"/>
                    </a:cubicBezTo>
                    <a:cubicBezTo>
                      <a:pt x="19" y="7"/>
                      <a:pt x="22" y="6"/>
                      <a:pt x="26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55" name="Freeform 46"/>
              <p:cNvSpPr/>
              <p:nvPr/>
            </p:nvSpPr>
            <p:spPr bwMode="auto">
              <a:xfrm>
                <a:off x="2952750" y="1692276"/>
                <a:ext cx="165100" cy="255588"/>
              </a:xfrm>
              <a:custGeom>
                <a:avLst/>
                <a:gdLst>
                  <a:gd name="T0" fmla="*/ 43 w 44"/>
                  <a:gd name="T1" fmla="*/ 29 h 68"/>
                  <a:gd name="T2" fmla="*/ 40 w 44"/>
                  <a:gd name="T3" fmla="*/ 24 h 68"/>
                  <a:gd name="T4" fmla="*/ 34 w 44"/>
                  <a:gd name="T5" fmla="*/ 20 h 68"/>
                  <a:gd name="T6" fmla="*/ 18 w 44"/>
                  <a:gd name="T7" fmla="*/ 25 h 68"/>
                  <a:gd name="T8" fmla="*/ 26 w 44"/>
                  <a:gd name="T9" fmla="*/ 2 h 68"/>
                  <a:gd name="T10" fmla="*/ 19 w 44"/>
                  <a:gd name="T11" fmla="*/ 0 h 68"/>
                  <a:gd name="T12" fmla="*/ 0 w 44"/>
                  <a:gd name="T13" fmla="*/ 57 h 68"/>
                  <a:gd name="T14" fmla="*/ 7 w 44"/>
                  <a:gd name="T15" fmla="*/ 59 h 68"/>
                  <a:gd name="T16" fmla="*/ 14 w 44"/>
                  <a:gd name="T17" fmla="*/ 36 h 68"/>
                  <a:gd name="T18" fmla="*/ 21 w 44"/>
                  <a:gd name="T19" fmla="*/ 27 h 68"/>
                  <a:gd name="T20" fmla="*/ 31 w 44"/>
                  <a:gd name="T21" fmla="*/ 25 h 68"/>
                  <a:gd name="T22" fmla="*/ 36 w 44"/>
                  <a:gd name="T23" fmla="*/ 29 h 68"/>
                  <a:gd name="T24" fmla="*/ 37 w 44"/>
                  <a:gd name="T25" fmla="*/ 33 h 68"/>
                  <a:gd name="T26" fmla="*/ 35 w 44"/>
                  <a:gd name="T27" fmla="*/ 40 h 68"/>
                  <a:gd name="T28" fmla="*/ 26 w 44"/>
                  <a:gd name="T29" fmla="*/ 66 h 68"/>
                  <a:gd name="T30" fmla="*/ 33 w 44"/>
                  <a:gd name="T31" fmla="*/ 68 h 68"/>
                  <a:gd name="T32" fmla="*/ 42 w 44"/>
                  <a:gd name="T33" fmla="*/ 43 h 68"/>
                  <a:gd name="T34" fmla="*/ 44 w 44"/>
                  <a:gd name="T35" fmla="*/ 35 h 68"/>
                  <a:gd name="T36" fmla="*/ 43 w 44"/>
                  <a:gd name="T37" fmla="*/ 2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4" h="68">
                    <a:moveTo>
                      <a:pt x="43" y="29"/>
                    </a:moveTo>
                    <a:cubicBezTo>
                      <a:pt x="43" y="27"/>
                      <a:pt x="42" y="26"/>
                      <a:pt x="40" y="24"/>
                    </a:cubicBezTo>
                    <a:cubicBezTo>
                      <a:pt x="39" y="22"/>
                      <a:pt x="37" y="21"/>
                      <a:pt x="34" y="20"/>
                    </a:cubicBezTo>
                    <a:cubicBezTo>
                      <a:pt x="29" y="18"/>
                      <a:pt x="23" y="20"/>
                      <a:pt x="18" y="25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7" y="59"/>
                      <a:pt x="7" y="59"/>
                      <a:pt x="7" y="59"/>
                    </a:cubicBezTo>
                    <a:cubicBezTo>
                      <a:pt x="14" y="36"/>
                      <a:pt x="14" y="36"/>
                      <a:pt x="14" y="36"/>
                    </a:cubicBezTo>
                    <a:cubicBezTo>
                      <a:pt x="16" y="32"/>
                      <a:pt x="18" y="29"/>
                      <a:pt x="21" y="27"/>
                    </a:cubicBezTo>
                    <a:cubicBezTo>
                      <a:pt x="25" y="25"/>
                      <a:pt x="28" y="24"/>
                      <a:pt x="31" y="25"/>
                    </a:cubicBezTo>
                    <a:cubicBezTo>
                      <a:pt x="33" y="26"/>
                      <a:pt x="35" y="27"/>
                      <a:pt x="36" y="29"/>
                    </a:cubicBezTo>
                    <a:cubicBezTo>
                      <a:pt x="37" y="30"/>
                      <a:pt x="37" y="32"/>
                      <a:pt x="37" y="33"/>
                    </a:cubicBezTo>
                    <a:cubicBezTo>
                      <a:pt x="37" y="35"/>
                      <a:pt x="36" y="37"/>
                      <a:pt x="35" y="40"/>
                    </a:cubicBezTo>
                    <a:cubicBezTo>
                      <a:pt x="26" y="66"/>
                      <a:pt x="26" y="66"/>
                      <a:pt x="26" y="66"/>
                    </a:cubicBezTo>
                    <a:cubicBezTo>
                      <a:pt x="33" y="68"/>
                      <a:pt x="33" y="68"/>
                      <a:pt x="33" y="68"/>
                    </a:cubicBezTo>
                    <a:cubicBezTo>
                      <a:pt x="42" y="43"/>
                      <a:pt x="42" y="43"/>
                      <a:pt x="42" y="43"/>
                    </a:cubicBezTo>
                    <a:cubicBezTo>
                      <a:pt x="43" y="39"/>
                      <a:pt x="44" y="36"/>
                      <a:pt x="44" y="35"/>
                    </a:cubicBezTo>
                    <a:cubicBezTo>
                      <a:pt x="44" y="33"/>
                      <a:pt x="44" y="31"/>
                      <a:pt x="43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56" name="Freeform 47"/>
              <p:cNvSpPr>
                <a:spLocks noEditPoints="1"/>
              </p:cNvSpPr>
              <p:nvPr/>
            </p:nvSpPr>
            <p:spPr bwMode="auto">
              <a:xfrm>
                <a:off x="3121025" y="1808163"/>
                <a:ext cx="165100" cy="200025"/>
              </a:xfrm>
              <a:custGeom>
                <a:avLst/>
                <a:gdLst>
                  <a:gd name="T0" fmla="*/ 42 w 44"/>
                  <a:gd name="T1" fmla="*/ 26 h 53"/>
                  <a:gd name="T2" fmla="*/ 43 w 44"/>
                  <a:gd name="T3" fmla="*/ 12 h 53"/>
                  <a:gd name="T4" fmla="*/ 32 w 44"/>
                  <a:gd name="T5" fmla="*/ 4 h 53"/>
                  <a:gd name="T6" fmla="*/ 9 w 44"/>
                  <a:gd name="T7" fmla="*/ 9 h 53"/>
                  <a:gd name="T8" fmla="*/ 15 w 44"/>
                  <a:gd name="T9" fmla="*/ 12 h 53"/>
                  <a:gd name="T10" fmla="*/ 29 w 44"/>
                  <a:gd name="T11" fmla="*/ 9 h 53"/>
                  <a:gd name="T12" fmla="*/ 35 w 44"/>
                  <a:gd name="T13" fmla="*/ 12 h 53"/>
                  <a:gd name="T14" fmla="*/ 37 w 44"/>
                  <a:gd name="T15" fmla="*/ 17 h 53"/>
                  <a:gd name="T16" fmla="*/ 36 w 44"/>
                  <a:gd name="T17" fmla="*/ 24 h 53"/>
                  <a:gd name="T18" fmla="*/ 30 w 44"/>
                  <a:gd name="T19" fmla="*/ 22 h 53"/>
                  <a:gd name="T20" fmla="*/ 10 w 44"/>
                  <a:gd name="T21" fmla="*/ 20 h 53"/>
                  <a:gd name="T22" fmla="*/ 1 w 44"/>
                  <a:gd name="T23" fmla="*/ 29 h 53"/>
                  <a:gd name="T24" fmla="*/ 2 w 44"/>
                  <a:gd name="T25" fmla="*/ 39 h 53"/>
                  <a:gd name="T26" fmla="*/ 12 w 44"/>
                  <a:gd name="T27" fmla="*/ 46 h 53"/>
                  <a:gd name="T28" fmla="*/ 29 w 44"/>
                  <a:gd name="T29" fmla="*/ 43 h 53"/>
                  <a:gd name="T30" fmla="*/ 28 w 44"/>
                  <a:gd name="T31" fmla="*/ 51 h 53"/>
                  <a:gd name="T32" fmla="*/ 34 w 44"/>
                  <a:gd name="T33" fmla="*/ 53 h 53"/>
                  <a:gd name="T34" fmla="*/ 36 w 44"/>
                  <a:gd name="T35" fmla="*/ 44 h 53"/>
                  <a:gd name="T36" fmla="*/ 42 w 44"/>
                  <a:gd name="T37" fmla="*/ 26 h 53"/>
                  <a:gd name="T38" fmla="*/ 26 w 44"/>
                  <a:gd name="T39" fmla="*/ 41 h 53"/>
                  <a:gd name="T40" fmla="*/ 15 w 44"/>
                  <a:gd name="T41" fmla="*/ 42 h 53"/>
                  <a:gd name="T42" fmla="*/ 9 w 44"/>
                  <a:gd name="T43" fmla="*/ 37 h 53"/>
                  <a:gd name="T44" fmla="*/ 8 w 44"/>
                  <a:gd name="T45" fmla="*/ 31 h 53"/>
                  <a:gd name="T46" fmla="*/ 15 w 44"/>
                  <a:gd name="T47" fmla="*/ 25 h 53"/>
                  <a:gd name="T48" fmla="*/ 28 w 44"/>
                  <a:gd name="T49" fmla="*/ 27 h 53"/>
                  <a:gd name="T50" fmla="*/ 34 w 44"/>
                  <a:gd name="T51" fmla="*/ 29 h 53"/>
                  <a:gd name="T52" fmla="*/ 33 w 44"/>
                  <a:gd name="T53" fmla="*/ 32 h 53"/>
                  <a:gd name="T54" fmla="*/ 26 w 44"/>
                  <a:gd name="T55" fmla="*/ 4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4" h="53">
                    <a:moveTo>
                      <a:pt x="42" y="26"/>
                    </a:moveTo>
                    <a:cubicBezTo>
                      <a:pt x="44" y="20"/>
                      <a:pt x="44" y="15"/>
                      <a:pt x="43" y="12"/>
                    </a:cubicBezTo>
                    <a:cubicBezTo>
                      <a:pt x="41" y="9"/>
                      <a:pt x="38" y="6"/>
                      <a:pt x="32" y="4"/>
                    </a:cubicBezTo>
                    <a:cubicBezTo>
                      <a:pt x="21" y="0"/>
                      <a:pt x="13" y="2"/>
                      <a:pt x="9" y="9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8" y="8"/>
                      <a:pt x="23" y="6"/>
                      <a:pt x="29" y="9"/>
                    </a:cubicBezTo>
                    <a:cubicBezTo>
                      <a:pt x="32" y="10"/>
                      <a:pt x="34" y="11"/>
                      <a:pt x="35" y="12"/>
                    </a:cubicBezTo>
                    <a:cubicBezTo>
                      <a:pt x="37" y="14"/>
                      <a:pt x="37" y="15"/>
                      <a:pt x="37" y="17"/>
                    </a:cubicBezTo>
                    <a:cubicBezTo>
                      <a:pt x="37" y="19"/>
                      <a:pt x="37" y="21"/>
                      <a:pt x="36" y="24"/>
                    </a:cubicBezTo>
                    <a:cubicBezTo>
                      <a:pt x="33" y="23"/>
                      <a:pt x="31" y="23"/>
                      <a:pt x="30" y="22"/>
                    </a:cubicBezTo>
                    <a:cubicBezTo>
                      <a:pt x="22" y="19"/>
                      <a:pt x="15" y="19"/>
                      <a:pt x="10" y="20"/>
                    </a:cubicBezTo>
                    <a:cubicBezTo>
                      <a:pt x="6" y="22"/>
                      <a:pt x="3" y="24"/>
                      <a:pt x="1" y="29"/>
                    </a:cubicBezTo>
                    <a:cubicBezTo>
                      <a:pt x="0" y="32"/>
                      <a:pt x="0" y="36"/>
                      <a:pt x="2" y="39"/>
                    </a:cubicBezTo>
                    <a:cubicBezTo>
                      <a:pt x="4" y="42"/>
                      <a:pt x="7" y="45"/>
                      <a:pt x="12" y="46"/>
                    </a:cubicBezTo>
                    <a:cubicBezTo>
                      <a:pt x="19" y="49"/>
                      <a:pt x="24" y="48"/>
                      <a:pt x="29" y="43"/>
                    </a:cubicBezTo>
                    <a:cubicBezTo>
                      <a:pt x="28" y="47"/>
                      <a:pt x="28" y="49"/>
                      <a:pt x="28" y="51"/>
                    </a:cubicBezTo>
                    <a:cubicBezTo>
                      <a:pt x="34" y="53"/>
                      <a:pt x="34" y="53"/>
                      <a:pt x="34" y="53"/>
                    </a:cubicBezTo>
                    <a:cubicBezTo>
                      <a:pt x="34" y="50"/>
                      <a:pt x="35" y="47"/>
                      <a:pt x="36" y="44"/>
                    </a:cubicBezTo>
                    <a:lnTo>
                      <a:pt x="42" y="26"/>
                    </a:lnTo>
                    <a:close/>
                    <a:moveTo>
                      <a:pt x="26" y="41"/>
                    </a:moveTo>
                    <a:cubicBezTo>
                      <a:pt x="22" y="43"/>
                      <a:pt x="19" y="43"/>
                      <a:pt x="15" y="42"/>
                    </a:cubicBezTo>
                    <a:cubicBezTo>
                      <a:pt x="12" y="41"/>
                      <a:pt x="10" y="39"/>
                      <a:pt x="9" y="37"/>
                    </a:cubicBezTo>
                    <a:cubicBezTo>
                      <a:pt x="8" y="35"/>
                      <a:pt x="8" y="33"/>
                      <a:pt x="8" y="31"/>
                    </a:cubicBezTo>
                    <a:cubicBezTo>
                      <a:pt x="9" y="28"/>
                      <a:pt x="12" y="26"/>
                      <a:pt x="15" y="25"/>
                    </a:cubicBezTo>
                    <a:cubicBezTo>
                      <a:pt x="19" y="25"/>
                      <a:pt x="23" y="25"/>
                      <a:pt x="28" y="27"/>
                    </a:cubicBezTo>
                    <a:cubicBezTo>
                      <a:pt x="29" y="27"/>
                      <a:pt x="31" y="28"/>
                      <a:pt x="34" y="29"/>
                    </a:cubicBezTo>
                    <a:cubicBezTo>
                      <a:pt x="34" y="30"/>
                      <a:pt x="33" y="31"/>
                      <a:pt x="33" y="32"/>
                    </a:cubicBezTo>
                    <a:cubicBezTo>
                      <a:pt x="32" y="36"/>
                      <a:pt x="29" y="39"/>
                      <a:pt x="26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57" name="Freeform 48"/>
              <p:cNvSpPr/>
              <p:nvPr/>
            </p:nvSpPr>
            <p:spPr bwMode="auto">
              <a:xfrm>
                <a:off x="3294063" y="1865313"/>
                <a:ext cx="134938" cy="165100"/>
              </a:xfrm>
              <a:custGeom>
                <a:avLst/>
                <a:gdLst>
                  <a:gd name="T0" fmla="*/ 26 w 36"/>
                  <a:gd name="T1" fmla="*/ 5 h 44"/>
                  <a:gd name="T2" fmla="*/ 17 w 36"/>
                  <a:gd name="T3" fmla="*/ 12 h 44"/>
                  <a:gd name="T4" fmla="*/ 20 w 36"/>
                  <a:gd name="T5" fmla="*/ 2 h 44"/>
                  <a:gd name="T6" fmla="*/ 15 w 36"/>
                  <a:gd name="T7" fmla="*/ 0 h 44"/>
                  <a:gd name="T8" fmla="*/ 0 w 36"/>
                  <a:gd name="T9" fmla="*/ 42 h 44"/>
                  <a:gd name="T10" fmla="*/ 7 w 36"/>
                  <a:gd name="T11" fmla="*/ 44 h 44"/>
                  <a:gd name="T12" fmla="*/ 14 w 36"/>
                  <a:gd name="T13" fmla="*/ 22 h 44"/>
                  <a:gd name="T14" fmla="*/ 22 w 36"/>
                  <a:gd name="T15" fmla="*/ 13 h 44"/>
                  <a:gd name="T16" fmla="*/ 32 w 36"/>
                  <a:gd name="T17" fmla="*/ 12 h 44"/>
                  <a:gd name="T18" fmla="*/ 34 w 36"/>
                  <a:gd name="T19" fmla="*/ 12 h 44"/>
                  <a:gd name="T20" fmla="*/ 36 w 36"/>
                  <a:gd name="T21" fmla="*/ 6 h 44"/>
                  <a:gd name="T22" fmla="*/ 33 w 36"/>
                  <a:gd name="T23" fmla="*/ 5 h 44"/>
                  <a:gd name="T24" fmla="*/ 26 w 36"/>
                  <a:gd name="T25" fmla="*/ 5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" h="44">
                    <a:moveTo>
                      <a:pt x="26" y="5"/>
                    </a:moveTo>
                    <a:cubicBezTo>
                      <a:pt x="24" y="5"/>
                      <a:pt x="21" y="8"/>
                      <a:pt x="17" y="12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6" y="18"/>
                      <a:pt x="18" y="15"/>
                      <a:pt x="22" y="13"/>
                    </a:cubicBezTo>
                    <a:cubicBezTo>
                      <a:pt x="25" y="11"/>
                      <a:pt x="29" y="10"/>
                      <a:pt x="32" y="12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5" y="5"/>
                      <a:pt x="34" y="5"/>
                      <a:pt x="33" y="5"/>
                    </a:cubicBezTo>
                    <a:cubicBezTo>
                      <a:pt x="31" y="4"/>
                      <a:pt x="29" y="4"/>
                      <a:pt x="26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58" name="Freeform 49"/>
              <p:cNvSpPr/>
              <p:nvPr/>
            </p:nvSpPr>
            <p:spPr bwMode="auto">
              <a:xfrm>
                <a:off x="3417888" y="1865313"/>
                <a:ext cx="109538" cy="225425"/>
              </a:xfrm>
              <a:custGeom>
                <a:avLst/>
                <a:gdLst>
                  <a:gd name="T0" fmla="*/ 14 w 29"/>
                  <a:gd name="T1" fmla="*/ 53 h 60"/>
                  <a:gd name="T2" fmla="*/ 9 w 29"/>
                  <a:gd name="T3" fmla="*/ 45 h 60"/>
                  <a:gd name="T4" fmla="*/ 18 w 29"/>
                  <a:gd name="T5" fmla="*/ 18 h 60"/>
                  <a:gd name="T6" fmla="*/ 27 w 29"/>
                  <a:gd name="T7" fmla="*/ 21 h 60"/>
                  <a:gd name="T8" fmla="*/ 29 w 29"/>
                  <a:gd name="T9" fmla="*/ 16 h 60"/>
                  <a:gd name="T10" fmla="*/ 20 w 29"/>
                  <a:gd name="T11" fmla="*/ 13 h 60"/>
                  <a:gd name="T12" fmla="*/ 24 w 29"/>
                  <a:gd name="T13" fmla="*/ 2 h 60"/>
                  <a:gd name="T14" fmla="*/ 17 w 29"/>
                  <a:gd name="T15" fmla="*/ 0 h 60"/>
                  <a:gd name="T16" fmla="*/ 13 w 29"/>
                  <a:gd name="T17" fmla="*/ 11 h 60"/>
                  <a:gd name="T18" fmla="*/ 6 w 29"/>
                  <a:gd name="T19" fmla="*/ 8 h 60"/>
                  <a:gd name="T20" fmla="*/ 4 w 29"/>
                  <a:gd name="T21" fmla="*/ 13 h 60"/>
                  <a:gd name="T22" fmla="*/ 12 w 29"/>
                  <a:gd name="T23" fmla="*/ 16 h 60"/>
                  <a:gd name="T24" fmla="*/ 3 w 29"/>
                  <a:gd name="T25" fmla="*/ 41 h 60"/>
                  <a:gd name="T26" fmla="*/ 11 w 29"/>
                  <a:gd name="T27" fmla="*/ 58 h 60"/>
                  <a:gd name="T28" fmla="*/ 17 w 29"/>
                  <a:gd name="T29" fmla="*/ 60 h 60"/>
                  <a:gd name="T30" fmla="*/ 19 w 29"/>
                  <a:gd name="T31" fmla="*/ 55 h 60"/>
                  <a:gd name="T32" fmla="*/ 14 w 29"/>
                  <a:gd name="T33" fmla="*/ 5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" h="60">
                    <a:moveTo>
                      <a:pt x="14" y="53"/>
                    </a:moveTo>
                    <a:cubicBezTo>
                      <a:pt x="9" y="52"/>
                      <a:pt x="7" y="49"/>
                      <a:pt x="9" y="45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27" y="21"/>
                      <a:pt x="27" y="21"/>
                      <a:pt x="27" y="21"/>
                    </a:cubicBezTo>
                    <a:cubicBezTo>
                      <a:pt x="29" y="16"/>
                      <a:pt x="29" y="16"/>
                      <a:pt x="29" y="16"/>
                    </a:cubicBezTo>
                    <a:cubicBezTo>
                      <a:pt x="20" y="13"/>
                      <a:pt x="20" y="13"/>
                      <a:pt x="20" y="13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3" y="41"/>
                      <a:pt x="3" y="41"/>
                      <a:pt x="3" y="41"/>
                    </a:cubicBezTo>
                    <a:cubicBezTo>
                      <a:pt x="0" y="50"/>
                      <a:pt x="3" y="55"/>
                      <a:pt x="11" y="58"/>
                    </a:cubicBezTo>
                    <a:cubicBezTo>
                      <a:pt x="13" y="59"/>
                      <a:pt x="15" y="59"/>
                      <a:pt x="17" y="60"/>
                    </a:cubicBezTo>
                    <a:cubicBezTo>
                      <a:pt x="19" y="55"/>
                      <a:pt x="19" y="55"/>
                      <a:pt x="19" y="55"/>
                    </a:cubicBezTo>
                    <a:cubicBezTo>
                      <a:pt x="17" y="54"/>
                      <a:pt x="15" y="54"/>
                      <a:pt x="14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59" name="Freeform 50"/>
              <p:cNvSpPr/>
              <p:nvPr/>
            </p:nvSpPr>
            <p:spPr bwMode="auto">
              <a:xfrm>
                <a:off x="2846388" y="4578351"/>
                <a:ext cx="219075" cy="184150"/>
              </a:xfrm>
              <a:custGeom>
                <a:avLst/>
                <a:gdLst>
                  <a:gd name="T0" fmla="*/ 54 w 58"/>
                  <a:gd name="T1" fmla="*/ 10 h 49"/>
                  <a:gd name="T2" fmla="*/ 48 w 58"/>
                  <a:gd name="T3" fmla="*/ 6 h 49"/>
                  <a:gd name="T4" fmla="*/ 34 w 58"/>
                  <a:gd name="T5" fmla="*/ 14 h 49"/>
                  <a:gd name="T6" fmla="*/ 31 w 58"/>
                  <a:gd name="T7" fmla="*/ 6 h 49"/>
                  <a:gd name="T8" fmla="*/ 24 w 58"/>
                  <a:gd name="T9" fmla="*/ 2 h 49"/>
                  <a:gd name="T10" fmla="*/ 11 w 58"/>
                  <a:gd name="T11" fmla="*/ 9 h 49"/>
                  <a:gd name="T12" fmla="*/ 12 w 58"/>
                  <a:gd name="T13" fmla="*/ 1 h 49"/>
                  <a:gd name="T14" fmla="*/ 6 w 58"/>
                  <a:gd name="T15" fmla="*/ 0 h 49"/>
                  <a:gd name="T16" fmla="*/ 0 w 58"/>
                  <a:gd name="T17" fmla="*/ 40 h 49"/>
                  <a:gd name="T18" fmla="*/ 6 w 58"/>
                  <a:gd name="T19" fmla="*/ 41 h 49"/>
                  <a:gd name="T20" fmla="*/ 10 w 58"/>
                  <a:gd name="T21" fmla="*/ 17 h 49"/>
                  <a:gd name="T22" fmla="*/ 14 w 58"/>
                  <a:gd name="T23" fmla="*/ 9 h 49"/>
                  <a:gd name="T24" fmla="*/ 21 w 58"/>
                  <a:gd name="T25" fmla="*/ 7 h 49"/>
                  <a:gd name="T26" fmla="*/ 26 w 58"/>
                  <a:gd name="T27" fmla="*/ 10 h 49"/>
                  <a:gd name="T28" fmla="*/ 28 w 58"/>
                  <a:gd name="T29" fmla="*/ 18 h 49"/>
                  <a:gd name="T30" fmla="*/ 23 w 58"/>
                  <a:gd name="T31" fmla="*/ 44 h 49"/>
                  <a:gd name="T32" fmla="*/ 29 w 58"/>
                  <a:gd name="T33" fmla="*/ 45 h 49"/>
                  <a:gd name="T34" fmla="*/ 33 w 58"/>
                  <a:gd name="T35" fmla="*/ 23 h 49"/>
                  <a:gd name="T36" fmla="*/ 38 w 58"/>
                  <a:gd name="T37" fmla="*/ 13 h 49"/>
                  <a:gd name="T38" fmla="*/ 45 w 58"/>
                  <a:gd name="T39" fmla="*/ 11 h 49"/>
                  <a:gd name="T40" fmla="*/ 50 w 58"/>
                  <a:gd name="T41" fmla="*/ 14 h 49"/>
                  <a:gd name="T42" fmla="*/ 52 w 58"/>
                  <a:gd name="T43" fmla="*/ 17 h 49"/>
                  <a:gd name="T44" fmla="*/ 51 w 58"/>
                  <a:gd name="T45" fmla="*/ 23 h 49"/>
                  <a:gd name="T46" fmla="*/ 47 w 58"/>
                  <a:gd name="T47" fmla="*/ 48 h 49"/>
                  <a:gd name="T48" fmla="*/ 53 w 58"/>
                  <a:gd name="T49" fmla="*/ 49 h 49"/>
                  <a:gd name="T50" fmla="*/ 57 w 58"/>
                  <a:gd name="T51" fmla="*/ 24 h 49"/>
                  <a:gd name="T52" fmla="*/ 58 w 58"/>
                  <a:gd name="T53" fmla="*/ 16 h 49"/>
                  <a:gd name="T54" fmla="*/ 54 w 58"/>
                  <a:gd name="T55" fmla="*/ 1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8" h="49">
                    <a:moveTo>
                      <a:pt x="54" y="10"/>
                    </a:moveTo>
                    <a:cubicBezTo>
                      <a:pt x="53" y="8"/>
                      <a:pt x="50" y="7"/>
                      <a:pt x="48" y="6"/>
                    </a:cubicBezTo>
                    <a:cubicBezTo>
                      <a:pt x="42" y="5"/>
                      <a:pt x="37" y="8"/>
                      <a:pt x="34" y="14"/>
                    </a:cubicBezTo>
                    <a:cubicBezTo>
                      <a:pt x="34" y="11"/>
                      <a:pt x="33" y="8"/>
                      <a:pt x="31" y="6"/>
                    </a:cubicBezTo>
                    <a:cubicBezTo>
                      <a:pt x="29" y="4"/>
                      <a:pt x="27" y="3"/>
                      <a:pt x="24" y="2"/>
                    </a:cubicBezTo>
                    <a:cubicBezTo>
                      <a:pt x="19" y="1"/>
                      <a:pt x="14" y="4"/>
                      <a:pt x="11" y="9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6" y="41"/>
                      <a:pt x="6" y="41"/>
                      <a:pt x="6" y="41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0" y="14"/>
                      <a:pt x="12" y="11"/>
                      <a:pt x="14" y="9"/>
                    </a:cubicBezTo>
                    <a:cubicBezTo>
                      <a:pt x="16" y="7"/>
                      <a:pt x="19" y="7"/>
                      <a:pt x="21" y="7"/>
                    </a:cubicBezTo>
                    <a:cubicBezTo>
                      <a:pt x="23" y="7"/>
                      <a:pt x="25" y="8"/>
                      <a:pt x="26" y="10"/>
                    </a:cubicBezTo>
                    <a:cubicBezTo>
                      <a:pt x="28" y="12"/>
                      <a:pt x="28" y="14"/>
                      <a:pt x="28" y="18"/>
                    </a:cubicBezTo>
                    <a:cubicBezTo>
                      <a:pt x="23" y="44"/>
                      <a:pt x="23" y="44"/>
                      <a:pt x="23" y="44"/>
                    </a:cubicBezTo>
                    <a:cubicBezTo>
                      <a:pt x="29" y="45"/>
                      <a:pt x="29" y="45"/>
                      <a:pt x="29" y="45"/>
                    </a:cubicBezTo>
                    <a:cubicBezTo>
                      <a:pt x="33" y="23"/>
                      <a:pt x="33" y="23"/>
                      <a:pt x="33" y="23"/>
                    </a:cubicBezTo>
                    <a:cubicBezTo>
                      <a:pt x="34" y="18"/>
                      <a:pt x="35" y="15"/>
                      <a:pt x="38" y="13"/>
                    </a:cubicBezTo>
                    <a:cubicBezTo>
                      <a:pt x="40" y="11"/>
                      <a:pt x="43" y="11"/>
                      <a:pt x="45" y="11"/>
                    </a:cubicBezTo>
                    <a:cubicBezTo>
                      <a:pt x="47" y="11"/>
                      <a:pt x="48" y="12"/>
                      <a:pt x="50" y="14"/>
                    </a:cubicBezTo>
                    <a:cubicBezTo>
                      <a:pt x="51" y="15"/>
                      <a:pt x="51" y="16"/>
                      <a:pt x="52" y="17"/>
                    </a:cubicBezTo>
                    <a:cubicBezTo>
                      <a:pt x="52" y="19"/>
                      <a:pt x="52" y="21"/>
                      <a:pt x="51" y="23"/>
                    </a:cubicBezTo>
                    <a:cubicBezTo>
                      <a:pt x="47" y="48"/>
                      <a:pt x="47" y="48"/>
                      <a:pt x="47" y="48"/>
                    </a:cubicBezTo>
                    <a:cubicBezTo>
                      <a:pt x="53" y="49"/>
                      <a:pt x="53" y="49"/>
                      <a:pt x="53" y="49"/>
                    </a:cubicBezTo>
                    <a:cubicBezTo>
                      <a:pt x="57" y="24"/>
                      <a:pt x="57" y="24"/>
                      <a:pt x="57" y="24"/>
                    </a:cubicBezTo>
                    <a:cubicBezTo>
                      <a:pt x="58" y="21"/>
                      <a:pt x="58" y="18"/>
                      <a:pt x="58" y="16"/>
                    </a:cubicBezTo>
                    <a:cubicBezTo>
                      <a:pt x="57" y="14"/>
                      <a:pt x="56" y="12"/>
                      <a:pt x="54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60" name="Freeform 51"/>
              <p:cNvSpPr>
                <a:spLocks noEditPoints="1"/>
              </p:cNvSpPr>
              <p:nvPr/>
            </p:nvSpPr>
            <p:spPr bwMode="auto">
              <a:xfrm>
                <a:off x="3090863" y="4622801"/>
                <a:ext cx="139700" cy="161925"/>
              </a:xfrm>
              <a:custGeom>
                <a:avLst/>
                <a:gdLst>
                  <a:gd name="T0" fmla="*/ 22 w 37"/>
                  <a:gd name="T1" fmla="*/ 1 h 43"/>
                  <a:gd name="T2" fmla="*/ 8 w 37"/>
                  <a:gd name="T3" fmla="*/ 4 h 43"/>
                  <a:gd name="T4" fmla="*/ 1 w 37"/>
                  <a:gd name="T5" fmla="*/ 18 h 43"/>
                  <a:gd name="T6" fmla="*/ 3 w 37"/>
                  <a:gd name="T7" fmla="*/ 34 h 43"/>
                  <a:gd name="T8" fmla="*/ 14 w 37"/>
                  <a:gd name="T9" fmla="*/ 42 h 43"/>
                  <a:gd name="T10" fmla="*/ 28 w 37"/>
                  <a:gd name="T11" fmla="*/ 39 h 43"/>
                  <a:gd name="T12" fmla="*/ 36 w 37"/>
                  <a:gd name="T13" fmla="*/ 24 h 43"/>
                  <a:gd name="T14" fmla="*/ 34 w 37"/>
                  <a:gd name="T15" fmla="*/ 9 h 43"/>
                  <a:gd name="T16" fmla="*/ 22 w 37"/>
                  <a:gd name="T17" fmla="*/ 1 h 43"/>
                  <a:gd name="T18" fmla="*/ 24 w 37"/>
                  <a:gd name="T19" fmla="*/ 35 h 43"/>
                  <a:gd name="T20" fmla="*/ 16 w 37"/>
                  <a:gd name="T21" fmla="*/ 37 h 43"/>
                  <a:gd name="T22" fmla="*/ 8 w 37"/>
                  <a:gd name="T23" fmla="*/ 32 h 43"/>
                  <a:gd name="T24" fmla="*/ 7 w 37"/>
                  <a:gd name="T25" fmla="*/ 20 h 43"/>
                  <a:gd name="T26" fmla="*/ 12 w 37"/>
                  <a:gd name="T27" fmla="*/ 8 h 43"/>
                  <a:gd name="T28" fmla="*/ 21 w 37"/>
                  <a:gd name="T29" fmla="*/ 6 h 43"/>
                  <a:gd name="T30" fmla="*/ 28 w 37"/>
                  <a:gd name="T31" fmla="*/ 11 h 43"/>
                  <a:gd name="T32" fmla="*/ 29 w 37"/>
                  <a:gd name="T33" fmla="*/ 23 h 43"/>
                  <a:gd name="T34" fmla="*/ 24 w 37"/>
                  <a:gd name="T35" fmla="*/ 35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7" h="43">
                    <a:moveTo>
                      <a:pt x="22" y="1"/>
                    </a:moveTo>
                    <a:cubicBezTo>
                      <a:pt x="17" y="0"/>
                      <a:pt x="12" y="1"/>
                      <a:pt x="8" y="4"/>
                    </a:cubicBezTo>
                    <a:cubicBezTo>
                      <a:pt x="4" y="7"/>
                      <a:pt x="2" y="12"/>
                      <a:pt x="1" y="18"/>
                    </a:cubicBezTo>
                    <a:cubicBezTo>
                      <a:pt x="0" y="24"/>
                      <a:pt x="0" y="30"/>
                      <a:pt x="3" y="34"/>
                    </a:cubicBezTo>
                    <a:cubicBezTo>
                      <a:pt x="5" y="39"/>
                      <a:pt x="9" y="42"/>
                      <a:pt x="14" y="42"/>
                    </a:cubicBezTo>
                    <a:cubicBezTo>
                      <a:pt x="20" y="43"/>
                      <a:pt x="24" y="42"/>
                      <a:pt x="28" y="39"/>
                    </a:cubicBezTo>
                    <a:cubicBezTo>
                      <a:pt x="33" y="35"/>
                      <a:pt x="35" y="31"/>
                      <a:pt x="36" y="24"/>
                    </a:cubicBezTo>
                    <a:cubicBezTo>
                      <a:pt x="37" y="19"/>
                      <a:pt x="36" y="13"/>
                      <a:pt x="34" y="9"/>
                    </a:cubicBezTo>
                    <a:cubicBezTo>
                      <a:pt x="31" y="4"/>
                      <a:pt x="27" y="2"/>
                      <a:pt x="22" y="1"/>
                    </a:cubicBezTo>
                    <a:close/>
                    <a:moveTo>
                      <a:pt x="24" y="35"/>
                    </a:moveTo>
                    <a:cubicBezTo>
                      <a:pt x="22" y="37"/>
                      <a:pt x="19" y="38"/>
                      <a:pt x="16" y="37"/>
                    </a:cubicBezTo>
                    <a:cubicBezTo>
                      <a:pt x="13" y="37"/>
                      <a:pt x="10" y="35"/>
                      <a:pt x="8" y="32"/>
                    </a:cubicBezTo>
                    <a:cubicBezTo>
                      <a:pt x="7" y="30"/>
                      <a:pt x="6" y="25"/>
                      <a:pt x="7" y="20"/>
                    </a:cubicBezTo>
                    <a:cubicBezTo>
                      <a:pt x="8" y="14"/>
                      <a:pt x="10" y="10"/>
                      <a:pt x="12" y="8"/>
                    </a:cubicBezTo>
                    <a:cubicBezTo>
                      <a:pt x="15" y="6"/>
                      <a:pt x="18" y="5"/>
                      <a:pt x="21" y="6"/>
                    </a:cubicBezTo>
                    <a:cubicBezTo>
                      <a:pt x="24" y="6"/>
                      <a:pt x="26" y="8"/>
                      <a:pt x="28" y="11"/>
                    </a:cubicBezTo>
                    <a:cubicBezTo>
                      <a:pt x="30" y="14"/>
                      <a:pt x="30" y="18"/>
                      <a:pt x="29" y="23"/>
                    </a:cubicBezTo>
                    <a:cubicBezTo>
                      <a:pt x="28" y="29"/>
                      <a:pt x="27" y="33"/>
                      <a:pt x="24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61" name="Freeform 52"/>
              <p:cNvSpPr/>
              <p:nvPr/>
            </p:nvSpPr>
            <p:spPr bwMode="auto">
              <a:xfrm>
                <a:off x="3249613" y="4645026"/>
                <a:ext cx="134938" cy="169863"/>
              </a:xfrm>
              <a:custGeom>
                <a:avLst/>
                <a:gdLst>
                  <a:gd name="T0" fmla="*/ 32 w 36"/>
                  <a:gd name="T1" fmla="*/ 6 h 45"/>
                  <a:gd name="T2" fmla="*/ 25 w 36"/>
                  <a:gd name="T3" fmla="*/ 2 h 45"/>
                  <a:gd name="T4" fmla="*/ 11 w 36"/>
                  <a:gd name="T5" fmla="*/ 9 h 45"/>
                  <a:gd name="T6" fmla="*/ 12 w 36"/>
                  <a:gd name="T7" fmla="*/ 1 h 45"/>
                  <a:gd name="T8" fmla="*/ 7 w 36"/>
                  <a:gd name="T9" fmla="*/ 0 h 45"/>
                  <a:gd name="T10" fmla="*/ 0 w 36"/>
                  <a:gd name="T11" fmla="*/ 40 h 45"/>
                  <a:gd name="T12" fmla="*/ 6 w 36"/>
                  <a:gd name="T13" fmla="*/ 41 h 45"/>
                  <a:gd name="T14" fmla="*/ 10 w 36"/>
                  <a:gd name="T15" fmla="*/ 19 h 45"/>
                  <a:gd name="T16" fmla="*/ 15 w 36"/>
                  <a:gd name="T17" fmla="*/ 10 h 45"/>
                  <a:gd name="T18" fmla="*/ 23 w 36"/>
                  <a:gd name="T19" fmla="*/ 7 h 45"/>
                  <a:gd name="T20" fmla="*/ 29 w 36"/>
                  <a:gd name="T21" fmla="*/ 11 h 45"/>
                  <a:gd name="T22" fmla="*/ 30 w 36"/>
                  <a:gd name="T23" fmla="*/ 19 h 45"/>
                  <a:gd name="T24" fmla="*/ 26 w 36"/>
                  <a:gd name="T25" fmla="*/ 44 h 45"/>
                  <a:gd name="T26" fmla="*/ 31 w 36"/>
                  <a:gd name="T27" fmla="*/ 45 h 45"/>
                  <a:gd name="T28" fmla="*/ 35 w 36"/>
                  <a:gd name="T29" fmla="*/ 22 h 45"/>
                  <a:gd name="T30" fmla="*/ 36 w 36"/>
                  <a:gd name="T31" fmla="*/ 12 h 45"/>
                  <a:gd name="T32" fmla="*/ 32 w 36"/>
                  <a:gd name="T33" fmla="*/ 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6" h="45">
                    <a:moveTo>
                      <a:pt x="32" y="6"/>
                    </a:moveTo>
                    <a:cubicBezTo>
                      <a:pt x="30" y="4"/>
                      <a:pt x="28" y="3"/>
                      <a:pt x="25" y="2"/>
                    </a:cubicBezTo>
                    <a:cubicBezTo>
                      <a:pt x="20" y="1"/>
                      <a:pt x="15" y="3"/>
                      <a:pt x="11" y="9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6" y="41"/>
                      <a:pt x="6" y="41"/>
                      <a:pt x="6" y="41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11" y="15"/>
                      <a:pt x="12" y="12"/>
                      <a:pt x="15" y="10"/>
                    </a:cubicBezTo>
                    <a:cubicBezTo>
                      <a:pt x="17" y="8"/>
                      <a:pt x="20" y="7"/>
                      <a:pt x="23" y="7"/>
                    </a:cubicBezTo>
                    <a:cubicBezTo>
                      <a:pt x="26" y="8"/>
                      <a:pt x="27" y="9"/>
                      <a:pt x="29" y="11"/>
                    </a:cubicBezTo>
                    <a:cubicBezTo>
                      <a:pt x="30" y="12"/>
                      <a:pt x="30" y="15"/>
                      <a:pt x="30" y="19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31" y="45"/>
                      <a:pt x="31" y="45"/>
                      <a:pt x="31" y="45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6" y="17"/>
                      <a:pt x="36" y="14"/>
                      <a:pt x="36" y="12"/>
                    </a:cubicBezTo>
                    <a:cubicBezTo>
                      <a:pt x="35" y="10"/>
                      <a:pt x="34" y="8"/>
                      <a:pt x="3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62" name="Freeform 53"/>
              <p:cNvSpPr>
                <a:spLocks noEditPoints="1"/>
              </p:cNvSpPr>
              <p:nvPr/>
            </p:nvSpPr>
            <p:spPr bwMode="auto">
              <a:xfrm>
                <a:off x="3409950" y="4675188"/>
                <a:ext cx="142875" cy="165100"/>
              </a:xfrm>
              <a:custGeom>
                <a:avLst/>
                <a:gdLst>
                  <a:gd name="T0" fmla="*/ 34 w 38"/>
                  <a:gd name="T1" fmla="*/ 8 h 44"/>
                  <a:gd name="T2" fmla="*/ 23 w 38"/>
                  <a:gd name="T3" fmla="*/ 1 h 44"/>
                  <a:gd name="T4" fmla="*/ 9 w 38"/>
                  <a:gd name="T5" fmla="*/ 5 h 44"/>
                  <a:gd name="T6" fmla="*/ 1 w 38"/>
                  <a:gd name="T7" fmla="*/ 19 h 44"/>
                  <a:gd name="T8" fmla="*/ 3 w 38"/>
                  <a:gd name="T9" fmla="*/ 35 h 44"/>
                  <a:gd name="T10" fmla="*/ 16 w 38"/>
                  <a:gd name="T11" fmla="*/ 43 h 44"/>
                  <a:gd name="T12" fmla="*/ 27 w 38"/>
                  <a:gd name="T13" fmla="*/ 41 h 44"/>
                  <a:gd name="T14" fmla="*/ 34 w 38"/>
                  <a:gd name="T15" fmla="*/ 34 h 44"/>
                  <a:gd name="T16" fmla="*/ 29 w 38"/>
                  <a:gd name="T17" fmla="*/ 32 h 44"/>
                  <a:gd name="T18" fmla="*/ 17 w 38"/>
                  <a:gd name="T19" fmla="*/ 38 h 44"/>
                  <a:gd name="T20" fmla="*/ 9 w 38"/>
                  <a:gd name="T21" fmla="*/ 33 h 44"/>
                  <a:gd name="T22" fmla="*/ 8 w 38"/>
                  <a:gd name="T23" fmla="*/ 21 h 44"/>
                  <a:gd name="T24" fmla="*/ 36 w 38"/>
                  <a:gd name="T25" fmla="*/ 25 h 44"/>
                  <a:gd name="T26" fmla="*/ 34 w 38"/>
                  <a:gd name="T27" fmla="*/ 8 h 44"/>
                  <a:gd name="T28" fmla="*/ 9 w 38"/>
                  <a:gd name="T29" fmla="*/ 16 h 44"/>
                  <a:gd name="T30" fmla="*/ 14 w 38"/>
                  <a:gd name="T31" fmla="*/ 8 h 44"/>
                  <a:gd name="T32" fmla="*/ 22 w 38"/>
                  <a:gd name="T33" fmla="*/ 6 h 44"/>
                  <a:gd name="T34" fmla="*/ 28 w 38"/>
                  <a:gd name="T35" fmla="*/ 9 h 44"/>
                  <a:gd name="T36" fmla="*/ 30 w 38"/>
                  <a:gd name="T37" fmla="*/ 14 h 44"/>
                  <a:gd name="T38" fmla="*/ 30 w 38"/>
                  <a:gd name="T39" fmla="*/ 20 h 44"/>
                  <a:gd name="T40" fmla="*/ 9 w 38"/>
                  <a:gd name="T41" fmla="*/ 1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8" h="44">
                    <a:moveTo>
                      <a:pt x="34" y="8"/>
                    </a:moveTo>
                    <a:cubicBezTo>
                      <a:pt x="32" y="4"/>
                      <a:pt x="28" y="2"/>
                      <a:pt x="23" y="1"/>
                    </a:cubicBezTo>
                    <a:cubicBezTo>
                      <a:pt x="17" y="0"/>
                      <a:pt x="13" y="1"/>
                      <a:pt x="9" y="5"/>
                    </a:cubicBezTo>
                    <a:cubicBezTo>
                      <a:pt x="4" y="8"/>
                      <a:pt x="2" y="13"/>
                      <a:pt x="1" y="19"/>
                    </a:cubicBezTo>
                    <a:cubicBezTo>
                      <a:pt x="0" y="25"/>
                      <a:pt x="1" y="31"/>
                      <a:pt x="3" y="35"/>
                    </a:cubicBezTo>
                    <a:cubicBezTo>
                      <a:pt x="6" y="39"/>
                      <a:pt x="10" y="42"/>
                      <a:pt x="16" y="43"/>
                    </a:cubicBezTo>
                    <a:cubicBezTo>
                      <a:pt x="20" y="44"/>
                      <a:pt x="23" y="43"/>
                      <a:pt x="27" y="41"/>
                    </a:cubicBezTo>
                    <a:cubicBezTo>
                      <a:pt x="30" y="40"/>
                      <a:pt x="33" y="37"/>
                      <a:pt x="34" y="34"/>
                    </a:cubicBezTo>
                    <a:cubicBezTo>
                      <a:pt x="29" y="32"/>
                      <a:pt x="29" y="32"/>
                      <a:pt x="29" y="32"/>
                    </a:cubicBezTo>
                    <a:cubicBezTo>
                      <a:pt x="26" y="37"/>
                      <a:pt x="22" y="39"/>
                      <a:pt x="17" y="38"/>
                    </a:cubicBezTo>
                    <a:cubicBezTo>
                      <a:pt x="14" y="37"/>
                      <a:pt x="12" y="36"/>
                      <a:pt x="9" y="33"/>
                    </a:cubicBezTo>
                    <a:cubicBezTo>
                      <a:pt x="7" y="31"/>
                      <a:pt x="7" y="27"/>
                      <a:pt x="8" y="21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8" y="18"/>
                      <a:pt x="37" y="13"/>
                      <a:pt x="34" y="8"/>
                    </a:cubicBezTo>
                    <a:close/>
                    <a:moveTo>
                      <a:pt x="9" y="16"/>
                    </a:moveTo>
                    <a:cubicBezTo>
                      <a:pt x="10" y="12"/>
                      <a:pt x="11" y="10"/>
                      <a:pt x="14" y="8"/>
                    </a:cubicBezTo>
                    <a:cubicBezTo>
                      <a:pt x="16" y="6"/>
                      <a:pt x="19" y="5"/>
                      <a:pt x="22" y="6"/>
                    </a:cubicBezTo>
                    <a:cubicBezTo>
                      <a:pt x="24" y="6"/>
                      <a:pt x="26" y="7"/>
                      <a:pt x="28" y="9"/>
                    </a:cubicBezTo>
                    <a:cubicBezTo>
                      <a:pt x="29" y="10"/>
                      <a:pt x="30" y="12"/>
                      <a:pt x="30" y="14"/>
                    </a:cubicBezTo>
                    <a:cubicBezTo>
                      <a:pt x="31" y="15"/>
                      <a:pt x="31" y="17"/>
                      <a:pt x="30" y="20"/>
                    </a:cubicBezTo>
                    <a:lnTo>
                      <a:pt x="9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63" name="Freeform 54"/>
              <p:cNvSpPr/>
              <p:nvPr/>
            </p:nvSpPr>
            <p:spPr bwMode="auto">
              <a:xfrm>
                <a:off x="3538538" y="4694238"/>
                <a:ext cx="153988" cy="209550"/>
              </a:xfrm>
              <a:custGeom>
                <a:avLst/>
                <a:gdLst>
                  <a:gd name="T0" fmla="*/ 36 w 41"/>
                  <a:gd name="T1" fmla="*/ 5 h 56"/>
                  <a:gd name="T2" fmla="*/ 20 w 41"/>
                  <a:gd name="T3" fmla="*/ 33 h 56"/>
                  <a:gd name="T4" fmla="*/ 14 w 41"/>
                  <a:gd name="T5" fmla="*/ 1 h 56"/>
                  <a:gd name="T6" fmla="*/ 8 w 41"/>
                  <a:gd name="T7" fmla="*/ 0 h 56"/>
                  <a:gd name="T8" fmla="*/ 15 w 41"/>
                  <a:gd name="T9" fmla="*/ 42 h 56"/>
                  <a:gd name="T10" fmla="*/ 10 w 41"/>
                  <a:gd name="T11" fmla="*/ 49 h 56"/>
                  <a:gd name="T12" fmla="*/ 5 w 41"/>
                  <a:gd name="T13" fmla="*/ 50 h 56"/>
                  <a:gd name="T14" fmla="*/ 1 w 41"/>
                  <a:gd name="T15" fmla="*/ 49 h 56"/>
                  <a:gd name="T16" fmla="*/ 0 w 41"/>
                  <a:gd name="T17" fmla="*/ 54 h 56"/>
                  <a:gd name="T18" fmla="*/ 5 w 41"/>
                  <a:gd name="T19" fmla="*/ 55 h 56"/>
                  <a:gd name="T20" fmla="*/ 18 w 41"/>
                  <a:gd name="T21" fmla="*/ 48 h 56"/>
                  <a:gd name="T22" fmla="*/ 41 w 41"/>
                  <a:gd name="T23" fmla="*/ 6 h 56"/>
                  <a:gd name="T24" fmla="*/ 36 w 41"/>
                  <a:gd name="T25" fmla="*/ 5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" h="56">
                    <a:moveTo>
                      <a:pt x="36" y="5"/>
                    </a:moveTo>
                    <a:cubicBezTo>
                      <a:pt x="20" y="33"/>
                      <a:pt x="20" y="33"/>
                      <a:pt x="20" y="33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5" y="42"/>
                      <a:pt x="15" y="42"/>
                      <a:pt x="15" y="42"/>
                    </a:cubicBezTo>
                    <a:cubicBezTo>
                      <a:pt x="13" y="46"/>
                      <a:pt x="11" y="48"/>
                      <a:pt x="10" y="49"/>
                    </a:cubicBezTo>
                    <a:cubicBezTo>
                      <a:pt x="8" y="50"/>
                      <a:pt x="7" y="50"/>
                      <a:pt x="5" y="50"/>
                    </a:cubicBezTo>
                    <a:cubicBezTo>
                      <a:pt x="4" y="50"/>
                      <a:pt x="2" y="49"/>
                      <a:pt x="1" y="49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2" y="54"/>
                      <a:pt x="3" y="55"/>
                      <a:pt x="5" y="55"/>
                    </a:cubicBezTo>
                    <a:cubicBezTo>
                      <a:pt x="10" y="56"/>
                      <a:pt x="14" y="54"/>
                      <a:pt x="18" y="48"/>
                    </a:cubicBezTo>
                    <a:cubicBezTo>
                      <a:pt x="41" y="6"/>
                      <a:pt x="41" y="6"/>
                      <a:pt x="41" y="6"/>
                    </a:cubicBezTo>
                    <a:lnTo>
                      <a:pt x="36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64" name="Freeform 55"/>
              <p:cNvSpPr/>
              <p:nvPr/>
            </p:nvSpPr>
            <p:spPr bwMode="auto">
              <a:xfrm>
                <a:off x="3775075" y="1670051"/>
                <a:ext cx="93663" cy="228600"/>
              </a:xfrm>
              <a:custGeom>
                <a:avLst/>
                <a:gdLst>
                  <a:gd name="T0" fmla="*/ 0 w 59"/>
                  <a:gd name="T1" fmla="*/ 137 h 144"/>
                  <a:gd name="T2" fmla="*/ 14 w 59"/>
                  <a:gd name="T3" fmla="*/ 144 h 144"/>
                  <a:gd name="T4" fmla="*/ 59 w 59"/>
                  <a:gd name="T5" fmla="*/ 5 h 144"/>
                  <a:gd name="T6" fmla="*/ 43 w 59"/>
                  <a:gd name="T7" fmla="*/ 0 h 144"/>
                  <a:gd name="T8" fmla="*/ 0 w 59"/>
                  <a:gd name="T9" fmla="*/ 137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144">
                    <a:moveTo>
                      <a:pt x="0" y="137"/>
                    </a:moveTo>
                    <a:lnTo>
                      <a:pt x="14" y="144"/>
                    </a:lnTo>
                    <a:lnTo>
                      <a:pt x="59" y="5"/>
                    </a:lnTo>
                    <a:lnTo>
                      <a:pt x="43" y="0"/>
                    </a:lnTo>
                    <a:lnTo>
                      <a:pt x="0" y="1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65" name="Freeform 56"/>
              <p:cNvSpPr/>
              <p:nvPr/>
            </p:nvSpPr>
            <p:spPr bwMode="auto">
              <a:xfrm>
                <a:off x="3849688" y="1752601"/>
                <a:ext cx="76200" cy="168275"/>
              </a:xfrm>
              <a:custGeom>
                <a:avLst/>
                <a:gdLst>
                  <a:gd name="T0" fmla="*/ 0 w 48"/>
                  <a:gd name="T1" fmla="*/ 102 h 106"/>
                  <a:gd name="T2" fmla="*/ 15 w 48"/>
                  <a:gd name="T3" fmla="*/ 106 h 106"/>
                  <a:gd name="T4" fmla="*/ 48 w 48"/>
                  <a:gd name="T5" fmla="*/ 5 h 106"/>
                  <a:gd name="T6" fmla="*/ 31 w 48"/>
                  <a:gd name="T7" fmla="*/ 0 h 106"/>
                  <a:gd name="T8" fmla="*/ 0 w 48"/>
                  <a:gd name="T9" fmla="*/ 102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106">
                    <a:moveTo>
                      <a:pt x="0" y="102"/>
                    </a:moveTo>
                    <a:lnTo>
                      <a:pt x="15" y="106"/>
                    </a:lnTo>
                    <a:lnTo>
                      <a:pt x="48" y="5"/>
                    </a:lnTo>
                    <a:lnTo>
                      <a:pt x="31" y="0"/>
                    </a:lnTo>
                    <a:lnTo>
                      <a:pt x="0" y="10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66" name="Freeform 57"/>
              <p:cNvSpPr/>
              <p:nvPr/>
            </p:nvSpPr>
            <p:spPr bwMode="auto">
              <a:xfrm>
                <a:off x="3910013" y="1692276"/>
                <a:ext cx="34925" cy="38100"/>
              </a:xfrm>
              <a:custGeom>
                <a:avLst/>
                <a:gdLst>
                  <a:gd name="T0" fmla="*/ 0 w 22"/>
                  <a:gd name="T1" fmla="*/ 19 h 24"/>
                  <a:gd name="T2" fmla="*/ 17 w 22"/>
                  <a:gd name="T3" fmla="*/ 24 h 24"/>
                  <a:gd name="T4" fmla="*/ 22 w 22"/>
                  <a:gd name="T5" fmla="*/ 7 h 24"/>
                  <a:gd name="T6" fmla="*/ 5 w 22"/>
                  <a:gd name="T7" fmla="*/ 0 h 24"/>
                  <a:gd name="T8" fmla="*/ 0 w 22"/>
                  <a:gd name="T9" fmla="*/ 1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4">
                    <a:moveTo>
                      <a:pt x="0" y="19"/>
                    </a:moveTo>
                    <a:lnTo>
                      <a:pt x="17" y="24"/>
                    </a:lnTo>
                    <a:lnTo>
                      <a:pt x="22" y="7"/>
                    </a:lnTo>
                    <a:lnTo>
                      <a:pt x="5" y="0"/>
                    </a:lnTo>
                    <a:lnTo>
                      <a:pt x="0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67" name="Freeform 58"/>
              <p:cNvSpPr>
                <a:spLocks noEditPoints="1"/>
              </p:cNvSpPr>
              <p:nvPr/>
            </p:nvSpPr>
            <p:spPr bwMode="auto">
              <a:xfrm>
                <a:off x="3898900" y="1782763"/>
                <a:ext cx="219075" cy="250825"/>
              </a:xfrm>
              <a:custGeom>
                <a:avLst/>
                <a:gdLst>
                  <a:gd name="T0" fmla="*/ 37 w 58"/>
                  <a:gd name="T1" fmla="*/ 44 h 67"/>
                  <a:gd name="T2" fmla="*/ 27 w 58"/>
                  <a:gd name="T3" fmla="*/ 40 h 67"/>
                  <a:gd name="T4" fmla="*/ 16 w 58"/>
                  <a:gd name="T5" fmla="*/ 35 h 67"/>
                  <a:gd name="T6" fmla="*/ 15 w 58"/>
                  <a:gd name="T7" fmla="*/ 31 h 67"/>
                  <a:gd name="T8" fmla="*/ 17 w 58"/>
                  <a:gd name="T9" fmla="*/ 29 h 67"/>
                  <a:gd name="T10" fmla="*/ 20 w 58"/>
                  <a:gd name="T11" fmla="*/ 28 h 67"/>
                  <a:gd name="T12" fmla="*/ 23 w 58"/>
                  <a:gd name="T13" fmla="*/ 30 h 67"/>
                  <a:gd name="T14" fmla="*/ 26 w 58"/>
                  <a:gd name="T15" fmla="*/ 31 h 67"/>
                  <a:gd name="T16" fmla="*/ 39 w 58"/>
                  <a:gd name="T17" fmla="*/ 31 h 67"/>
                  <a:gd name="T18" fmla="*/ 47 w 58"/>
                  <a:gd name="T19" fmla="*/ 22 h 67"/>
                  <a:gd name="T20" fmla="*/ 46 w 58"/>
                  <a:gd name="T21" fmla="*/ 10 h 67"/>
                  <a:gd name="T22" fmla="*/ 50 w 58"/>
                  <a:gd name="T23" fmla="*/ 7 h 67"/>
                  <a:gd name="T24" fmla="*/ 56 w 58"/>
                  <a:gd name="T25" fmla="*/ 8 h 67"/>
                  <a:gd name="T26" fmla="*/ 58 w 58"/>
                  <a:gd name="T27" fmla="*/ 3 h 67"/>
                  <a:gd name="T28" fmla="*/ 56 w 58"/>
                  <a:gd name="T29" fmla="*/ 2 h 67"/>
                  <a:gd name="T30" fmla="*/ 49 w 58"/>
                  <a:gd name="T31" fmla="*/ 1 h 67"/>
                  <a:gd name="T32" fmla="*/ 44 w 58"/>
                  <a:gd name="T33" fmla="*/ 6 h 67"/>
                  <a:gd name="T34" fmla="*/ 36 w 58"/>
                  <a:gd name="T35" fmla="*/ 2 h 67"/>
                  <a:gd name="T36" fmla="*/ 23 w 58"/>
                  <a:gd name="T37" fmla="*/ 2 h 67"/>
                  <a:gd name="T38" fmla="*/ 14 w 58"/>
                  <a:gd name="T39" fmla="*/ 11 h 67"/>
                  <a:gd name="T40" fmla="*/ 16 w 58"/>
                  <a:gd name="T41" fmla="*/ 24 h 67"/>
                  <a:gd name="T42" fmla="*/ 8 w 58"/>
                  <a:gd name="T43" fmla="*/ 30 h 67"/>
                  <a:gd name="T44" fmla="*/ 10 w 58"/>
                  <a:gd name="T45" fmla="*/ 38 h 67"/>
                  <a:gd name="T46" fmla="*/ 1 w 58"/>
                  <a:gd name="T47" fmla="*/ 45 h 67"/>
                  <a:gd name="T48" fmla="*/ 3 w 58"/>
                  <a:gd name="T49" fmla="*/ 54 h 67"/>
                  <a:gd name="T50" fmla="*/ 17 w 58"/>
                  <a:gd name="T51" fmla="*/ 62 h 67"/>
                  <a:gd name="T52" fmla="*/ 42 w 58"/>
                  <a:gd name="T53" fmla="*/ 57 h 67"/>
                  <a:gd name="T54" fmla="*/ 42 w 58"/>
                  <a:gd name="T55" fmla="*/ 49 h 67"/>
                  <a:gd name="T56" fmla="*/ 37 w 58"/>
                  <a:gd name="T57" fmla="*/ 44 h 67"/>
                  <a:gd name="T58" fmla="*/ 26 w 58"/>
                  <a:gd name="T59" fmla="*/ 7 h 67"/>
                  <a:gd name="T60" fmla="*/ 34 w 58"/>
                  <a:gd name="T61" fmla="*/ 7 h 67"/>
                  <a:gd name="T62" fmla="*/ 40 w 58"/>
                  <a:gd name="T63" fmla="*/ 12 h 67"/>
                  <a:gd name="T64" fmla="*/ 40 w 58"/>
                  <a:gd name="T65" fmla="*/ 20 h 67"/>
                  <a:gd name="T66" fmla="*/ 36 w 58"/>
                  <a:gd name="T67" fmla="*/ 26 h 67"/>
                  <a:gd name="T68" fmla="*/ 28 w 58"/>
                  <a:gd name="T69" fmla="*/ 26 h 67"/>
                  <a:gd name="T70" fmla="*/ 22 w 58"/>
                  <a:gd name="T71" fmla="*/ 21 h 67"/>
                  <a:gd name="T72" fmla="*/ 21 w 58"/>
                  <a:gd name="T73" fmla="*/ 14 h 67"/>
                  <a:gd name="T74" fmla="*/ 26 w 58"/>
                  <a:gd name="T75" fmla="*/ 7 h 67"/>
                  <a:gd name="T76" fmla="*/ 30 w 58"/>
                  <a:gd name="T77" fmla="*/ 59 h 67"/>
                  <a:gd name="T78" fmla="*/ 19 w 58"/>
                  <a:gd name="T79" fmla="*/ 57 h 67"/>
                  <a:gd name="T80" fmla="*/ 10 w 58"/>
                  <a:gd name="T81" fmla="*/ 52 h 67"/>
                  <a:gd name="T82" fmla="*/ 7 w 58"/>
                  <a:gd name="T83" fmla="*/ 46 h 67"/>
                  <a:gd name="T84" fmla="*/ 14 w 58"/>
                  <a:gd name="T85" fmla="*/ 42 h 67"/>
                  <a:gd name="T86" fmla="*/ 24 w 58"/>
                  <a:gd name="T87" fmla="*/ 45 h 67"/>
                  <a:gd name="T88" fmla="*/ 32 w 58"/>
                  <a:gd name="T89" fmla="*/ 49 h 67"/>
                  <a:gd name="T90" fmla="*/ 36 w 58"/>
                  <a:gd name="T91" fmla="*/ 51 h 67"/>
                  <a:gd name="T92" fmla="*/ 36 w 58"/>
                  <a:gd name="T93" fmla="*/ 55 h 67"/>
                  <a:gd name="T94" fmla="*/ 30 w 58"/>
                  <a:gd name="T95" fmla="*/ 59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8" h="67">
                    <a:moveTo>
                      <a:pt x="37" y="44"/>
                    </a:moveTo>
                    <a:cubicBezTo>
                      <a:pt x="35" y="43"/>
                      <a:pt x="32" y="41"/>
                      <a:pt x="27" y="40"/>
                    </a:cubicBezTo>
                    <a:cubicBezTo>
                      <a:pt x="21" y="38"/>
                      <a:pt x="17" y="36"/>
                      <a:pt x="16" y="35"/>
                    </a:cubicBezTo>
                    <a:cubicBezTo>
                      <a:pt x="15" y="34"/>
                      <a:pt x="14" y="33"/>
                      <a:pt x="15" y="31"/>
                    </a:cubicBezTo>
                    <a:cubicBezTo>
                      <a:pt x="15" y="30"/>
                      <a:pt x="16" y="29"/>
                      <a:pt x="17" y="29"/>
                    </a:cubicBezTo>
                    <a:cubicBezTo>
                      <a:pt x="19" y="28"/>
                      <a:pt x="20" y="28"/>
                      <a:pt x="20" y="28"/>
                    </a:cubicBezTo>
                    <a:cubicBezTo>
                      <a:pt x="21" y="28"/>
                      <a:pt x="22" y="29"/>
                      <a:pt x="23" y="30"/>
                    </a:cubicBezTo>
                    <a:cubicBezTo>
                      <a:pt x="24" y="30"/>
                      <a:pt x="25" y="31"/>
                      <a:pt x="26" y="31"/>
                    </a:cubicBezTo>
                    <a:cubicBezTo>
                      <a:pt x="31" y="33"/>
                      <a:pt x="36" y="32"/>
                      <a:pt x="39" y="31"/>
                    </a:cubicBezTo>
                    <a:cubicBezTo>
                      <a:pt x="43" y="29"/>
                      <a:pt x="46" y="26"/>
                      <a:pt x="47" y="22"/>
                    </a:cubicBezTo>
                    <a:cubicBezTo>
                      <a:pt x="48" y="18"/>
                      <a:pt x="48" y="14"/>
                      <a:pt x="46" y="10"/>
                    </a:cubicBezTo>
                    <a:cubicBezTo>
                      <a:pt x="47" y="8"/>
                      <a:pt x="48" y="7"/>
                      <a:pt x="50" y="7"/>
                    </a:cubicBezTo>
                    <a:cubicBezTo>
                      <a:pt x="51" y="7"/>
                      <a:pt x="53" y="7"/>
                      <a:pt x="56" y="8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57" y="2"/>
                      <a:pt x="56" y="2"/>
                      <a:pt x="56" y="2"/>
                    </a:cubicBezTo>
                    <a:cubicBezTo>
                      <a:pt x="53" y="1"/>
                      <a:pt x="51" y="1"/>
                      <a:pt x="49" y="1"/>
                    </a:cubicBezTo>
                    <a:cubicBezTo>
                      <a:pt x="47" y="2"/>
                      <a:pt x="45" y="4"/>
                      <a:pt x="44" y="6"/>
                    </a:cubicBezTo>
                    <a:cubicBezTo>
                      <a:pt x="42" y="4"/>
                      <a:pt x="39" y="3"/>
                      <a:pt x="36" y="2"/>
                    </a:cubicBezTo>
                    <a:cubicBezTo>
                      <a:pt x="31" y="0"/>
                      <a:pt x="27" y="0"/>
                      <a:pt x="23" y="2"/>
                    </a:cubicBezTo>
                    <a:cubicBezTo>
                      <a:pt x="19" y="4"/>
                      <a:pt x="16" y="7"/>
                      <a:pt x="14" y="11"/>
                    </a:cubicBezTo>
                    <a:cubicBezTo>
                      <a:pt x="13" y="16"/>
                      <a:pt x="14" y="20"/>
                      <a:pt x="16" y="24"/>
                    </a:cubicBezTo>
                    <a:cubicBezTo>
                      <a:pt x="12" y="25"/>
                      <a:pt x="9" y="26"/>
                      <a:pt x="8" y="30"/>
                    </a:cubicBezTo>
                    <a:cubicBezTo>
                      <a:pt x="7" y="33"/>
                      <a:pt x="8" y="35"/>
                      <a:pt x="10" y="38"/>
                    </a:cubicBezTo>
                    <a:cubicBezTo>
                      <a:pt x="5" y="38"/>
                      <a:pt x="2" y="40"/>
                      <a:pt x="1" y="45"/>
                    </a:cubicBezTo>
                    <a:cubicBezTo>
                      <a:pt x="0" y="48"/>
                      <a:pt x="0" y="51"/>
                      <a:pt x="3" y="54"/>
                    </a:cubicBezTo>
                    <a:cubicBezTo>
                      <a:pt x="5" y="57"/>
                      <a:pt x="10" y="60"/>
                      <a:pt x="17" y="62"/>
                    </a:cubicBezTo>
                    <a:cubicBezTo>
                      <a:pt x="31" y="67"/>
                      <a:pt x="40" y="65"/>
                      <a:pt x="42" y="57"/>
                    </a:cubicBezTo>
                    <a:cubicBezTo>
                      <a:pt x="43" y="54"/>
                      <a:pt x="43" y="52"/>
                      <a:pt x="42" y="49"/>
                    </a:cubicBezTo>
                    <a:cubicBezTo>
                      <a:pt x="41" y="47"/>
                      <a:pt x="39" y="45"/>
                      <a:pt x="37" y="44"/>
                    </a:cubicBezTo>
                    <a:close/>
                    <a:moveTo>
                      <a:pt x="26" y="7"/>
                    </a:moveTo>
                    <a:cubicBezTo>
                      <a:pt x="29" y="6"/>
                      <a:pt x="31" y="6"/>
                      <a:pt x="34" y="7"/>
                    </a:cubicBezTo>
                    <a:cubicBezTo>
                      <a:pt x="37" y="8"/>
                      <a:pt x="39" y="9"/>
                      <a:pt x="40" y="12"/>
                    </a:cubicBezTo>
                    <a:cubicBezTo>
                      <a:pt x="41" y="14"/>
                      <a:pt x="41" y="17"/>
                      <a:pt x="40" y="20"/>
                    </a:cubicBezTo>
                    <a:cubicBezTo>
                      <a:pt x="40" y="22"/>
                      <a:pt x="38" y="24"/>
                      <a:pt x="36" y="26"/>
                    </a:cubicBezTo>
                    <a:cubicBezTo>
                      <a:pt x="33" y="27"/>
                      <a:pt x="31" y="27"/>
                      <a:pt x="28" y="26"/>
                    </a:cubicBezTo>
                    <a:cubicBezTo>
                      <a:pt x="25" y="25"/>
                      <a:pt x="23" y="23"/>
                      <a:pt x="22" y="21"/>
                    </a:cubicBezTo>
                    <a:cubicBezTo>
                      <a:pt x="20" y="19"/>
                      <a:pt x="20" y="16"/>
                      <a:pt x="21" y="14"/>
                    </a:cubicBezTo>
                    <a:cubicBezTo>
                      <a:pt x="22" y="10"/>
                      <a:pt x="24" y="8"/>
                      <a:pt x="26" y="7"/>
                    </a:cubicBezTo>
                    <a:close/>
                    <a:moveTo>
                      <a:pt x="30" y="59"/>
                    </a:moveTo>
                    <a:cubicBezTo>
                      <a:pt x="26" y="59"/>
                      <a:pt x="23" y="58"/>
                      <a:pt x="19" y="57"/>
                    </a:cubicBezTo>
                    <a:cubicBezTo>
                      <a:pt x="15" y="56"/>
                      <a:pt x="12" y="54"/>
                      <a:pt x="10" y="52"/>
                    </a:cubicBezTo>
                    <a:cubicBezTo>
                      <a:pt x="7" y="50"/>
                      <a:pt x="7" y="48"/>
                      <a:pt x="7" y="46"/>
                    </a:cubicBezTo>
                    <a:cubicBezTo>
                      <a:pt x="8" y="43"/>
                      <a:pt x="10" y="42"/>
                      <a:pt x="14" y="42"/>
                    </a:cubicBezTo>
                    <a:cubicBezTo>
                      <a:pt x="16" y="43"/>
                      <a:pt x="20" y="44"/>
                      <a:pt x="24" y="45"/>
                    </a:cubicBezTo>
                    <a:cubicBezTo>
                      <a:pt x="28" y="47"/>
                      <a:pt x="31" y="48"/>
                      <a:pt x="32" y="49"/>
                    </a:cubicBezTo>
                    <a:cubicBezTo>
                      <a:pt x="34" y="49"/>
                      <a:pt x="35" y="50"/>
                      <a:pt x="36" y="51"/>
                    </a:cubicBezTo>
                    <a:cubicBezTo>
                      <a:pt x="36" y="53"/>
                      <a:pt x="36" y="54"/>
                      <a:pt x="36" y="55"/>
                    </a:cubicBezTo>
                    <a:cubicBezTo>
                      <a:pt x="35" y="58"/>
                      <a:pt x="33" y="59"/>
                      <a:pt x="30" y="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68" name="Freeform 59"/>
              <p:cNvSpPr/>
              <p:nvPr/>
            </p:nvSpPr>
            <p:spPr bwMode="auto">
              <a:xfrm>
                <a:off x="4087813" y="1771651"/>
                <a:ext cx="165100" cy="258763"/>
              </a:xfrm>
              <a:custGeom>
                <a:avLst/>
                <a:gdLst>
                  <a:gd name="T0" fmla="*/ 43 w 44"/>
                  <a:gd name="T1" fmla="*/ 29 h 69"/>
                  <a:gd name="T2" fmla="*/ 40 w 44"/>
                  <a:gd name="T3" fmla="*/ 24 h 69"/>
                  <a:gd name="T4" fmla="*/ 34 w 44"/>
                  <a:gd name="T5" fmla="*/ 20 h 69"/>
                  <a:gd name="T6" fmla="*/ 18 w 44"/>
                  <a:gd name="T7" fmla="*/ 25 h 69"/>
                  <a:gd name="T8" fmla="*/ 25 w 44"/>
                  <a:gd name="T9" fmla="*/ 2 h 69"/>
                  <a:gd name="T10" fmla="*/ 18 w 44"/>
                  <a:gd name="T11" fmla="*/ 0 h 69"/>
                  <a:gd name="T12" fmla="*/ 0 w 44"/>
                  <a:gd name="T13" fmla="*/ 58 h 69"/>
                  <a:gd name="T14" fmla="*/ 6 w 44"/>
                  <a:gd name="T15" fmla="*/ 60 h 69"/>
                  <a:gd name="T16" fmla="*/ 14 w 44"/>
                  <a:gd name="T17" fmla="*/ 37 h 69"/>
                  <a:gd name="T18" fmla="*/ 21 w 44"/>
                  <a:gd name="T19" fmla="*/ 27 h 69"/>
                  <a:gd name="T20" fmla="*/ 31 w 44"/>
                  <a:gd name="T21" fmla="*/ 25 h 69"/>
                  <a:gd name="T22" fmla="*/ 35 w 44"/>
                  <a:gd name="T23" fmla="*/ 28 h 69"/>
                  <a:gd name="T24" fmla="*/ 37 w 44"/>
                  <a:gd name="T25" fmla="*/ 33 h 69"/>
                  <a:gd name="T26" fmla="*/ 35 w 44"/>
                  <a:gd name="T27" fmla="*/ 40 h 69"/>
                  <a:gd name="T28" fmla="*/ 27 w 44"/>
                  <a:gd name="T29" fmla="*/ 66 h 69"/>
                  <a:gd name="T30" fmla="*/ 33 w 44"/>
                  <a:gd name="T31" fmla="*/ 69 h 69"/>
                  <a:gd name="T32" fmla="*/ 42 w 44"/>
                  <a:gd name="T33" fmla="*/ 42 h 69"/>
                  <a:gd name="T34" fmla="*/ 44 w 44"/>
                  <a:gd name="T35" fmla="*/ 34 h 69"/>
                  <a:gd name="T36" fmla="*/ 43 w 44"/>
                  <a:gd name="T37" fmla="*/ 2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4" h="69">
                    <a:moveTo>
                      <a:pt x="43" y="29"/>
                    </a:moveTo>
                    <a:cubicBezTo>
                      <a:pt x="43" y="27"/>
                      <a:pt x="41" y="25"/>
                      <a:pt x="40" y="24"/>
                    </a:cubicBezTo>
                    <a:cubicBezTo>
                      <a:pt x="38" y="22"/>
                      <a:pt x="36" y="21"/>
                      <a:pt x="34" y="20"/>
                    </a:cubicBezTo>
                    <a:cubicBezTo>
                      <a:pt x="28" y="18"/>
                      <a:pt x="23" y="20"/>
                      <a:pt x="18" y="25"/>
                    </a:cubicBezTo>
                    <a:cubicBezTo>
                      <a:pt x="25" y="2"/>
                      <a:pt x="25" y="2"/>
                      <a:pt x="25" y="2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6" y="60"/>
                      <a:pt x="6" y="60"/>
                      <a:pt x="6" y="60"/>
                    </a:cubicBezTo>
                    <a:cubicBezTo>
                      <a:pt x="14" y="37"/>
                      <a:pt x="14" y="37"/>
                      <a:pt x="14" y="37"/>
                    </a:cubicBezTo>
                    <a:cubicBezTo>
                      <a:pt x="15" y="32"/>
                      <a:pt x="18" y="29"/>
                      <a:pt x="21" y="27"/>
                    </a:cubicBezTo>
                    <a:cubicBezTo>
                      <a:pt x="24" y="25"/>
                      <a:pt x="27" y="24"/>
                      <a:pt x="31" y="25"/>
                    </a:cubicBezTo>
                    <a:cubicBezTo>
                      <a:pt x="33" y="26"/>
                      <a:pt x="34" y="27"/>
                      <a:pt x="35" y="28"/>
                    </a:cubicBezTo>
                    <a:cubicBezTo>
                      <a:pt x="36" y="30"/>
                      <a:pt x="37" y="32"/>
                      <a:pt x="37" y="33"/>
                    </a:cubicBezTo>
                    <a:cubicBezTo>
                      <a:pt x="37" y="35"/>
                      <a:pt x="36" y="37"/>
                      <a:pt x="35" y="40"/>
                    </a:cubicBezTo>
                    <a:cubicBezTo>
                      <a:pt x="27" y="66"/>
                      <a:pt x="27" y="66"/>
                      <a:pt x="27" y="66"/>
                    </a:cubicBezTo>
                    <a:cubicBezTo>
                      <a:pt x="33" y="69"/>
                      <a:pt x="33" y="69"/>
                      <a:pt x="33" y="69"/>
                    </a:cubicBezTo>
                    <a:cubicBezTo>
                      <a:pt x="42" y="42"/>
                      <a:pt x="42" y="42"/>
                      <a:pt x="42" y="42"/>
                    </a:cubicBezTo>
                    <a:cubicBezTo>
                      <a:pt x="43" y="39"/>
                      <a:pt x="44" y="36"/>
                      <a:pt x="44" y="34"/>
                    </a:cubicBezTo>
                    <a:cubicBezTo>
                      <a:pt x="44" y="33"/>
                      <a:pt x="44" y="31"/>
                      <a:pt x="43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69" name="Freeform 60"/>
              <p:cNvSpPr/>
              <p:nvPr/>
            </p:nvSpPr>
            <p:spPr bwMode="auto">
              <a:xfrm>
                <a:off x="4271963" y="1843088"/>
                <a:ext cx="107950" cy="228600"/>
              </a:xfrm>
              <a:custGeom>
                <a:avLst/>
                <a:gdLst>
                  <a:gd name="T0" fmla="*/ 13 w 29"/>
                  <a:gd name="T1" fmla="*/ 54 h 61"/>
                  <a:gd name="T2" fmla="*/ 9 w 29"/>
                  <a:gd name="T3" fmla="*/ 46 h 61"/>
                  <a:gd name="T4" fmla="*/ 17 w 29"/>
                  <a:gd name="T5" fmla="*/ 18 h 61"/>
                  <a:gd name="T6" fmla="*/ 27 w 29"/>
                  <a:gd name="T7" fmla="*/ 22 h 61"/>
                  <a:gd name="T8" fmla="*/ 29 w 29"/>
                  <a:gd name="T9" fmla="*/ 16 h 61"/>
                  <a:gd name="T10" fmla="*/ 19 w 29"/>
                  <a:gd name="T11" fmla="*/ 13 h 61"/>
                  <a:gd name="T12" fmla="*/ 23 w 29"/>
                  <a:gd name="T13" fmla="*/ 2 h 61"/>
                  <a:gd name="T14" fmla="*/ 16 w 29"/>
                  <a:gd name="T15" fmla="*/ 0 h 61"/>
                  <a:gd name="T16" fmla="*/ 12 w 29"/>
                  <a:gd name="T17" fmla="*/ 11 h 61"/>
                  <a:gd name="T18" fmla="*/ 5 w 29"/>
                  <a:gd name="T19" fmla="*/ 9 h 61"/>
                  <a:gd name="T20" fmla="*/ 3 w 29"/>
                  <a:gd name="T21" fmla="*/ 14 h 61"/>
                  <a:gd name="T22" fmla="*/ 11 w 29"/>
                  <a:gd name="T23" fmla="*/ 16 h 61"/>
                  <a:gd name="T24" fmla="*/ 2 w 29"/>
                  <a:gd name="T25" fmla="*/ 42 h 61"/>
                  <a:gd name="T26" fmla="*/ 11 w 29"/>
                  <a:gd name="T27" fmla="*/ 59 h 61"/>
                  <a:gd name="T28" fmla="*/ 17 w 29"/>
                  <a:gd name="T29" fmla="*/ 61 h 61"/>
                  <a:gd name="T30" fmla="*/ 19 w 29"/>
                  <a:gd name="T31" fmla="*/ 56 h 61"/>
                  <a:gd name="T32" fmla="*/ 13 w 29"/>
                  <a:gd name="T33" fmla="*/ 54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" h="61">
                    <a:moveTo>
                      <a:pt x="13" y="54"/>
                    </a:moveTo>
                    <a:cubicBezTo>
                      <a:pt x="9" y="53"/>
                      <a:pt x="7" y="50"/>
                      <a:pt x="9" y="46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27" y="22"/>
                      <a:pt x="27" y="22"/>
                      <a:pt x="27" y="22"/>
                    </a:cubicBezTo>
                    <a:cubicBezTo>
                      <a:pt x="29" y="16"/>
                      <a:pt x="29" y="16"/>
                      <a:pt x="29" y="16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11" y="16"/>
                      <a:pt x="11" y="16"/>
                      <a:pt x="11" y="16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0" y="51"/>
                      <a:pt x="2" y="57"/>
                      <a:pt x="11" y="59"/>
                    </a:cubicBezTo>
                    <a:cubicBezTo>
                      <a:pt x="13" y="60"/>
                      <a:pt x="15" y="60"/>
                      <a:pt x="17" y="61"/>
                    </a:cubicBezTo>
                    <a:cubicBezTo>
                      <a:pt x="19" y="56"/>
                      <a:pt x="19" y="56"/>
                      <a:pt x="19" y="56"/>
                    </a:cubicBezTo>
                    <a:cubicBezTo>
                      <a:pt x="17" y="55"/>
                      <a:pt x="15" y="55"/>
                      <a:pt x="13" y="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70" name="Freeform 61"/>
              <p:cNvSpPr/>
              <p:nvPr/>
            </p:nvSpPr>
            <p:spPr bwMode="auto">
              <a:xfrm>
                <a:off x="2625725" y="3270251"/>
                <a:ext cx="138113" cy="228600"/>
              </a:xfrm>
              <a:custGeom>
                <a:avLst/>
                <a:gdLst>
                  <a:gd name="T0" fmla="*/ 85 w 87"/>
                  <a:gd name="T1" fmla="*/ 40 h 144"/>
                  <a:gd name="T2" fmla="*/ 68 w 87"/>
                  <a:gd name="T3" fmla="*/ 38 h 144"/>
                  <a:gd name="T4" fmla="*/ 18 w 87"/>
                  <a:gd name="T5" fmla="*/ 92 h 144"/>
                  <a:gd name="T6" fmla="*/ 18 w 87"/>
                  <a:gd name="T7" fmla="*/ 0 h 144"/>
                  <a:gd name="T8" fmla="*/ 2 w 87"/>
                  <a:gd name="T9" fmla="*/ 0 h 144"/>
                  <a:gd name="T10" fmla="*/ 0 w 87"/>
                  <a:gd name="T11" fmla="*/ 144 h 144"/>
                  <a:gd name="T12" fmla="*/ 16 w 87"/>
                  <a:gd name="T13" fmla="*/ 144 h 144"/>
                  <a:gd name="T14" fmla="*/ 16 w 87"/>
                  <a:gd name="T15" fmla="*/ 111 h 144"/>
                  <a:gd name="T16" fmla="*/ 40 w 87"/>
                  <a:gd name="T17" fmla="*/ 85 h 144"/>
                  <a:gd name="T18" fmla="*/ 71 w 87"/>
                  <a:gd name="T19" fmla="*/ 144 h 144"/>
                  <a:gd name="T20" fmla="*/ 87 w 87"/>
                  <a:gd name="T21" fmla="*/ 144 h 144"/>
                  <a:gd name="T22" fmla="*/ 52 w 87"/>
                  <a:gd name="T23" fmla="*/ 76 h 144"/>
                  <a:gd name="T24" fmla="*/ 85 w 87"/>
                  <a:gd name="T25" fmla="*/ 4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7" h="144">
                    <a:moveTo>
                      <a:pt x="85" y="40"/>
                    </a:moveTo>
                    <a:lnTo>
                      <a:pt x="68" y="38"/>
                    </a:lnTo>
                    <a:lnTo>
                      <a:pt x="18" y="92"/>
                    </a:lnTo>
                    <a:lnTo>
                      <a:pt x="18" y="0"/>
                    </a:lnTo>
                    <a:lnTo>
                      <a:pt x="2" y="0"/>
                    </a:lnTo>
                    <a:lnTo>
                      <a:pt x="0" y="144"/>
                    </a:lnTo>
                    <a:lnTo>
                      <a:pt x="16" y="144"/>
                    </a:lnTo>
                    <a:lnTo>
                      <a:pt x="16" y="111"/>
                    </a:lnTo>
                    <a:lnTo>
                      <a:pt x="40" y="85"/>
                    </a:lnTo>
                    <a:lnTo>
                      <a:pt x="71" y="144"/>
                    </a:lnTo>
                    <a:lnTo>
                      <a:pt x="87" y="144"/>
                    </a:lnTo>
                    <a:lnTo>
                      <a:pt x="52" y="76"/>
                    </a:lnTo>
                    <a:lnTo>
                      <a:pt x="85" y="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71" name="Freeform 62"/>
              <p:cNvSpPr/>
              <p:nvPr/>
            </p:nvSpPr>
            <p:spPr bwMode="auto">
              <a:xfrm>
                <a:off x="2797175" y="3330576"/>
                <a:ext cx="136525" cy="173038"/>
              </a:xfrm>
              <a:custGeom>
                <a:avLst/>
                <a:gdLst>
                  <a:gd name="T0" fmla="*/ 30 w 36"/>
                  <a:gd name="T1" fmla="*/ 3 h 46"/>
                  <a:gd name="T2" fmla="*/ 21 w 36"/>
                  <a:gd name="T3" fmla="*/ 0 h 46"/>
                  <a:gd name="T4" fmla="*/ 7 w 36"/>
                  <a:gd name="T5" fmla="*/ 9 h 46"/>
                  <a:gd name="T6" fmla="*/ 7 w 36"/>
                  <a:gd name="T7" fmla="*/ 1 h 46"/>
                  <a:gd name="T8" fmla="*/ 1 w 36"/>
                  <a:gd name="T9" fmla="*/ 1 h 46"/>
                  <a:gd name="T10" fmla="*/ 0 w 36"/>
                  <a:gd name="T11" fmla="*/ 46 h 46"/>
                  <a:gd name="T12" fmla="*/ 7 w 36"/>
                  <a:gd name="T13" fmla="*/ 46 h 46"/>
                  <a:gd name="T14" fmla="*/ 7 w 36"/>
                  <a:gd name="T15" fmla="*/ 21 h 46"/>
                  <a:gd name="T16" fmla="*/ 11 w 36"/>
                  <a:gd name="T17" fmla="*/ 10 h 46"/>
                  <a:gd name="T18" fmla="*/ 20 w 36"/>
                  <a:gd name="T19" fmla="*/ 6 h 46"/>
                  <a:gd name="T20" fmla="*/ 26 w 36"/>
                  <a:gd name="T21" fmla="*/ 9 h 46"/>
                  <a:gd name="T22" fmla="*/ 29 w 36"/>
                  <a:gd name="T23" fmla="*/ 17 h 46"/>
                  <a:gd name="T24" fmla="*/ 28 w 36"/>
                  <a:gd name="T25" fmla="*/ 46 h 46"/>
                  <a:gd name="T26" fmla="*/ 35 w 36"/>
                  <a:gd name="T27" fmla="*/ 46 h 46"/>
                  <a:gd name="T28" fmla="*/ 36 w 36"/>
                  <a:gd name="T29" fmla="*/ 20 h 46"/>
                  <a:gd name="T30" fmla="*/ 34 w 36"/>
                  <a:gd name="T31" fmla="*/ 9 h 46"/>
                  <a:gd name="T32" fmla="*/ 30 w 36"/>
                  <a:gd name="T33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6" h="46">
                    <a:moveTo>
                      <a:pt x="30" y="3"/>
                    </a:moveTo>
                    <a:cubicBezTo>
                      <a:pt x="27" y="1"/>
                      <a:pt x="25" y="0"/>
                      <a:pt x="21" y="0"/>
                    </a:cubicBezTo>
                    <a:cubicBezTo>
                      <a:pt x="15" y="0"/>
                      <a:pt x="11" y="3"/>
                      <a:pt x="7" y="9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7" y="46"/>
                      <a:pt x="7" y="46"/>
                      <a:pt x="7" y="46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16"/>
                      <a:pt x="9" y="13"/>
                      <a:pt x="11" y="10"/>
                    </a:cubicBezTo>
                    <a:cubicBezTo>
                      <a:pt x="13" y="7"/>
                      <a:pt x="16" y="6"/>
                      <a:pt x="20" y="6"/>
                    </a:cubicBezTo>
                    <a:cubicBezTo>
                      <a:pt x="23" y="6"/>
                      <a:pt x="25" y="7"/>
                      <a:pt x="26" y="9"/>
                    </a:cubicBezTo>
                    <a:cubicBezTo>
                      <a:pt x="28" y="10"/>
                      <a:pt x="29" y="13"/>
                      <a:pt x="29" y="17"/>
                    </a:cubicBezTo>
                    <a:cubicBezTo>
                      <a:pt x="28" y="46"/>
                      <a:pt x="28" y="46"/>
                      <a:pt x="28" y="46"/>
                    </a:cubicBezTo>
                    <a:cubicBezTo>
                      <a:pt x="35" y="46"/>
                      <a:pt x="35" y="46"/>
                      <a:pt x="35" y="46"/>
                    </a:cubicBezTo>
                    <a:cubicBezTo>
                      <a:pt x="36" y="20"/>
                      <a:pt x="36" y="20"/>
                      <a:pt x="36" y="20"/>
                    </a:cubicBezTo>
                    <a:cubicBezTo>
                      <a:pt x="36" y="15"/>
                      <a:pt x="35" y="11"/>
                      <a:pt x="34" y="9"/>
                    </a:cubicBezTo>
                    <a:cubicBezTo>
                      <a:pt x="34" y="6"/>
                      <a:pt x="32" y="4"/>
                      <a:pt x="3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72" name="Freeform 63"/>
              <p:cNvSpPr>
                <a:spLocks noEditPoints="1"/>
              </p:cNvSpPr>
              <p:nvPr/>
            </p:nvSpPr>
            <p:spPr bwMode="auto">
              <a:xfrm>
                <a:off x="2970213" y="3333751"/>
                <a:ext cx="150813" cy="176213"/>
              </a:xfrm>
              <a:custGeom>
                <a:avLst/>
                <a:gdLst>
                  <a:gd name="T0" fmla="*/ 21 w 40"/>
                  <a:gd name="T1" fmla="*/ 0 h 47"/>
                  <a:gd name="T2" fmla="*/ 6 w 40"/>
                  <a:gd name="T3" fmla="*/ 6 h 47"/>
                  <a:gd name="T4" fmla="*/ 0 w 40"/>
                  <a:gd name="T5" fmla="*/ 23 h 47"/>
                  <a:gd name="T6" fmla="*/ 5 w 40"/>
                  <a:gd name="T7" fmla="*/ 40 h 47"/>
                  <a:gd name="T8" fmla="*/ 19 w 40"/>
                  <a:gd name="T9" fmla="*/ 47 h 47"/>
                  <a:gd name="T10" fmla="*/ 34 w 40"/>
                  <a:gd name="T11" fmla="*/ 41 h 47"/>
                  <a:gd name="T12" fmla="*/ 40 w 40"/>
                  <a:gd name="T13" fmla="*/ 24 h 47"/>
                  <a:gd name="T14" fmla="*/ 35 w 40"/>
                  <a:gd name="T15" fmla="*/ 7 h 47"/>
                  <a:gd name="T16" fmla="*/ 21 w 40"/>
                  <a:gd name="T17" fmla="*/ 0 h 47"/>
                  <a:gd name="T18" fmla="*/ 29 w 40"/>
                  <a:gd name="T19" fmla="*/ 37 h 47"/>
                  <a:gd name="T20" fmla="*/ 20 w 40"/>
                  <a:gd name="T21" fmla="*/ 41 h 47"/>
                  <a:gd name="T22" fmla="*/ 11 w 40"/>
                  <a:gd name="T23" fmla="*/ 37 h 47"/>
                  <a:gd name="T24" fmla="*/ 8 w 40"/>
                  <a:gd name="T25" fmla="*/ 23 h 47"/>
                  <a:gd name="T26" fmla="*/ 11 w 40"/>
                  <a:gd name="T27" fmla="*/ 10 h 47"/>
                  <a:gd name="T28" fmla="*/ 20 w 40"/>
                  <a:gd name="T29" fmla="*/ 6 h 47"/>
                  <a:gd name="T30" fmla="*/ 29 w 40"/>
                  <a:gd name="T31" fmla="*/ 10 h 47"/>
                  <a:gd name="T32" fmla="*/ 32 w 40"/>
                  <a:gd name="T33" fmla="*/ 23 h 47"/>
                  <a:gd name="T34" fmla="*/ 29 w 40"/>
                  <a:gd name="T35" fmla="*/ 3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0" h="47">
                    <a:moveTo>
                      <a:pt x="21" y="0"/>
                    </a:moveTo>
                    <a:cubicBezTo>
                      <a:pt x="15" y="0"/>
                      <a:pt x="10" y="2"/>
                      <a:pt x="6" y="6"/>
                    </a:cubicBezTo>
                    <a:cubicBezTo>
                      <a:pt x="2" y="10"/>
                      <a:pt x="0" y="16"/>
                      <a:pt x="0" y="23"/>
                    </a:cubicBezTo>
                    <a:cubicBezTo>
                      <a:pt x="0" y="30"/>
                      <a:pt x="1" y="35"/>
                      <a:pt x="5" y="40"/>
                    </a:cubicBezTo>
                    <a:cubicBezTo>
                      <a:pt x="8" y="45"/>
                      <a:pt x="13" y="47"/>
                      <a:pt x="19" y="47"/>
                    </a:cubicBezTo>
                    <a:cubicBezTo>
                      <a:pt x="25" y="47"/>
                      <a:pt x="30" y="45"/>
                      <a:pt x="34" y="41"/>
                    </a:cubicBezTo>
                    <a:cubicBezTo>
                      <a:pt x="38" y="36"/>
                      <a:pt x="40" y="31"/>
                      <a:pt x="40" y="24"/>
                    </a:cubicBezTo>
                    <a:cubicBezTo>
                      <a:pt x="40" y="17"/>
                      <a:pt x="39" y="11"/>
                      <a:pt x="35" y="7"/>
                    </a:cubicBezTo>
                    <a:cubicBezTo>
                      <a:pt x="32" y="2"/>
                      <a:pt x="27" y="0"/>
                      <a:pt x="21" y="0"/>
                    </a:cubicBezTo>
                    <a:close/>
                    <a:moveTo>
                      <a:pt x="29" y="37"/>
                    </a:moveTo>
                    <a:cubicBezTo>
                      <a:pt x="26" y="40"/>
                      <a:pt x="23" y="41"/>
                      <a:pt x="20" y="41"/>
                    </a:cubicBezTo>
                    <a:cubicBezTo>
                      <a:pt x="16" y="41"/>
                      <a:pt x="13" y="40"/>
                      <a:pt x="11" y="37"/>
                    </a:cubicBezTo>
                    <a:cubicBezTo>
                      <a:pt x="8" y="34"/>
                      <a:pt x="7" y="29"/>
                      <a:pt x="8" y="23"/>
                    </a:cubicBezTo>
                    <a:cubicBezTo>
                      <a:pt x="8" y="17"/>
                      <a:pt x="9" y="12"/>
                      <a:pt x="11" y="10"/>
                    </a:cubicBezTo>
                    <a:cubicBezTo>
                      <a:pt x="14" y="7"/>
                      <a:pt x="17" y="5"/>
                      <a:pt x="20" y="6"/>
                    </a:cubicBezTo>
                    <a:cubicBezTo>
                      <a:pt x="24" y="6"/>
                      <a:pt x="27" y="7"/>
                      <a:pt x="29" y="10"/>
                    </a:cubicBezTo>
                    <a:cubicBezTo>
                      <a:pt x="31" y="13"/>
                      <a:pt x="33" y="17"/>
                      <a:pt x="32" y="23"/>
                    </a:cubicBezTo>
                    <a:cubicBezTo>
                      <a:pt x="32" y="30"/>
                      <a:pt x="31" y="34"/>
                      <a:pt x="29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73" name="Freeform 64"/>
              <p:cNvSpPr/>
              <p:nvPr/>
            </p:nvSpPr>
            <p:spPr bwMode="auto">
              <a:xfrm>
                <a:off x="3140075" y="3338513"/>
                <a:ext cx="211138" cy="171450"/>
              </a:xfrm>
              <a:custGeom>
                <a:avLst/>
                <a:gdLst>
                  <a:gd name="T0" fmla="*/ 95 w 133"/>
                  <a:gd name="T1" fmla="*/ 82 h 108"/>
                  <a:gd name="T2" fmla="*/ 73 w 133"/>
                  <a:gd name="T3" fmla="*/ 2 h 108"/>
                  <a:gd name="T4" fmla="*/ 62 w 133"/>
                  <a:gd name="T5" fmla="*/ 2 h 108"/>
                  <a:gd name="T6" fmla="*/ 38 w 133"/>
                  <a:gd name="T7" fmla="*/ 80 h 108"/>
                  <a:gd name="T8" fmla="*/ 17 w 133"/>
                  <a:gd name="T9" fmla="*/ 2 h 108"/>
                  <a:gd name="T10" fmla="*/ 0 w 133"/>
                  <a:gd name="T11" fmla="*/ 0 h 108"/>
                  <a:gd name="T12" fmla="*/ 28 w 133"/>
                  <a:gd name="T13" fmla="*/ 108 h 108"/>
                  <a:gd name="T14" fmla="*/ 43 w 133"/>
                  <a:gd name="T15" fmla="*/ 108 h 108"/>
                  <a:gd name="T16" fmla="*/ 66 w 133"/>
                  <a:gd name="T17" fmla="*/ 30 h 108"/>
                  <a:gd name="T18" fmla="*/ 88 w 133"/>
                  <a:gd name="T19" fmla="*/ 108 h 108"/>
                  <a:gd name="T20" fmla="*/ 102 w 133"/>
                  <a:gd name="T21" fmla="*/ 108 h 108"/>
                  <a:gd name="T22" fmla="*/ 133 w 133"/>
                  <a:gd name="T23" fmla="*/ 4 h 108"/>
                  <a:gd name="T24" fmla="*/ 121 w 133"/>
                  <a:gd name="T25" fmla="*/ 2 h 108"/>
                  <a:gd name="T26" fmla="*/ 95 w 133"/>
                  <a:gd name="T27" fmla="*/ 8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3" h="108">
                    <a:moveTo>
                      <a:pt x="95" y="82"/>
                    </a:moveTo>
                    <a:lnTo>
                      <a:pt x="73" y="2"/>
                    </a:lnTo>
                    <a:lnTo>
                      <a:pt x="62" y="2"/>
                    </a:lnTo>
                    <a:lnTo>
                      <a:pt x="38" y="80"/>
                    </a:lnTo>
                    <a:lnTo>
                      <a:pt x="17" y="2"/>
                    </a:lnTo>
                    <a:lnTo>
                      <a:pt x="0" y="0"/>
                    </a:lnTo>
                    <a:lnTo>
                      <a:pt x="28" y="108"/>
                    </a:lnTo>
                    <a:lnTo>
                      <a:pt x="43" y="108"/>
                    </a:lnTo>
                    <a:lnTo>
                      <a:pt x="66" y="30"/>
                    </a:lnTo>
                    <a:lnTo>
                      <a:pt x="88" y="108"/>
                    </a:lnTo>
                    <a:lnTo>
                      <a:pt x="102" y="108"/>
                    </a:lnTo>
                    <a:lnTo>
                      <a:pt x="133" y="4"/>
                    </a:lnTo>
                    <a:lnTo>
                      <a:pt x="121" y="2"/>
                    </a:lnTo>
                    <a:lnTo>
                      <a:pt x="95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74" name="Freeform 65"/>
              <p:cNvSpPr/>
              <p:nvPr/>
            </p:nvSpPr>
            <p:spPr bwMode="auto">
              <a:xfrm>
                <a:off x="3379788" y="3284538"/>
                <a:ext cx="30163" cy="230188"/>
              </a:xfrm>
              <a:custGeom>
                <a:avLst/>
                <a:gdLst>
                  <a:gd name="T0" fmla="*/ 0 w 19"/>
                  <a:gd name="T1" fmla="*/ 145 h 145"/>
                  <a:gd name="T2" fmla="*/ 17 w 19"/>
                  <a:gd name="T3" fmla="*/ 145 h 145"/>
                  <a:gd name="T4" fmla="*/ 19 w 19"/>
                  <a:gd name="T5" fmla="*/ 0 h 145"/>
                  <a:gd name="T6" fmla="*/ 3 w 19"/>
                  <a:gd name="T7" fmla="*/ 0 h 145"/>
                  <a:gd name="T8" fmla="*/ 0 w 19"/>
                  <a:gd name="T9" fmla="*/ 14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45">
                    <a:moveTo>
                      <a:pt x="0" y="145"/>
                    </a:moveTo>
                    <a:lnTo>
                      <a:pt x="17" y="145"/>
                    </a:lnTo>
                    <a:lnTo>
                      <a:pt x="19" y="0"/>
                    </a:lnTo>
                    <a:lnTo>
                      <a:pt x="3" y="0"/>
                    </a:lnTo>
                    <a:lnTo>
                      <a:pt x="0" y="1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75" name="Freeform 66"/>
              <p:cNvSpPr>
                <a:spLocks noEditPoints="1"/>
              </p:cNvSpPr>
              <p:nvPr/>
            </p:nvSpPr>
            <p:spPr bwMode="auto">
              <a:xfrm>
                <a:off x="3448050" y="3341688"/>
                <a:ext cx="150813" cy="180975"/>
              </a:xfrm>
              <a:custGeom>
                <a:avLst/>
                <a:gdLst>
                  <a:gd name="T0" fmla="*/ 35 w 40"/>
                  <a:gd name="T1" fmla="*/ 7 h 48"/>
                  <a:gd name="T2" fmla="*/ 21 w 40"/>
                  <a:gd name="T3" fmla="*/ 0 h 48"/>
                  <a:gd name="T4" fmla="*/ 6 w 40"/>
                  <a:gd name="T5" fmla="*/ 7 h 48"/>
                  <a:gd name="T6" fmla="*/ 0 w 40"/>
                  <a:gd name="T7" fmla="*/ 24 h 48"/>
                  <a:gd name="T8" fmla="*/ 5 w 40"/>
                  <a:gd name="T9" fmla="*/ 41 h 48"/>
                  <a:gd name="T10" fmla="*/ 20 w 40"/>
                  <a:gd name="T11" fmla="*/ 47 h 48"/>
                  <a:gd name="T12" fmla="*/ 32 w 40"/>
                  <a:gd name="T13" fmla="*/ 44 h 48"/>
                  <a:gd name="T14" fmla="*/ 39 w 40"/>
                  <a:gd name="T15" fmla="*/ 35 h 48"/>
                  <a:gd name="T16" fmla="*/ 33 w 40"/>
                  <a:gd name="T17" fmla="*/ 33 h 48"/>
                  <a:gd name="T18" fmla="*/ 21 w 40"/>
                  <a:gd name="T19" fmla="*/ 42 h 48"/>
                  <a:gd name="T20" fmla="*/ 12 w 40"/>
                  <a:gd name="T21" fmla="*/ 38 h 48"/>
                  <a:gd name="T22" fmla="*/ 8 w 40"/>
                  <a:gd name="T23" fmla="*/ 24 h 48"/>
                  <a:gd name="T24" fmla="*/ 40 w 40"/>
                  <a:gd name="T25" fmla="*/ 25 h 48"/>
                  <a:gd name="T26" fmla="*/ 35 w 40"/>
                  <a:gd name="T27" fmla="*/ 7 h 48"/>
                  <a:gd name="T28" fmla="*/ 8 w 40"/>
                  <a:gd name="T29" fmla="*/ 19 h 48"/>
                  <a:gd name="T30" fmla="*/ 13 w 40"/>
                  <a:gd name="T31" fmla="*/ 9 h 48"/>
                  <a:gd name="T32" fmla="*/ 21 w 40"/>
                  <a:gd name="T33" fmla="*/ 6 h 48"/>
                  <a:gd name="T34" fmla="*/ 28 w 40"/>
                  <a:gd name="T35" fmla="*/ 8 h 48"/>
                  <a:gd name="T36" fmla="*/ 32 w 40"/>
                  <a:gd name="T37" fmla="*/ 13 h 48"/>
                  <a:gd name="T38" fmla="*/ 33 w 40"/>
                  <a:gd name="T39" fmla="*/ 20 h 48"/>
                  <a:gd name="T40" fmla="*/ 8 w 40"/>
                  <a:gd name="T41" fmla="*/ 19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0" h="48">
                    <a:moveTo>
                      <a:pt x="35" y="7"/>
                    </a:moveTo>
                    <a:cubicBezTo>
                      <a:pt x="32" y="2"/>
                      <a:pt x="27" y="0"/>
                      <a:pt x="21" y="0"/>
                    </a:cubicBezTo>
                    <a:cubicBezTo>
                      <a:pt x="15" y="0"/>
                      <a:pt x="10" y="2"/>
                      <a:pt x="6" y="7"/>
                    </a:cubicBezTo>
                    <a:cubicBezTo>
                      <a:pt x="2" y="11"/>
                      <a:pt x="0" y="17"/>
                      <a:pt x="0" y="24"/>
                    </a:cubicBezTo>
                    <a:cubicBezTo>
                      <a:pt x="0" y="31"/>
                      <a:pt x="2" y="36"/>
                      <a:pt x="5" y="41"/>
                    </a:cubicBezTo>
                    <a:cubicBezTo>
                      <a:pt x="9" y="45"/>
                      <a:pt x="14" y="47"/>
                      <a:pt x="20" y="47"/>
                    </a:cubicBezTo>
                    <a:cubicBezTo>
                      <a:pt x="25" y="48"/>
                      <a:pt x="29" y="46"/>
                      <a:pt x="32" y="44"/>
                    </a:cubicBezTo>
                    <a:cubicBezTo>
                      <a:pt x="36" y="42"/>
                      <a:pt x="38" y="38"/>
                      <a:pt x="39" y="35"/>
                    </a:cubicBezTo>
                    <a:cubicBezTo>
                      <a:pt x="33" y="33"/>
                      <a:pt x="33" y="33"/>
                      <a:pt x="33" y="33"/>
                    </a:cubicBezTo>
                    <a:cubicBezTo>
                      <a:pt x="31" y="39"/>
                      <a:pt x="27" y="42"/>
                      <a:pt x="21" y="42"/>
                    </a:cubicBezTo>
                    <a:cubicBezTo>
                      <a:pt x="18" y="42"/>
                      <a:pt x="15" y="40"/>
                      <a:pt x="12" y="38"/>
                    </a:cubicBezTo>
                    <a:cubicBezTo>
                      <a:pt x="9" y="36"/>
                      <a:pt x="8" y="31"/>
                      <a:pt x="8" y="24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0" y="17"/>
                      <a:pt x="39" y="11"/>
                      <a:pt x="35" y="7"/>
                    </a:cubicBezTo>
                    <a:close/>
                    <a:moveTo>
                      <a:pt x="8" y="19"/>
                    </a:moveTo>
                    <a:cubicBezTo>
                      <a:pt x="9" y="15"/>
                      <a:pt x="10" y="12"/>
                      <a:pt x="13" y="9"/>
                    </a:cubicBezTo>
                    <a:cubicBezTo>
                      <a:pt x="15" y="7"/>
                      <a:pt x="18" y="5"/>
                      <a:pt x="21" y="6"/>
                    </a:cubicBezTo>
                    <a:cubicBezTo>
                      <a:pt x="24" y="6"/>
                      <a:pt x="26" y="6"/>
                      <a:pt x="28" y="8"/>
                    </a:cubicBezTo>
                    <a:cubicBezTo>
                      <a:pt x="30" y="9"/>
                      <a:pt x="31" y="11"/>
                      <a:pt x="32" y="13"/>
                    </a:cubicBezTo>
                    <a:cubicBezTo>
                      <a:pt x="32" y="15"/>
                      <a:pt x="33" y="17"/>
                      <a:pt x="33" y="20"/>
                    </a:cubicBezTo>
                    <a:lnTo>
                      <a:pt x="8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76" name="Freeform 67"/>
              <p:cNvSpPr>
                <a:spLocks noEditPoints="1"/>
              </p:cNvSpPr>
              <p:nvPr/>
            </p:nvSpPr>
            <p:spPr bwMode="auto">
              <a:xfrm>
                <a:off x="3624263" y="3292476"/>
                <a:ext cx="150813" cy="230188"/>
              </a:xfrm>
              <a:custGeom>
                <a:avLst/>
                <a:gdLst>
                  <a:gd name="T0" fmla="*/ 32 w 40"/>
                  <a:gd name="T1" fmla="*/ 22 h 61"/>
                  <a:gd name="T2" fmla="*/ 19 w 40"/>
                  <a:gd name="T3" fmla="*/ 14 h 61"/>
                  <a:gd name="T4" fmla="*/ 6 w 40"/>
                  <a:gd name="T5" fmla="*/ 21 h 61"/>
                  <a:gd name="T6" fmla="*/ 0 w 40"/>
                  <a:gd name="T7" fmla="*/ 38 h 61"/>
                  <a:gd name="T8" fmla="*/ 5 w 40"/>
                  <a:gd name="T9" fmla="*/ 55 h 61"/>
                  <a:gd name="T10" fmla="*/ 18 w 40"/>
                  <a:gd name="T11" fmla="*/ 61 h 61"/>
                  <a:gd name="T12" fmla="*/ 32 w 40"/>
                  <a:gd name="T13" fmla="*/ 53 h 61"/>
                  <a:gd name="T14" fmla="*/ 32 w 40"/>
                  <a:gd name="T15" fmla="*/ 60 h 61"/>
                  <a:gd name="T16" fmla="*/ 38 w 40"/>
                  <a:gd name="T17" fmla="*/ 60 h 61"/>
                  <a:gd name="T18" fmla="*/ 40 w 40"/>
                  <a:gd name="T19" fmla="*/ 0 h 61"/>
                  <a:gd name="T20" fmla="*/ 33 w 40"/>
                  <a:gd name="T21" fmla="*/ 0 h 61"/>
                  <a:gd name="T22" fmla="*/ 32 w 40"/>
                  <a:gd name="T23" fmla="*/ 22 h 61"/>
                  <a:gd name="T24" fmla="*/ 32 w 40"/>
                  <a:gd name="T25" fmla="*/ 42 h 61"/>
                  <a:gd name="T26" fmla="*/ 28 w 40"/>
                  <a:gd name="T27" fmla="*/ 52 h 61"/>
                  <a:gd name="T28" fmla="*/ 19 w 40"/>
                  <a:gd name="T29" fmla="*/ 56 h 61"/>
                  <a:gd name="T30" fmla="*/ 11 w 40"/>
                  <a:gd name="T31" fmla="*/ 51 h 61"/>
                  <a:gd name="T32" fmla="*/ 8 w 40"/>
                  <a:gd name="T33" fmla="*/ 37 h 61"/>
                  <a:gd name="T34" fmla="*/ 12 w 40"/>
                  <a:gd name="T35" fmla="*/ 24 h 61"/>
                  <a:gd name="T36" fmla="*/ 20 w 40"/>
                  <a:gd name="T37" fmla="*/ 20 h 61"/>
                  <a:gd name="T38" fmla="*/ 29 w 40"/>
                  <a:gd name="T39" fmla="*/ 23 h 61"/>
                  <a:gd name="T40" fmla="*/ 32 w 40"/>
                  <a:gd name="T41" fmla="*/ 33 h 61"/>
                  <a:gd name="T42" fmla="*/ 32 w 40"/>
                  <a:gd name="T43" fmla="*/ 42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0" h="61">
                    <a:moveTo>
                      <a:pt x="32" y="22"/>
                    </a:moveTo>
                    <a:cubicBezTo>
                      <a:pt x="29" y="17"/>
                      <a:pt x="25" y="14"/>
                      <a:pt x="19" y="14"/>
                    </a:cubicBezTo>
                    <a:cubicBezTo>
                      <a:pt x="14" y="14"/>
                      <a:pt x="9" y="16"/>
                      <a:pt x="6" y="21"/>
                    </a:cubicBezTo>
                    <a:cubicBezTo>
                      <a:pt x="2" y="25"/>
                      <a:pt x="1" y="31"/>
                      <a:pt x="0" y="38"/>
                    </a:cubicBezTo>
                    <a:cubicBezTo>
                      <a:pt x="0" y="44"/>
                      <a:pt x="2" y="50"/>
                      <a:pt x="5" y="55"/>
                    </a:cubicBezTo>
                    <a:cubicBezTo>
                      <a:pt x="8" y="59"/>
                      <a:pt x="13" y="61"/>
                      <a:pt x="18" y="61"/>
                    </a:cubicBezTo>
                    <a:cubicBezTo>
                      <a:pt x="24" y="61"/>
                      <a:pt x="29" y="59"/>
                      <a:pt x="32" y="53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8" y="60"/>
                      <a:pt x="38" y="60"/>
                      <a:pt x="38" y="6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33" y="0"/>
                      <a:pt x="33" y="0"/>
                      <a:pt x="33" y="0"/>
                    </a:cubicBezTo>
                    <a:lnTo>
                      <a:pt x="32" y="22"/>
                    </a:lnTo>
                    <a:close/>
                    <a:moveTo>
                      <a:pt x="32" y="42"/>
                    </a:moveTo>
                    <a:cubicBezTo>
                      <a:pt x="32" y="46"/>
                      <a:pt x="30" y="49"/>
                      <a:pt x="28" y="52"/>
                    </a:cubicBezTo>
                    <a:cubicBezTo>
                      <a:pt x="25" y="54"/>
                      <a:pt x="23" y="56"/>
                      <a:pt x="19" y="56"/>
                    </a:cubicBezTo>
                    <a:cubicBezTo>
                      <a:pt x="16" y="56"/>
                      <a:pt x="13" y="54"/>
                      <a:pt x="11" y="51"/>
                    </a:cubicBezTo>
                    <a:cubicBezTo>
                      <a:pt x="9" y="48"/>
                      <a:pt x="8" y="43"/>
                      <a:pt x="8" y="37"/>
                    </a:cubicBezTo>
                    <a:cubicBezTo>
                      <a:pt x="8" y="31"/>
                      <a:pt x="9" y="27"/>
                      <a:pt x="12" y="24"/>
                    </a:cubicBezTo>
                    <a:cubicBezTo>
                      <a:pt x="14" y="21"/>
                      <a:pt x="17" y="20"/>
                      <a:pt x="20" y="20"/>
                    </a:cubicBezTo>
                    <a:cubicBezTo>
                      <a:pt x="23" y="20"/>
                      <a:pt x="26" y="21"/>
                      <a:pt x="29" y="23"/>
                    </a:cubicBezTo>
                    <a:cubicBezTo>
                      <a:pt x="31" y="26"/>
                      <a:pt x="32" y="29"/>
                      <a:pt x="32" y="33"/>
                    </a:cubicBezTo>
                    <a:lnTo>
                      <a:pt x="32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77" name="Freeform 68"/>
              <p:cNvSpPr>
                <a:spLocks noEditPoints="1"/>
              </p:cNvSpPr>
              <p:nvPr/>
            </p:nvSpPr>
            <p:spPr bwMode="auto">
              <a:xfrm>
                <a:off x="3805238" y="3327401"/>
                <a:ext cx="161925" cy="258763"/>
              </a:xfrm>
              <a:custGeom>
                <a:avLst/>
                <a:gdLst>
                  <a:gd name="T0" fmla="*/ 34 w 43"/>
                  <a:gd name="T1" fmla="*/ 46 h 69"/>
                  <a:gd name="T2" fmla="*/ 23 w 43"/>
                  <a:gd name="T3" fmla="*/ 45 h 69"/>
                  <a:gd name="T4" fmla="*/ 11 w 43"/>
                  <a:gd name="T5" fmla="*/ 43 h 69"/>
                  <a:gd name="T6" fmla="*/ 9 w 43"/>
                  <a:gd name="T7" fmla="*/ 40 h 69"/>
                  <a:gd name="T8" fmla="*/ 11 w 43"/>
                  <a:gd name="T9" fmla="*/ 37 h 69"/>
                  <a:gd name="T10" fmla="*/ 14 w 43"/>
                  <a:gd name="T11" fmla="*/ 36 h 69"/>
                  <a:gd name="T12" fmla="*/ 17 w 43"/>
                  <a:gd name="T13" fmla="*/ 36 h 69"/>
                  <a:gd name="T14" fmla="*/ 20 w 43"/>
                  <a:gd name="T15" fmla="*/ 37 h 69"/>
                  <a:gd name="T16" fmla="*/ 32 w 43"/>
                  <a:gd name="T17" fmla="*/ 32 h 69"/>
                  <a:gd name="T18" fmla="*/ 37 w 43"/>
                  <a:gd name="T19" fmla="*/ 22 h 69"/>
                  <a:gd name="T20" fmla="*/ 33 w 43"/>
                  <a:gd name="T21" fmla="*/ 11 h 69"/>
                  <a:gd name="T22" fmla="*/ 35 w 43"/>
                  <a:gd name="T23" fmla="*/ 7 h 69"/>
                  <a:gd name="T24" fmla="*/ 42 w 43"/>
                  <a:gd name="T25" fmla="*/ 6 h 69"/>
                  <a:gd name="T26" fmla="*/ 42 w 43"/>
                  <a:gd name="T27" fmla="*/ 1 h 69"/>
                  <a:gd name="T28" fmla="*/ 40 w 43"/>
                  <a:gd name="T29" fmla="*/ 1 h 69"/>
                  <a:gd name="T30" fmla="*/ 33 w 43"/>
                  <a:gd name="T31" fmla="*/ 2 h 69"/>
                  <a:gd name="T32" fmla="*/ 30 w 43"/>
                  <a:gd name="T33" fmla="*/ 8 h 69"/>
                  <a:gd name="T34" fmla="*/ 21 w 43"/>
                  <a:gd name="T35" fmla="*/ 6 h 69"/>
                  <a:gd name="T36" fmla="*/ 8 w 43"/>
                  <a:gd name="T37" fmla="*/ 10 h 69"/>
                  <a:gd name="T38" fmla="*/ 3 w 43"/>
                  <a:gd name="T39" fmla="*/ 21 h 69"/>
                  <a:gd name="T40" fmla="*/ 9 w 43"/>
                  <a:gd name="T41" fmla="*/ 33 h 69"/>
                  <a:gd name="T42" fmla="*/ 2 w 43"/>
                  <a:gd name="T43" fmla="*/ 41 h 69"/>
                  <a:gd name="T44" fmla="*/ 7 w 43"/>
                  <a:gd name="T45" fmla="*/ 48 h 69"/>
                  <a:gd name="T46" fmla="*/ 0 w 43"/>
                  <a:gd name="T47" fmla="*/ 57 h 69"/>
                  <a:gd name="T48" fmla="*/ 4 w 43"/>
                  <a:gd name="T49" fmla="*/ 65 h 69"/>
                  <a:gd name="T50" fmla="*/ 20 w 43"/>
                  <a:gd name="T51" fmla="*/ 69 h 69"/>
                  <a:gd name="T52" fmla="*/ 43 w 43"/>
                  <a:gd name="T53" fmla="*/ 57 h 69"/>
                  <a:gd name="T54" fmla="*/ 40 w 43"/>
                  <a:gd name="T55" fmla="*/ 50 h 69"/>
                  <a:gd name="T56" fmla="*/ 34 w 43"/>
                  <a:gd name="T57" fmla="*/ 46 h 69"/>
                  <a:gd name="T58" fmla="*/ 14 w 43"/>
                  <a:gd name="T59" fmla="*/ 14 h 69"/>
                  <a:gd name="T60" fmla="*/ 21 w 43"/>
                  <a:gd name="T61" fmla="*/ 11 h 69"/>
                  <a:gd name="T62" fmla="*/ 28 w 43"/>
                  <a:gd name="T63" fmla="*/ 14 h 69"/>
                  <a:gd name="T64" fmla="*/ 30 w 43"/>
                  <a:gd name="T65" fmla="*/ 22 h 69"/>
                  <a:gd name="T66" fmla="*/ 27 w 43"/>
                  <a:gd name="T67" fmla="*/ 29 h 69"/>
                  <a:gd name="T68" fmla="*/ 20 w 43"/>
                  <a:gd name="T69" fmla="*/ 31 h 69"/>
                  <a:gd name="T70" fmla="*/ 13 w 43"/>
                  <a:gd name="T71" fmla="*/ 28 h 69"/>
                  <a:gd name="T72" fmla="*/ 10 w 43"/>
                  <a:gd name="T73" fmla="*/ 21 h 69"/>
                  <a:gd name="T74" fmla="*/ 14 w 43"/>
                  <a:gd name="T75" fmla="*/ 14 h 69"/>
                  <a:gd name="T76" fmla="*/ 31 w 43"/>
                  <a:gd name="T77" fmla="*/ 62 h 69"/>
                  <a:gd name="T78" fmla="*/ 21 w 43"/>
                  <a:gd name="T79" fmla="*/ 64 h 69"/>
                  <a:gd name="T80" fmla="*/ 10 w 43"/>
                  <a:gd name="T81" fmla="*/ 62 h 69"/>
                  <a:gd name="T82" fmla="*/ 6 w 43"/>
                  <a:gd name="T83" fmla="*/ 56 h 69"/>
                  <a:gd name="T84" fmla="*/ 11 w 43"/>
                  <a:gd name="T85" fmla="*/ 50 h 69"/>
                  <a:gd name="T86" fmla="*/ 22 w 43"/>
                  <a:gd name="T87" fmla="*/ 51 h 69"/>
                  <a:gd name="T88" fmla="*/ 31 w 43"/>
                  <a:gd name="T89" fmla="*/ 52 h 69"/>
                  <a:gd name="T90" fmla="*/ 35 w 43"/>
                  <a:gd name="T91" fmla="*/ 53 h 69"/>
                  <a:gd name="T92" fmla="*/ 36 w 43"/>
                  <a:gd name="T93" fmla="*/ 57 h 69"/>
                  <a:gd name="T94" fmla="*/ 31 w 43"/>
                  <a:gd name="T95" fmla="*/ 62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3" h="69">
                    <a:moveTo>
                      <a:pt x="34" y="46"/>
                    </a:moveTo>
                    <a:cubicBezTo>
                      <a:pt x="32" y="45"/>
                      <a:pt x="28" y="45"/>
                      <a:pt x="23" y="45"/>
                    </a:cubicBezTo>
                    <a:cubicBezTo>
                      <a:pt x="17" y="44"/>
                      <a:pt x="13" y="44"/>
                      <a:pt x="11" y="43"/>
                    </a:cubicBezTo>
                    <a:cubicBezTo>
                      <a:pt x="10" y="43"/>
                      <a:pt x="9" y="42"/>
                      <a:pt x="9" y="40"/>
                    </a:cubicBezTo>
                    <a:cubicBezTo>
                      <a:pt x="9" y="39"/>
                      <a:pt x="10" y="38"/>
                      <a:pt x="11" y="37"/>
                    </a:cubicBezTo>
                    <a:cubicBezTo>
                      <a:pt x="12" y="36"/>
                      <a:pt x="13" y="36"/>
                      <a:pt x="14" y="36"/>
                    </a:cubicBezTo>
                    <a:cubicBezTo>
                      <a:pt x="14" y="36"/>
                      <a:pt x="15" y="36"/>
                      <a:pt x="17" y="36"/>
                    </a:cubicBezTo>
                    <a:cubicBezTo>
                      <a:pt x="18" y="36"/>
                      <a:pt x="19" y="37"/>
                      <a:pt x="20" y="37"/>
                    </a:cubicBezTo>
                    <a:cubicBezTo>
                      <a:pt x="25" y="37"/>
                      <a:pt x="29" y="35"/>
                      <a:pt x="32" y="32"/>
                    </a:cubicBezTo>
                    <a:cubicBezTo>
                      <a:pt x="36" y="30"/>
                      <a:pt x="37" y="26"/>
                      <a:pt x="37" y="22"/>
                    </a:cubicBezTo>
                    <a:cubicBezTo>
                      <a:pt x="37" y="18"/>
                      <a:pt x="36" y="14"/>
                      <a:pt x="33" y="11"/>
                    </a:cubicBezTo>
                    <a:cubicBezTo>
                      <a:pt x="34" y="9"/>
                      <a:pt x="34" y="8"/>
                      <a:pt x="35" y="7"/>
                    </a:cubicBezTo>
                    <a:cubicBezTo>
                      <a:pt x="37" y="6"/>
                      <a:pt x="39" y="6"/>
                      <a:pt x="42" y="6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1" y="1"/>
                      <a:pt x="41" y="1"/>
                      <a:pt x="40" y="1"/>
                    </a:cubicBezTo>
                    <a:cubicBezTo>
                      <a:pt x="37" y="0"/>
                      <a:pt x="35" y="1"/>
                      <a:pt x="33" y="2"/>
                    </a:cubicBezTo>
                    <a:cubicBezTo>
                      <a:pt x="31" y="3"/>
                      <a:pt x="30" y="5"/>
                      <a:pt x="30" y="8"/>
                    </a:cubicBezTo>
                    <a:cubicBezTo>
                      <a:pt x="27" y="7"/>
                      <a:pt x="24" y="6"/>
                      <a:pt x="21" y="6"/>
                    </a:cubicBezTo>
                    <a:cubicBezTo>
                      <a:pt x="16" y="6"/>
                      <a:pt x="12" y="7"/>
                      <a:pt x="8" y="10"/>
                    </a:cubicBezTo>
                    <a:cubicBezTo>
                      <a:pt x="5" y="13"/>
                      <a:pt x="3" y="16"/>
                      <a:pt x="3" y="21"/>
                    </a:cubicBezTo>
                    <a:cubicBezTo>
                      <a:pt x="3" y="26"/>
                      <a:pt x="5" y="30"/>
                      <a:pt x="9" y="33"/>
                    </a:cubicBezTo>
                    <a:cubicBezTo>
                      <a:pt x="5" y="35"/>
                      <a:pt x="2" y="37"/>
                      <a:pt x="2" y="41"/>
                    </a:cubicBezTo>
                    <a:cubicBezTo>
                      <a:pt x="2" y="44"/>
                      <a:pt x="4" y="46"/>
                      <a:pt x="7" y="48"/>
                    </a:cubicBezTo>
                    <a:cubicBezTo>
                      <a:pt x="2" y="49"/>
                      <a:pt x="0" y="52"/>
                      <a:pt x="0" y="57"/>
                    </a:cubicBezTo>
                    <a:cubicBezTo>
                      <a:pt x="0" y="60"/>
                      <a:pt x="1" y="63"/>
                      <a:pt x="4" y="65"/>
                    </a:cubicBezTo>
                    <a:cubicBezTo>
                      <a:pt x="8" y="68"/>
                      <a:pt x="13" y="69"/>
                      <a:pt x="20" y="69"/>
                    </a:cubicBezTo>
                    <a:cubicBezTo>
                      <a:pt x="35" y="69"/>
                      <a:pt x="43" y="65"/>
                      <a:pt x="43" y="57"/>
                    </a:cubicBezTo>
                    <a:cubicBezTo>
                      <a:pt x="43" y="54"/>
                      <a:pt x="42" y="52"/>
                      <a:pt x="40" y="50"/>
                    </a:cubicBezTo>
                    <a:cubicBezTo>
                      <a:pt x="39" y="48"/>
                      <a:pt x="37" y="46"/>
                      <a:pt x="34" y="46"/>
                    </a:cubicBezTo>
                    <a:close/>
                    <a:moveTo>
                      <a:pt x="14" y="14"/>
                    </a:moveTo>
                    <a:cubicBezTo>
                      <a:pt x="16" y="12"/>
                      <a:pt x="18" y="11"/>
                      <a:pt x="21" y="11"/>
                    </a:cubicBezTo>
                    <a:cubicBezTo>
                      <a:pt x="23" y="11"/>
                      <a:pt x="26" y="12"/>
                      <a:pt x="28" y="14"/>
                    </a:cubicBezTo>
                    <a:cubicBezTo>
                      <a:pt x="29" y="16"/>
                      <a:pt x="30" y="19"/>
                      <a:pt x="30" y="22"/>
                    </a:cubicBezTo>
                    <a:cubicBezTo>
                      <a:pt x="30" y="25"/>
                      <a:pt x="29" y="27"/>
                      <a:pt x="27" y="29"/>
                    </a:cubicBezTo>
                    <a:cubicBezTo>
                      <a:pt x="25" y="30"/>
                      <a:pt x="23" y="31"/>
                      <a:pt x="20" y="31"/>
                    </a:cubicBezTo>
                    <a:cubicBezTo>
                      <a:pt x="17" y="31"/>
                      <a:pt x="15" y="30"/>
                      <a:pt x="13" y="28"/>
                    </a:cubicBezTo>
                    <a:cubicBezTo>
                      <a:pt x="11" y="27"/>
                      <a:pt x="10" y="24"/>
                      <a:pt x="10" y="21"/>
                    </a:cubicBezTo>
                    <a:cubicBezTo>
                      <a:pt x="10" y="18"/>
                      <a:pt x="11" y="16"/>
                      <a:pt x="14" y="14"/>
                    </a:cubicBezTo>
                    <a:close/>
                    <a:moveTo>
                      <a:pt x="31" y="62"/>
                    </a:moveTo>
                    <a:cubicBezTo>
                      <a:pt x="28" y="63"/>
                      <a:pt x="24" y="64"/>
                      <a:pt x="21" y="64"/>
                    </a:cubicBezTo>
                    <a:cubicBezTo>
                      <a:pt x="16" y="64"/>
                      <a:pt x="13" y="63"/>
                      <a:pt x="10" y="62"/>
                    </a:cubicBezTo>
                    <a:cubicBezTo>
                      <a:pt x="8" y="60"/>
                      <a:pt x="6" y="58"/>
                      <a:pt x="6" y="56"/>
                    </a:cubicBezTo>
                    <a:cubicBezTo>
                      <a:pt x="6" y="53"/>
                      <a:pt x="8" y="51"/>
                      <a:pt x="11" y="50"/>
                    </a:cubicBezTo>
                    <a:cubicBezTo>
                      <a:pt x="14" y="50"/>
                      <a:pt x="17" y="51"/>
                      <a:pt x="22" y="51"/>
                    </a:cubicBezTo>
                    <a:cubicBezTo>
                      <a:pt x="26" y="51"/>
                      <a:pt x="29" y="51"/>
                      <a:pt x="31" y="52"/>
                    </a:cubicBezTo>
                    <a:cubicBezTo>
                      <a:pt x="32" y="52"/>
                      <a:pt x="34" y="52"/>
                      <a:pt x="35" y="53"/>
                    </a:cubicBezTo>
                    <a:cubicBezTo>
                      <a:pt x="36" y="54"/>
                      <a:pt x="36" y="55"/>
                      <a:pt x="36" y="57"/>
                    </a:cubicBezTo>
                    <a:cubicBezTo>
                      <a:pt x="36" y="59"/>
                      <a:pt x="34" y="61"/>
                      <a:pt x="31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78" name="Freeform 69"/>
              <p:cNvSpPr>
                <a:spLocks noEditPoints="1"/>
              </p:cNvSpPr>
              <p:nvPr/>
            </p:nvSpPr>
            <p:spPr bwMode="auto">
              <a:xfrm>
                <a:off x="3978275" y="3352801"/>
                <a:ext cx="150813" cy="176213"/>
              </a:xfrm>
              <a:custGeom>
                <a:avLst/>
                <a:gdLst>
                  <a:gd name="T0" fmla="*/ 21 w 40"/>
                  <a:gd name="T1" fmla="*/ 41 h 47"/>
                  <a:gd name="T2" fmla="*/ 12 w 40"/>
                  <a:gd name="T3" fmla="*/ 38 h 47"/>
                  <a:gd name="T4" fmla="*/ 8 w 40"/>
                  <a:gd name="T5" fmla="*/ 24 h 47"/>
                  <a:gd name="T6" fmla="*/ 40 w 40"/>
                  <a:gd name="T7" fmla="*/ 25 h 47"/>
                  <a:gd name="T8" fmla="*/ 35 w 40"/>
                  <a:gd name="T9" fmla="*/ 6 h 47"/>
                  <a:gd name="T10" fmla="*/ 21 w 40"/>
                  <a:gd name="T11" fmla="*/ 0 h 47"/>
                  <a:gd name="T12" fmla="*/ 6 w 40"/>
                  <a:gd name="T13" fmla="*/ 6 h 47"/>
                  <a:gd name="T14" fmla="*/ 0 w 40"/>
                  <a:gd name="T15" fmla="*/ 23 h 47"/>
                  <a:gd name="T16" fmla="*/ 5 w 40"/>
                  <a:gd name="T17" fmla="*/ 40 h 47"/>
                  <a:gd name="T18" fmla="*/ 20 w 40"/>
                  <a:gd name="T19" fmla="*/ 47 h 47"/>
                  <a:gd name="T20" fmla="*/ 32 w 40"/>
                  <a:gd name="T21" fmla="*/ 44 h 47"/>
                  <a:gd name="T22" fmla="*/ 39 w 40"/>
                  <a:gd name="T23" fmla="*/ 34 h 47"/>
                  <a:gd name="T24" fmla="*/ 33 w 40"/>
                  <a:gd name="T25" fmla="*/ 33 h 47"/>
                  <a:gd name="T26" fmla="*/ 21 w 40"/>
                  <a:gd name="T27" fmla="*/ 41 h 47"/>
                  <a:gd name="T28" fmla="*/ 12 w 40"/>
                  <a:gd name="T29" fmla="*/ 9 h 47"/>
                  <a:gd name="T30" fmla="*/ 21 w 40"/>
                  <a:gd name="T31" fmla="*/ 5 h 47"/>
                  <a:gd name="T32" fmla="*/ 28 w 40"/>
                  <a:gd name="T33" fmla="*/ 7 h 47"/>
                  <a:gd name="T34" fmla="*/ 32 w 40"/>
                  <a:gd name="T35" fmla="*/ 12 h 47"/>
                  <a:gd name="T36" fmla="*/ 33 w 40"/>
                  <a:gd name="T37" fmla="*/ 19 h 47"/>
                  <a:gd name="T38" fmla="*/ 8 w 40"/>
                  <a:gd name="T39" fmla="*/ 19 h 47"/>
                  <a:gd name="T40" fmla="*/ 12 w 40"/>
                  <a:gd name="T41" fmla="*/ 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0" h="47">
                    <a:moveTo>
                      <a:pt x="21" y="41"/>
                    </a:moveTo>
                    <a:cubicBezTo>
                      <a:pt x="17" y="41"/>
                      <a:pt x="14" y="40"/>
                      <a:pt x="12" y="38"/>
                    </a:cubicBezTo>
                    <a:cubicBezTo>
                      <a:pt x="9" y="35"/>
                      <a:pt x="8" y="31"/>
                      <a:pt x="8" y="24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0" y="16"/>
                      <a:pt x="39" y="10"/>
                      <a:pt x="35" y="6"/>
                    </a:cubicBezTo>
                    <a:cubicBezTo>
                      <a:pt x="32" y="2"/>
                      <a:pt x="27" y="0"/>
                      <a:pt x="21" y="0"/>
                    </a:cubicBezTo>
                    <a:cubicBezTo>
                      <a:pt x="15" y="0"/>
                      <a:pt x="10" y="2"/>
                      <a:pt x="6" y="6"/>
                    </a:cubicBezTo>
                    <a:cubicBezTo>
                      <a:pt x="2" y="11"/>
                      <a:pt x="0" y="16"/>
                      <a:pt x="0" y="23"/>
                    </a:cubicBezTo>
                    <a:cubicBezTo>
                      <a:pt x="0" y="30"/>
                      <a:pt x="2" y="36"/>
                      <a:pt x="5" y="40"/>
                    </a:cubicBezTo>
                    <a:cubicBezTo>
                      <a:pt x="9" y="45"/>
                      <a:pt x="14" y="47"/>
                      <a:pt x="20" y="47"/>
                    </a:cubicBezTo>
                    <a:cubicBezTo>
                      <a:pt x="25" y="47"/>
                      <a:pt x="29" y="46"/>
                      <a:pt x="32" y="44"/>
                    </a:cubicBezTo>
                    <a:cubicBezTo>
                      <a:pt x="36" y="41"/>
                      <a:pt x="38" y="38"/>
                      <a:pt x="39" y="34"/>
                    </a:cubicBezTo>
                    <a:cubicBezTo>
                      <a:pt x="33" y="33"/>
                      <a:pt x="33" y="33"/>
                      <a:pt x="33" y="33"/>
                    </a:cubicBezTo>
                    <a:cubicBezTo>
                      <a:pt x="30" y="39"/>
                      <a:pt x="26" y="42"/>
                      <a:pt x="21" y="41"/>
                    </a:cubicBezTo>
                    <a:close/>
                    <a:moveTo>
                      <a:pt x="12" y="9"/>
                    </a:moveTo>
                    <a:cubicBezTo>
                      <a:pt x="15" y="6"/>
                      <a:pt x="18" y="5"/>
                      <a:pt x="21" y="5"/>
                    </a:cubicBezTo>
                    <a:cubicBezTo>
                      <a:pt x="24" y="5"/>
                      <a:pt x="26" y="6"/>
                      <a:pt x="28" y="7"/>
                    </a:cubicBezTo>
                    <a:cubicBezTo>
                      <a:pt x="30" y="9"/>
                      <a:pt x="31" y="11"/>
                      <a:pt x="32" y="12"/>
                    </a:cubicBezTo>
                    <a:cubicBezTo>
                      <a:pt x="32" y="14"/>
                      <a:pt x="33" y="17"/>
                      <a:pt x="33" y="19"/>
                    </a:cubicBezTo>
                    <a:cubicBezTo>
                      <a:pt x="8" y="19"/>
                      <a:pt x="8" y="19"/>
                      <a:pt x="8" y="19"/>
                    </a:cubicBezTo>
                    <a:cubicBezTo>
                      <a:pt x="8" y="15"/>
                      <a:pt x="10" y="11"/>
                      <a:pt x="1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79" name="Freeform 70"/>
              <p:cNvSpPr/>
              <p:nvPr/>
            </p:nvSpPr>
            <p:spPr bwMode="auto">
              <a:xfrm>
                <a:off x="2474913" y="1470026"/>
                <a:ext cx="161925" cy="200025"/>
              </a:xfrm>
              <a:custGeom>
                <a:avLst/>
                <a:gdLst>
                  <a:gd name="T0" fmla="*/ 27 w 43"/>
                  <a:gd name="T1" fmla="*/ 22 h 53"/>
                  <a:gd name="T2" fmla="*/ 18 w 43"/>
                  <a:gd name="T3" fmla="*/ 21 h 53"/>
                  <a:gd name="T4" fmla="*/ 10 w 43"/>
                  <a:gd name="T5" fmla="*/ 14 h 53"/>
                  <a:gd name="T6" fmla="*/ 13 w 43"/>
                  <a:gd name="T7" fmla="*/ 8 h 53"/>
                  <a:gd name="T8" fmla="*/ 21 w 43"/>
                  <a:gd name="T9" fmla="*/ 6 h 53"/>
                  <a:gd name="T10" fmla="*/ 33 w 43"/>
                  <a:gd name="T11" fmla="*/ 14 h 53"/>
                  <a:gd name="T12" fmla="*/ 41 w 43"/>
                  <a:gd name="T13" fmla="*/ 12 h 53"/>
                  <a:gd name="T14" fmla="*/ 20 w 43"/>
                  <a:gd name="T15" fmla="*/ 0 h 53"/>
                  <a:gd name="T16" fmla="*/ 7 w 43"/>
                  <a:gd name="T17" fmla="*/ 4 h 53"/>
                  <a:gd name="T18" fmla="*/ 2 w 43"/>
                  <a:gd name="T19" fmla="*/ 14 h 53"/>
                  <a:gd name="T20" fmla="*/ 6 w 43"/>
                  <a:gd name="T21" fmla="*/ 24 h 53"/>
                  <a:gd name="T22" fmla="*/ 15 w 43"/>
                  <a:gd name="T23" fmla="*/ 28 h 53"/>
                  <a:gd name="T24" fmla="*/ 26 w 43"/>
                  <a:gd name="T25" fmla="*/ 30 h 53"/>
                  <a:gd name="T26" fmla="*/ 35 w 43"/>
                  <a:gd name="T27" fmla="*/ 38 h 53"/>
                  <a:gd name="T28" fmla="*/ 31 w 43"/>
                  <a:gd name="T29" fmla="*/ 44 h 53"/>
                  <a:gd name="T30" fmla="*/ 23 w 43"/>
                  <a:gd name="T31" fmla="*/ 46 h 53"/>
                  <a:gd name="T32" fmla="*/ 7 w 43"/>
                  <a:gd name="T33" fmla="*/ 37 h 53"/>
                  <a:gd name="T34" fmla="*/ 0 w 43"/>
                  <a:gd name="T35" fmla="*/ 38 h 53"/>
                  <a:gd name="T36" fmla="*/ 22 w 43"/>
                  <a:gd name="T37" fmla="*/ 53 h 53"/>
                  <a:gd name="T38" fmla="*/ 37 w 43"/>
                  <a:gd name="T39" fmla="*/ 48 h 53"/>
                  <a:gd name="T40" fmla="*/ 43 w 43"/>
                  <a:gd name="T41" fmla="*/ 37 h 53"/>
                  <a:gd name="T42" fmla="*/ 27 w 43"/>
                  <a:gd name="T43" fmla="*/ 22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3" h="53">
                    <a:moveTo>
                      <a:pt x="27" y="22"/>
                    </a:moveTo>
                    <a:cubicBezTo>
                      <a:pt x="18" y="21"/>
                      <a:pt x="18" y="21"/>
                      <a:pt x="18" y="21"/>
                    </a:cubicBezTo>
                    <a:cubicBezTo>
                      <a:pt x="13" y="20"/>
                      <a:pt x="10" y="17"/>
                      <a:pt x="10" y="14"/>
                    </a:cubicBezTo>
                    <a:cubicBezTo>
                      <a:pt x="10" y="11"/>
                      <a:pt x="11" y="9"/>
                      <a:pt x="13" y="8"/>
                    </a:cubicBezTo>
                    <a:cubicBezTo>
                      <a:pt x="15" y="7"/>
                      <a:pt x="18" y="6"/>
                      <a:pt x="21" y="6"/>
                    </a:cubicBezTo>
                    <a:cubicBezTo>
                      <a:pt x="27" y="6"/>
                      <a:pt x="31" y="9"/>
                      <a:pt x="33" y="14"/>
                    </a:cubicBezTo>
                    <a:cubicBezTo>
                      <a:pt x="41" y="12"/>
                      <a:pt x="41" y="12"/>
                      <a:pt x="41" y="12"/>
                    </a:cubicBezTo>
                    <a:cubicBezTo>
                      <a:pt x="38" y="4"/>
                      <a:pt x="31" y="0"/>
                      <a:pt x="20" y="0"/>
                    </a:cubicBezTo>
                    <a:cubicBezTo>
                      <a:pt x="15" y="0"/>
                      <a:pt x="10" y="1"/>
                      <a:pt x="7" y="4"/>
                    </a:cubicBezTo>
                    <a:cubicBezTo>
                      <a:pt x="4" y="7"/>
                      <a:pt x="2" y="10"/>
                      <a:pt x="2" y="14"/>
                    </a:cubicBezTo>
                    <a:cubicBezTo>
                      <a:pt x="2" y="18"/>
                      <a:pt x="3" y="21"/>
                      <a:pt x="6" y="24"/>
                    </a:cubicBezTo>
                    <a:cubicBezTo>
                      <a:pt x="8" y="26"/>
                      <a:pt x="11" y="27"/>
                      <a:pt x="15" y="28"/>
                    </a:cubicBezTo>
                    <a:cubicBezTo>
                      <a:pt x="26" y="30"/>
                      <a:pt x="26" y="30"/>
                      <a:pt x="26" y="30"/>
                    </a:cubicBezTo>
                    <a:cubicBezTo>
                      <a:pt x="32" y="31"/>
                      <a:pt x="35" y="34"/>
                      <a:pt x="35" y="38"/>
                    </a:cubicBezTo>
                    <a:cubicBezTo>
                      <a:pt x="35" y="40"/>
                      <a:pt x="33" y="42"/>
                      <a:pt x="31" y="44"/>
                    </a:cubicBezTo>
                    <a:cubicBezTo>
                      <a:pt x="29" y="45"/>
                      <a:pt x="26" y="46"/>
                      <a:pt x="23" y="46"/>
                    </a:cubicBezTo>
                    <a:cubicBezTo>
                      <a:pt x="14" y="46"/>
                      <a:pt x="9" y="43"/>
                      <a:pt x="7" y="37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3" y="48"/>
                      <a:pt x="10" y="53"/>
                      <a:pt x="22" y="53"/>
                    </a:cubicBezTo>
                    <a:cubicBezTo>
                      <a:pt x="28" y="53"/>
                      <a:pt x="33" y="51"/>
                      <a:pt x="37" y="48"/>
                    </a:cubicBezTo>
                    <a:cubicBezTo>
                      <a:pt x="41" y="45"/>
                      <a:pt x="43" y="42"/>
                      <a:pt x="43" y="37"/>
                    </a:cubicBezTo>
                    <a:cubicBezTo>
                      <a:pt x="43" y="29"/>
                      <a:pt x="38" y="24"/>
                      <a:pt x="2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80" name="Freeform 71"/>
              <p:cNvSpPr>
                <a:spLocks noEditPoints="1"/>
              </p:cNvSpPr>
              <p:nvPr/>
            </p:nvSpPr>
            <p:spPr bwMode="auto">
              <a:xfrm>
                <a:off x="2659063" y="1470026"/>
                <a:ext cx="165100" cy="200025"/>
              </a:xfrm>
              <a:custGeom>
                <a:avLst/>
                <a:gdLst>
                  <a:gd name="T0" fmla="*/ 43 w 44"/>
                  <a:gd name="T1" fmla="*/ 20 h 53"/>
                  <a:gd name="T2" fmla="*/ 39 w 44"/>
                  <a:gd name="T3" fmla="*/ 4 h 53"/>
                  <a:gd name="T4" fmla="*/ 24 w 44"/>
                  <a:gd name="T5" fmla="*/ 0 h 53"/>
                  <a:gd name="T6" fmla="*/ 2 w 44"/>
                  <a:gd name="T7" fmla="*/ 14 h 53"/>
                  <a:gd name="T8" fmla="*/ 9 w 44"/>
                  <a:gd name="T9" fmla="*/ 15 h 53"/>
                  <a:gd name="T10" fmla="*/ 23 w 44"/>
                  <a:gd name="T11" fmla="*/ 6 h 53"/>
                  <a:gd name="T12" fmla="*/ 30 w 44"/>
                  <a:gd name="T13" fmla="*/ 7 h 53"/>
                  <a:gd name="T14" fmla="*/ 34 w 44"/>
                  <a:gd name="T15" fmla="*/ 12 h 53"/>
                  <a:gd name="T16" fmla="*/ 35 w 44"/>
                  <a:gd name="T17" fmla="*/ 20 h 53"/>
                  <a:gd name="T18" fmla="*/ 29 w 44"/>
                  <a:gd name="T19" fmla="*/ 20 h 53"/>
                  <a:gd name="T20" fmla="*/ 7 w 44"/>
                  <a:gd name="T21" fmla="*/ 25 h 53"/>
                  <a:gd name="T22" fmla="*/ 0 w 44"/>
                  <a:gd name="T23" fmla="*/ 37 h 53"/>
                  <a:gd name="T24" fmla="*/ 5 w 44"/>
                  <a:gd name="T25" fmla="*/ 48 h 53"/>
                  <a:gd name="T26" fmla="*/ 18 w 44"/>
                  <a:gd name="T27" fmla="*/ 53 h 53"/>
                  <a:gd name="T28" fmla="*/ 35 w 44"/>
                  <a:gd name="T29" fmla="*/ 42 h 53"/>
                  <a:gd name="T30" fmla="*/ 36 w 44"/>
                  <a:gd name="T31" fmla="*/ 51 h 53"/>
                  <a:gd name="T32" fmla="*/ 44 w 44"/>
                  <a:gd name="T33" fmla="*/ 51 h 53"/>
                  <a:gd name="T34" fmla="*/ 43 w 44"/>
                  <a:gd name="T35" fmla="*/ 41 h 53"/>
                  <a:gd name="T36" fmla="*/ 43 w 44"/>
                  <a:gd name="T37" fmla="*/ 20 h 53"/>
                  <a:gd name="T38" fmla="*/ 31 w 44"/>
                  <a:gd name="T39" fmla="*/ 41 h 53"/>
                  <a:gd name="T40" fmla="*/ 19 w 44"/>
                  <a:gd name="T41" fmla="*/ 47 h 53"/>
                  <a:gd name="T42" fmla="*/ 11 w 44"/>
                  <a:gd name="T43" fmla="*/ 44 h 53"/>
                  <a:gd name="T44" fmla="*/ 9 w 44"/>
                  <a:gd name="T45" fmla="*/ 38 h 53"/>
                  <a:gd name="T46" fmla="*/ 14 w 44"/>
                  <a:gd name="T47" fmla="*/ 29 h 53"/>
                  <a:gd name="T48" fmla="*/ 28 w 44"/>
                  <a:gd name="T49" fmla="*/ 26 h 53"/>
                  <a:gd name="T50" fmla="*/ 35 w 44"/>
                  <a:gd name="T51" fmla="*/ 26 h 53"/>
                  <a:gd name="T52" fmla="*/ 35 w 44"/>
                  <a:gd name="T53" fmla="*/ 29 h 53"/>
                  <a:gd name="T54" fmla="*/ 31 w 44"/>
                  <a:gd name="T55" fmla="*/ 4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4" h="53">
                    <a:moveTo>
                      <a:pt x="43" y="20"/>
                    </a:moveTo>
                    <a:cubicBezTo>
                      <a:pt x="43" y="13"/>
                      <a:pt x="41" y="7"/>
                      <a:pt x="39" y="4"/>
                    </a:cubicBezTo>
                    <a:cubicBezTo>
                      <a:pt x="36" y="1"/>
                      <a:pt x="31" y="0"/>
                      <a:pt x="24" y="0"/>
                    </a:cubicBezTo>
                    <a:cubicBezTo>
                      <a:pt x="11" y="0"/>
                      <a:pt x="3" y="4"/>
                      <a:pt x="2" y="14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0" y="9"/>
                      <a:pt x="15" y="6"/>
                      <a:pt x="23" y="6"/>
                    </a:cubicBezTo>
                    <a:cubicBezTo>
                      <a:pt x="26" y="6"/>
                      <a:pt x="29" y="6"/>
                      <a:pt x="30" y="7"/>
                    </a:cubicBezTo>
                    <a:cubicBezTo>
                      <a:pt x="32" y="8"/>
                      <a:pt x="34" y="10"/>
                      <a:pt x="34" y="12"/>
                    </a:cubicBezTo>
                    <a:cubicBezTo>
                      <a:pt x="35" y="13"/>
                      <a:pt x="35" y="16"/>
                      <a:pt x="35" y="20"/>
                    </a:cubicBezTo>
                    <a:cubicBezTo>
                      <a:pt x="32" y="20"/>
                      <a:pt x="30" y="20"/>
                      <a:pt x="29" y="20"/>
                    </a:cubicBezTo>
                    <a:cubicBezTo>
                      <a:pt x="18" y="20"/>
                      <a:pt x="11" y="22"/>
                      <a:pt x="7" y="25"/>
                    </a:cubicBezTo>
                    <a:cubicBezTo>
                      <a:pt x="2" y="28"/>
                      <a:pt x="0" y="32"/>
                      <a:pt x="0" y="37"/>
                    </a:cubicBezTo>
                    <a:cubicBezTo>
                      <a:pt x="0" y="41"/>
                      <a:pt x="2" y="45"/>
                      <a:pt x="5" y="48"/>
                    </a:cubicBezTo>
                    <a:cubicBezTo>
                      <a:pt x="8" y="51"/>
                      <a:pt x="12" y="53"/>
                      <a:pt x="18" y="53"/>
                    </a:cubicBezTo>
                    <a:cubicBezTo>
                      <a:pt x="26" y="53"/>
                      <a:pt x="32" y="49"/>
                      <a:pt x="35" y="42"/>
                    </a:cubicBezTo>
                    <a:cubicBezTo>
                      <a:pt x="36" y="47"/>
                      <a:pt x="36" y="50"/>
                      <a:pt x="36" y="51"/>
                    </a:cubicBezTo>
                    <a:cubicBezTo>
                      <a:pt x="44" y="51"/>
                      <a:pt x="44" y="51"/>
                      <a:pt x="44" y="51"/>
                    </a:cubicBezTo>
                    <a:cubicBezTo>
                      <a:pt x="43" y="48"/>
                      <a:pt x="43" y="45"/>
                      <a:pt x="43" y="41"/>
                    </a:cubicBezTo>
                    <a:lnTo>
                      <a:pt x="43" y="20"/>
                    </a:lnTo>
                    <a:close/>
                    <a:moveTo>
                      <a:pt x="31" y="41"/>
                    </a:moveTo>
                    <a:cubicBezTo>
                      <a:pt x="28" y="45"/>
                      <a:pt x="24" y="47"/>
                      <a:pt x="19" y="47"/>
                    </a:cubicBezTo>
                    <a:cubicBezTo>
                      <a:pt x="16" y="47"/>
                      <a:pt x="13" y="46"/>
                      <a:pt x="11" y="44"/>
                    </a:cubicBezTo>
                    <a:cubicBezTo>
                      <a:pt x="10" y="42"/>
                      <a:pt x="9" y="40"/>
                      <a:pt x="9" y="38"/>
                    </a:cubicBezTo>
                    <a:cubicBezTo>
                      <a:pt x="9" y="34"/>
                      <a:pt x="10" y="31"/>
                      <a:pt x="14" y="29"/>
                    </a:cubicBezTo>
                    <a:cubicBezTo>
                      <a:pt x="17" y="27"/>
                      <a:pt x="22" y="26"/>
                      <a:pt x="28" y="26"/>
                    </a:cubicBezTo>
                    <a:cubicBezTo>
                      <a:pt x="30" y="26"/>
                      <a:pt x="32" y="26"/>
                      <a:pt x="35" y="26"/>
                    </a:cubicBezTo>
                    <a:cubicBezTo>
                      <a:pt x="35" y="27"/>
                      <a:pt x="35" y="28"/>
                      <a:pt x="35" y="29"/>
                    </a:cubicBezTo>
                    <a:cubicBezTo>
                      <a:pt x="35" y="34"/>
                      <a:pt x="34" y="38"/>
                      <a:pt x="31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81" name="Rectangle 72"/>
              <p:cNvSpPr>
                <a:spLocks noChangeArrowheads="1"/>
              </p:cNvSpPr>
              <p:nvPr/>
            </p:nvSpPr>
            <p:spPr bwMode="auto">
              <a:xfrm>
                <a:off x="2876550" y="1406526"/>
                <a:ext cx="30163" cy="25558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82" name="Freeform 73"/>
              <p:cNvSpPr>
                <a:spLocks noEditPoints="1"/>
              </p:cNvSpPr>
              <p:nvPr/>
            </p:nvSpPr>
            <p:spPr bwMode="auto">
              <a:xfrm>
                <a:off x="2952750" y="1470026"/>
                <a:ext cx="168275" cy="200025"/>
              </a:xfrm>
              <a:custGeom>
                <a:avLst/>
                <a:gdLst>
                  <a:gd name="T0" fmla="*/ 23 w 45"/>
                  <a:gd name="T1" fmla="*/ 46 h 53"/>
                  <a:gd name="T2" fmla="*/ 13 w 45"/>
                  <a:gd name="T3" fmla="*/ 42 h 53"/>
                  <a:gd name="T4" fmla="*/ 8 w 45"/>
                  <a:gd name="T5" fmla="*/ 27 h 53"/>
                  <a:gd name="T6" fmla="*/ 45 w 45"/>
                  <a:gd name="T7" fmla="*/ 27 h 53"/>
                  <a:gd name="T8" fmla="*/ 39 w 45"/>
                  <a:gd name="T9" fmla="*/ 6 h 53"/>
                  <a:gd name="T10" fmla="*/ 23 w 45"/>
                  <a:gd name="T11" fmla="*/ 0 h 53"/>
                  <a:gd name="T12" fmla="*/ 6 w 45"/>
                  <a:gd name="T13" fmla="*/ 7 h 53"/>
                  <a:gd name="T14" fmla="*/ 0 w 45"/>
                  <a:gd name="T15" fmla="*/ 26 h 53"/>
                  <a:gd name="T16" fmla="*/ 6 w 45"/>
                  <a:gd name="T17" fmla="*/ 45 h 53"/>
                  <a:gd name="T18" fmla="*/ 23 w 45"/>
                  <a:gd name="T19" fmla="*/ 53 h 53"/>
                  <a:gd name="T20" fmla="*/ 36 w 45"/>
                  <a:gd name="T21" fmla="*/ 48 h 53"/>
                  <a:gd name="T22" fmla="*/ 44 w 45"/>
                  <a:gd name="T23" fmla="*/ 38 h 53"/>
                  <a:gd name="T24" fmla="*/ 37 w 45"/>
                  <a:gd name="T25" fmla="*/ 36 h 53"/>
                  <a:gd name="T26" fmla="*/ 23 w 45"/>
                  <a:gd name="T27" fmla="*/ 46 h 53"/>
                  <a:gd name="T28" fmla="*/ 13 w 45"/>
                  <a:gd name="T29" fmla="*/ 10 h 53"/>
                  <a:gd name="T30" fmla="*/ 23 w 45"/>
                  <a:gd name="T31" fmla="*/ 6 h 53"/>
                  <a:gd name="T32" fmla="*/ 31 w 45"/>
                  <a:gd name="T33" fmla="*/ 8 h 53"/>
                  <a:gd name="T34" fmla="*/ 35 w 45"/>
                  <a:gd name="T35" fmla="*/ 14 h 53"/>
                  <a:gd name="T36" fmla="*/ 36 w 45"/>
                  <a:gd name="T37" fmla="*/ 21 h 53"/>
                  <a:gd name="T38" fmla="*/ 9 w 45"/>
                  <a:gd name="T39" fmla="*/ 21 h 53"/>
                  <a:gd name="T40" fmla="*/ 13 w 45"/>
                  <a:gd name="T41" fmla="*/ 1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5" h="53">
                    <a:moveTo>
                      <a:pt x="23" y="46"/>
                    </a:moveTo>
                    <a:cubicBezTo>
                      <a:pt x="20" y="46"/>
                      <a:pt x="16" y="45"/>
                      <a:pt x="13" y="42"/>
                    </a:cubicBezTo>
                    <a:cubicBezTo>
                      <a:pt x="10" y="39"/>
                      <a:pt x="8" y="34"/>
                      <a:pt x="8" y="27"/>
                    </a:cubicBezTo>
                    <a:cubicBezTo>
                      <a:pt x="45" y="27"/>
                      <a:pt x="45" y="27"/>
                      <a:pt x="45" y="27"/>
                    </a:cubicBezTo>
                    <a:cubicBezTo>
                      <a:pt x="45" y="18"/>
                      <a:pt x="43" y="11"/>
                      <a:pt x="39" y="6"/>
                    </a:cubicBezTo>
                    <a:cubicBezTo>
                      <a:pt x="35" y="2"/>
                      <a:pt x="30" y="0"/>
                      <a:pt x="23" y="0"/>
                    </a:cubicBezTo>
                    <a:cubicBezTo>
                      <a:pt x="16" y="0"/>
                      <a:pt x="11" y="2"/>
                      <a:pt x="6" y="7"/>
                    </a:cubicBezTo>
                    <a:cubicBezTo>
                      <a:pt x="2" y="12"/>
                      <a:pt x="0" y="18"/>
                      <a:pt x="0" y="26"/>
                    </a:cubicBezTo>
                    <a:cubicBezTo>
                      <a:pt x="0" y="34"/>
                      <a:pt x="2" y="40"/>
                      <a:pt x="6" y="45"/>
                    </a:cubicBezTo>
                    <a:cubicBezTo>
                      <a:pt x="10" y="50"/>
                      <a:pt x="16" y="53"/>
                      <a:pt x="23" y="53"/>
                    </a:cubicBezTo>
                    <a:cubicBezTo>
                      <a:pt x="28" y="53"/>
                      <a:pt x="32" y="51"/>
                      <a:pt x="36" y="48"/>
                    </a:cubicBezTo>
                    <a:cubicBezTo>
                      <a:pt x="40" y="46"/>
                      <a:pt x="43" y="42"/>
                      <a:pt x="44" y="38"/>
                    </a:cubicBezTo>
                    <a:cubicBezTo>
                      <a:pt x="37" y="36"/>
                      <a:pt x="37" y="36"/>
                      <a:pt x="37" y="36"/>
                    </a:cubicBezTo>
                    <a:cubicBezTo>
                      <a:pt x="34" y="43"/>
                      <a:pt x="30" y="46"/>
                      <a:pt x="23" y="46"/>
                    </a:cubicBezTo>
                    <a:close/>
                    <a:moveTo>
                      <a:pt x="13" y="10"/>
                    </a:moveTo>
                    <a:cubicBezTo>
                      <a:pt x="16" y="7"/>
                      <a:pt x="19" y="6"/>
                      <a:pt x="23" y="6"/>
                    </a:cubicBezTo>
                    <a:cubicBezTo>
                      <a:pt x="26" y="6"/>
                      <a:pt x="29" y="6"/>
                      <a:pt x="31" y="8"/>
                    </a:cubicBezTo>
                    <a:cubicBezTo>
                      <a:pt x="33" y="9"/>
                      <a:pt x="34" y="11"/>
                      <a:pt x="35" y="14"/>
                    </a:cubicBezTo>
                    <a:cubicBezTo>
                      <a:pt x="36" y="16"/>
                      <a:pt x="36" y="18"/>
                      <a:pt x="36" y="21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9" y="16"/>
                      <a:pt x="11" y="13"/>
                      <a:pt x="1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83" name="Freeform 74"/>
              <p:cNvSpPr/>
              <p:nvPr/>
            </p:nvSpPr>
            <p:spPr bwMode="auto">
              <a:xfrm>
                <a:off x="2643188" y="3905251"/>
                <a:ext cx="125413" cy="209550"/>
              </a:xfrm>
              <a:custGeom>
                <a:avLst/>
                <a:gdLst>
                  <a:gd name="T0" fmla="*/ 34 w 79"/>
                  <a:gd name="T1" fmla="*/ 132 h 132"/>
                  <a:gd name="T2" fmla="*/ 48 w 79"/>
                  <a:gd name="T3" fmla="*/ 130 h 132"/>
                  <a:gd name="T4" fmla="*/ 34 w 79"/>
                  <a:gd name="T5" fmla="*/ 76 h 132"/>
                  <a:gd name="T6" fmla="*/ 79 w 79"/>
                  <a:gd name="T7" fmla="*/ 62 h 132"/>
                  <a:gd name="T8" fmla="*/ 74 w 79"/>
                  <a:gd name="T9" fmla="*/ 52 h 132"/>
                  <a:gd name="T10" fmla="*/ 29 w 79"/>
                  <a:gd name="T11" fmla="*/ 64 h 132"/>
                  <a:gd name="T12" fmla="*/ 19 w 79"/>
                  <a:gd name="T13" fmla="*/ 28 h 132"/>
                  <a:gd name="T14" fmla="*/ 74 w 79"/>
                  <a:gd name="T15" fmla="*/ 12 h 132"/>
                  <a:gd name="T16" fmla="*/ 71 w 79"/>
                  <a:gd name="T17" fmla="*/ 0 h 132"/>
                  <a:gd name="T18" fmla="*/ 0 w 79"/>
                  <a:gd name="T19" fmla="*/ 21 h 132"/>
                  <a:gd name="T20" fmla="*/ 34 w 79"/>
                  <a:gd name="T21" fmla="*/ 13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9" h="132">
                    <a:moveTo>
                      <a:pt x="34" y="132"/>
                    </a:moveTo>
                    <a:lnTo>
                      <a:pt x="48" y="130"/>
                    </a:lnTo>
                    <a:lnTo>
                      <a:pt x="34" y="76"/>
                    </a:lnTo>
                    <a:lnTo>
                      <a:pt x="79" y="62"/>
                    </a:lnTo>
                    <a:lnTo>
                      <a:pt x="74" y="52"/>
                    </a:lnTo>
                    <a:lnTo>
                      <a:pt x="29" y="64"/>
                    </a:lnTo>
                    <a:lnTo>
                      <a:pt x="19" y="28"/>
                    </a:lnTo>
                    <a:lnTo>
                      <a:pt x="74" y="12"/>
                    </a:lnTo>
                    <a:lnTo>
                      <a:pt x="71" y="0"/>
                    </a:lnTo>
                    <a:lnTo>
                      <a:pt x="0" y="21"/>
                    </a:lnTo>
                    <a:lnTo>
                      <a:pt x="34" y="1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84" name="Freeform 75"/>
              <p:cNvSpPr/>
              <p:nvPr/>
            </p:nvSpPr>
            <p:spPr bwMode="auto">
              <a:xfrm>
                <a:off x="2779713" y="3894138"/>
                <a:ext cx="30163" cy="25400"/>
              </a:xfrm>
              <a:custGeom>
                <a:avLst/>
                <a:gdLst>
                  <a:gd name="T0" fmla="*/ 4 w 19"/>
                  <a:gd name="T1" fmla="*/ 16 h 16"/>
                  <a:gd name="T2" fmla="*/ 19 w 19"/>
                  <a:gd name="T3" fmla="*/ 14 h 16"/>
                  <a:gd name="T4" fmla="*/ 14 w 19"/>
                  <a:gd name="T5" fmla="*/ 0 h 16"/>
                  <a:gd name="T6" fmla="*/ 0 w 19"/>
                  <a:gd name="T7" fmla="*/ 2 h 16"/>
                  <a:gd name="T8" fmla="*/ 4 w 19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6">
                    <a:moveTo>
                      <a:pt x="4" y="16"/>
                    </a:moveTo>
                    <a:lnTo>
                      <a:pt x="19" y="14"/>
                    </a:lnTo>
                    <a:lnTo>
                      <a:pt x="14" y="0"/>
                    </a:lnTo>
                    <a:lnTo>
                      <a:pt x="0" y="2"/>
                    </a:lnTo>
                    <a:lnTo>
                      <a:pt x="4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85" name="Freeform 76"/>
              <p:cNvSpPr/>
              <p:nvPr/>
            </p:nvSpPr>
            <p:spPr bwMode="auto">
              <a:xfrm>
                <a:off x="2794000" y="3938588"/>
                <a:ext cx="60325" cy="139700"/>
              </a:xfrm>
              <a:custGeom>
                <a:avLst/>
                <a:gdLst>
                  <a:gd name="T0" fmla="*/ 24 w 38"/>
                  <a:gd name="T1" fmla="*/ 88 h 88"/>
                  <a:gd name="T2" fmla="*/ 38 w 38"/>
                  <a:gd name="T3" fmla="*/ 83 h 88"/>
                  <a:gd name="T4" fmla="*/ 12 w 38"/>
                  <a:gd name="T5" fmla="*/ 0 h 88"/>
                  <a:gd name="T6" fmla="*/ 0 w 38"/>
                  <a:gd name="T7" fmla="*/ 5 h 88"/>
                  <a:gd name="T8" fmla="*/ 24 w 38"/>
                  <a:gd name="T9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88">
                    <a:moveTo>
                      <a:pt x="24" y="88"/>
                    </a:moveTo>
                    <a:lnTo>
                      <a:pt x="38" y="83"/>
                    </a:lnTo>
                    <a:lnTo>
                      <a:pt x="12" y="0"/>
                    </a:lnTo>
                    <a:lnTo>
                      <a:pt x="0" y="5"/>
                    </a:lnTo>
                    <a:lnTo>
                      <a:pt x="24" y="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86" name="Freeform 77"/>
              <p:cNvSpPr/>
              <p:nvPr/>
            </p:nvSpPr>
            <p:spPr bwMode="auto">
              <a:xfrm>
                <a:off x="2854325" y="3902076"/>
                <a:ext cx="142875" cy="157163"/>
              </a:xfrm>
              <a:custGeom>
                <a:avLst/>
                <a:gdLst>
                  <a:gd name="T0" fmla="*/ 24 w 38"/>
                  <a:gd name="T1" fmla="*/ 1 h 42"/>
                  <a:gd name="T2" fmla="*/ 16 w 38"/>
                  <a:gd name="T3" fmla="*/ 1 h 42"/>
                  <a:gd name="T4" fmla="*/ 7 w 38"/>
                  <a:gd name="T5" fmla="*/ 12 h 42"/>
                  <a:gd name="T6" fmla="*/ 5 w 38"/>
                  <a:gd name="T7" fmla="*/ 5 h 42"/>
                  <a:gd name="T8" fmla="*/ 0 w 38"/>
                  <a:gd name="T9" fmla="*/ 7 h 42"/>
                  <a:gd name="T10" fmla="*/ 11 w 38"/>
                  <a:gd name="T11" fmla="*/ 42 h 42"/>
                  <a:gd name="T12" fmla="*/ 16 w 38"/>
                  <a:gd name="T13" fmla="*/ 41 h 42"/>
                  <a:gd name="T14" fmla="*/ 10 w 38"/>
                  <a:gd name="T15" fmla="*/ 21 h 42"/>
                  <a:gd name="T16" fmla="*/ 11 w 38"/>
                  <a:gd name="T17" fmla="*/ 12 h 42"/>
                  <a:gd name="T18" fmla="*/ 17 w 38"/>
                  <a:gd name="T19" fmla="*/ 6 h 42"/>
                  <a:gd name="T20" fmla="*/ 23 w 38"/>
                  <a:gd name="T21" fmla="*/ 7 h 42"/>
                  <a:gd name="T22" fmla="*/ 27 w 38"/>
                  <a:gd name="T23" fmla="*/ 13 h 42"/>
                  <a:gd name="T24" fmla="*/ 33 w 38"/>
                  <a:gd name="T25" fmla="*/ 36 h 42"/>
                  <a:gd name="T26" fmla="*/ 38 w 38"/>
                  <a:gd name="T27" fmla="*/ 34 h 42"/>
                  <a:gd name="T28" fmla="*/ 33 w 38"/>
                  <a:gd name="T29" fmla="*/ 14 h 42"/>
                  <a:gd name="T30" fmla="*/ 29 w 38"/>
                  <a:gd name="T31" fmla="*/ 5 h 42"/>
                  <a:gd name="T32" fmla="*/ 24 w 38"/>
                  <a:gd name="T33" fmla="*/ 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8" h="42">
                    <a:moveTo>
                      <a:pt x="24" y="1"/>
                    </a:moveTo>
                    <a:cubicBezTo>
                      <a:pt x="21" y="0"/>
                      <a:pt x="19" y="0"/>
                      <a:pt x="16" y="1"/>
                    </a:cubicBezTo>
                    <a:cubicBezTo>
                      <a:pt x="12" y="2"/>
                      <a:pt x="9" y="6"/>
                      <a:pt x="7" y="12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1" y="42"/>
                      <a:pt x="11" y="42"/>
                      <a:pt x="11" y="42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9" y="18"/>
                      <a:pt x="9" y="14"/>
                      <a:pt x="11" y="12"/>
                    </a:cubicBezTo>
                    <a:cubicBezTo>
                      <a:pt x="12" y="9"/>
                      <a:pt x="14" y="7"/>
                      <a:pt x="17" y="6"/>
                    </a:cubicBezTo>
                    <a:cubicBezTo>
                      <a:pt x="19" y="6"/>
                      <a:pt x="21" y="6"/>
                      <a:pt x="23" y="7"/>
                    </a:cubicBezTo>
                    <a:cubicBezTo>
                      <a:pt x="24" y="8"/>
                      <a:pt x="26" y="10"/>
                      <a:pt x="27" y="13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3" y="14"/>
                      <a:pt x="33" y="14"/>
                      <a:pt x="33" y="14"/>
                    </a:cubicBezTo>
                    <a:cubicBezTo>
                      <a:pt x="31" y="9"/>
                      <a:pt x="30" y="6"/>
                      <a:pt x="29" y="5"/>
                    </a:cubicBezTo>
                    <a:cubicBezTo>
                      <a:pt x="28" y="3"/>
                      <a:pt x="26" y="2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87" name="Freeform 78"/>
              <p:cNvSpPr>
                <a:spLocks noEditPoints="1"/>
              </p:cNvSpPr>
              <p:nvPr/>
            </p:nvSpPr>
            <p:spPr bwMode="auto">
              <a:xfrm>
                <a:off x="3000375" y="3860801"/>
                <a:ext cx="142875" cy="153988"/>
              </a:xfrm>
              <a:custGeom>
                <a:avLst/>
                <a:gdLst>
                  <a:gd name="T0" fmla="*/ 31 w 38"/>
                  <a:gd name="T1" fmla="*/ 12 h 41"/>
                  <a:gd name="T2" fmla="*/ 25 w 38"/>
                  <a:gd name="T3" fmla="*/ 2 h 41"/>
                  <a:gd name="T4" fmla="*/ 13 w 38"/>
                  <a:gd name="T5" fmla="*/ 2 h 41"/>
                  <a:gd name="T6" fmla="*/ 1 w 38"/>
                  <a:gd name="T7" fmla="*/ 16 h 41"/>
                  <a:gd name="T8" fmla="*/ 6 w 38"/>
                  <a:gd name="T9" fmla="*/ 15 h 41"/>
                  <a:gd name="T10" fmla="*/ 14 w 38"/>
                  <a:gd name="T11" fmla="*/ 6 h 41"/>
                  <a:gd name="T12" fmla="*/ 20 w 38"/>
                  <a:gd name="T13" fmla="*/ 6 h 41"/>
                  <a:gd name="T14" fmla="*/ 23 w 38"/>
                  <a:gd name="T15" fmla="*/ 8 h 41"/>
                  <a:gd name="T16" fmla="*/ 26 w 38"/>
                  <a:gd name="T17" fmla="*/ 14 h 41"/>
                  <a:gd name="T18" fmla="*/ 21 w 38"/>
                  <a:gd name="T19" fmla="*/ 15 h 41"/>
                  <a:gd name="T20" fmla="*/ 7 w 38"/>
                  <a:gd name="T21" fmla="*/ 23 h 41"/>
                  <a:gd name="T22" fmla="*/ 5 w 38"/>
                  <a:gd name="T23" fmla="*/ 33 h 41"/>
                  <a:gd name="T24" fmla="*/ 10 w 38"/>
                  <a:gd name="T25" fmla="*/ 40 h 41"/>
                  <a:gd name="T26" fmla="*/ 20 w 38"/>
                  <a:gd name="T27" fmla="*/ 40 h 41"/>
                  <a:gd name="T28" fmla="*/ 30 w 38"/>
                  <a:gd name="T29" fmla="*/ 29 h 41"/>
                  <a:gd name="T30" fmla="*/ 33 w 38"/>
                  <a:gd name="T31" fmla="*/ 35 h 41"/>
                  <a:gd name="T32" fmla="*/ 38 w 38"/>
                  <a:gd name="T33" fmla="*/ 34 h 41"/>
                  <a:gd name="T34" fmla="*/ 35 w 38"/>
                  <a:gd name="T35" fmla="*/ 27 h 41"/>
                  <a:gd name="T36" fmla="*/ 31 w 38"/>
                  <a:gd name="T37" fmla="*/ 12 h 41"/>
                  <a:gd name="T38" fmla="*/ 27 w 38"/>
                  <a:gd name="T39" fmla="*/ 30 h 41"/>
                  <a:gd name="T40" fmla="*/ 20 w 38"/>
                  <a:gd name="T41" fmla="*/ 36 h 41"/>
                  <a:gd name="T42" fmla="*/ 14 w 38"/>
                  <a:gd name="T43" fmla="*/ 35 h 41"/>
                  <a:gd name="T44" fmla="*/ 10 w 38"/>
                  <a:gd name="T45" fmla="*/ 32 h 41"/>
                  <a:gd name="T46" fmla="*/ 12 w 38"/>
                  <a:gd name="T47" fmla="*/ 24 h 41"/>
                  <a:gd name="T48" fmla="*/ 22 w 38"/>
                  <a:gd name="T49" fmla="*/ 19 h 41"/>
                  <a:gd name="T50" fmla="*/ 27 w 38"/>
                  <a:gd name="T51" fmla="*/ 18 h 41"/>
                  <a:gd name="T52" fmla="*/ 28 w 38"/>
                  <a:gd name="T53" fmla="*/ 20 h 41"/>
                  <a:gd name="T54" fmla="*/ 27 w 38"/>
                  <a:gd name="T55" fmla="*/ 3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8" h="41">
                    <a:moveTo>
                      <a:pt x="31" y="12"/>
                    </a:moveTo>
                    <a:cubicBezTo>
                      <a:pt x="30" y="7"/>
                      <a:pt x="27" y="3"/>
                      <a:pt x="25" y="2"/>
                    </a:cubicBezTo>
                    <a:cubicBezTo>
                      <a:pt x="22" y="0"/>
                      <a:pt x="18" y="0"/>
                      <a:pt x="13" y="2"/>
                    </a:cubicBezTo>
                    <a:cubicBezTo>
                      <a:pt x="4" y="4"/>
                      <a:pt x="0" y="9"/>
                      <a:pt x="1" y="16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6" y="11"/>
                      <a:pt x="8" y="8"/>
                      <a:pt x="14" y="6"/>
                    </a:cubicBezTo>
                    <a:cubicBezTo>
                      <a:pt x="16" y="5"/>
                      <a:pt x="18" y="5"/>
                      <a:pt x="20" y="6"/>
                    </a:cubicBezTo>
                    <a:cubicBezTo>
                      <a:pt x="21" y="6"/>
                      <a:pt x="23" y="7"/>
                      <a:pt x="23" y="8"/>
                    </a:cubicBezTo>
                    <a:cubicBezTo>
                      <a:pt x="24" y="9"/>
                      <a:pt x="25" y="11"/>
                      <a:pt x="26" y="14"/>
                    </a:cubicBezTo>
                    <a:cubicBezTo>
                      <a:pt x="24" y="14"/>
                      <a:pt x="22" y="15"/>
                      <a:pt x="21" y="15"/>
                    </a:cubicBezTo>
                    <a:cubicBezTo>
                      <a:pt x="14" y="17"/>
                      <a:pt x="9" y="20"/>
                      <a:pt x="7" y="23"/>
                    </a:cubicBezTo>
                    <a:cubicBezTo>
                      <a:pt x="4" y="26"/>
                      <a:pt x="3" y="29"/>
                      <a:pt x="5" y="33"/>
                    </a:cubicBezTo>
                    <a:cubicBezTo>
                      <a:pt x="5" y="36"/>
                      <a:pt x="7" y="38"/>
                      <a:pt x="10" y="40"/>
                    </a:cubicBezTo>
                    <a:cubicBezTo>
                      <a:pt x="13" y="41"/>
                      <a:pt x="16" y="41"/>
                      <a:pt x="20" y="40"/>
                    </a:cubicBezTo>
                    <a:cubicBezTo>
                      <a:pt x="26" y="39"/>
                      <a:pt x="29" y="35"/>
                      <a:pt x="30" y="29"/>
                    </a:cubicBezTo>
                    <a:cubicBezTo>
                      <a:pt x="31" y="32"/>
                      <a:pt x="32" y="34"/>
                      <a:pt x="33" y="35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7" y="32"/>
                      <a:pt x="36" y="30"/>
                      <a:pt x="35" y="27"/>
                    </a:cubicBezTo>
                    <a:lnTo>
                      <a:pt x="31" y="12"/>
                    </a:lnTo>
                    <a:close/>
                    <a:moveTo>
                      <a:pt x="27" y="30"/>
                    </a:moveTo>
                    <a:cubicBezTo>
                      <a:pt x="26" y="33"/>
                      <a:pt x="23" y="35"/>
                      <a:pt x="20" y="36"/>
                    </a:cubicBezTo>
                    <a:cubicBezTo>
                      <a:pt x="17" y="36"/>
                      <a:pt x="15" y="36"/>
                      <a:pt x="14" y="35"/>
                    </a:cubicBezTo>
                    <a:cubicBezTo>
                      <a:pt x="12" y="35"/>
                      <a:pt x="11" y="33"/>
                      <a:pt x="10" y="32"/>
                    </a:cubicBezTo>
                    <a:cubicBezTo>
                      <a:pt x="10" y="29"/>
                      <a:pt x="10" y="26"/>
                      <a:pt x="12" y="24"/>
                    </a:cubicBezTo>
                    <a:cubicBezTo>
                      <a:pt x="14" y="22"/>
                      <a:pt x="17" y="20"/>
                      <a:pt x="22" y="19"/>
                    </a:cubicBezTo>
                    <a:cubicBezTo>
                      <a:pt x="23" y="19"/>
                      <a:pt x="25" y="18"/>
                      <a:pt x="27" y="18"/>
                    </a:cubicBezTo>
                    <a:cubicBezTo>
                      <a:pt x="27" y="19"/>
                      <a:pt x="28" y="20"/>
                      <a:pt x="28" y="20"/>
                    </a:cubicBezTo>
                    <a:cubicBezTo>
                      <a:pt x="29" y="23"/>
                      <a:pt x="28" y="27"/>
                      <a:pt x="27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88" name="Freeform 79"/>
              <p:cNvSpPr/>
              <p:nvPr/>
            </p:nvSpPr>
            <p:spPr bwMode="auto">
              <a:xfrm>
                <a:off x="3143250" y="3819526"/>
                <a:ext cx="142875" cy="157163"/>
              </a:xfrm>
              <a:custGeom>
                <a:avLst/>
                <a:gdLst>
                  <a:gd name="T0" fmla="*/ 24 w 38"/>
                  <a:gd name="T1" fmla="*/ 1 h 42"/>
                  <a:gd name="T2" fmla="*/ 16 w 38"/>
                  <a:gd name="T3" fmla="*/ 1 h 42"/>
                  <a:gd name="T4" fmla="*/ 7 w 38"/>
                  <a:gd name="T5" fmla="*/ 12 h 42"/>
                  <a:gd name="T6" fmla="*/ 5 w 38"/>
                  <a:gd name="T7" fmla="*/ 5 h 42"/>
                  <a:gd name="T8" fmla="*/ 0 w 38"/>
                  <a:gd name="T9" fmla="*/ 7 h 42"/>
                  <a:gd name="T10" fmla="*/ 10 w 38"/>
                  <a:gd name="T11" fmla="*/ 42 h 42"/>
                  <a:gd name="T12" fmla="*/ 16 w 38"/>
                  <a:gd name="T13" fmla="*/ 40 h 42"/>
                  <a:gd name="T14" fmla="*/ 10 w 38"/>
                  <a:gd name="T15" fmla="*/ 21 h 42"/>
                  <a:gd name="T16" fmla="*/ 11 w 38"/>
                  <a:gd name="T17" fmla="*/ 11 h 42"/>
                  <a:gd name="T18" fmla="*/ 17 w 38"/>
                  <a:gd name="T19" fmla="*/ 6 h 42"/>
                  <a:gd name="T20" fmla="*/ 22 w 38"/>
                  <a:gd name="T21" fmla="*/ 6 h 42"/>
                  <a:gd name="T22" fmla="*/ 27 w 38"/>
                  <a:gd name="T23" fmla="*/ 13 h 42"/>
                  <a:gd name="T24" fmla="*/ 33 w 38"/>
                  <a:gd name="T25" fmla="*/ 35 h 42"/>
                  <a:gd name="T26" fmla="*/ 38 w 38"/>
                  <a:gd name="T27" fmla="*/ 34 h 42"/>
                  <a:gd name="T28" fmla="*/ 32 w 38"/>
                  <a:gd name="T29" fmla="*/ 13 h 42"/>
                  <a:gd name="T30" fmla="*/ 29 w 38"/>
                  <a:gd name="T31" fmla="*/ 4 h 42"/>
                  <a:gd name="T32" fmla="*/ 24 w 38"/>
                  <a:gd name="T33" fmla="*/ 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8" h="42">
                    <a:moveTo>
                      <a:pt x="24" y="1"/>
                    </a:moveTo>
                    <a:cubicBezTo>
                      <a:pt x="21" y="0"/>
                      <a:pt x="19" y="0"/>
                      <a:pt x="16" y="1"/>
                    </a:cubicBezTo>
                    <a:cubicBezTo>
                      <a:pt x="12" y="2"/>
                      <a:pt x="9" y="6"/>
                      <a:pt x="7" y="12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0" y="42"/>
                      <a:pt x="10" y="42"/>
                      <a:pt x="10" y="42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9" y="17"/>
                      <a:pt x="9" y="14"/>
                      <a:pt x="11" y="11"/>
                    </a:cubicBezTo>
                    <a:cubicBezTo>
                      <a:pt x="12" y="8"/>
                      <a:pt x="14" y="7"/>
                      <a:pt x="17" y="6"/>
                    </a:cubicBezTo>
                    <a:cubicBezTo>
                      <a:pt x="19" y="5"/>
                      <a:pt x="21" y="5"/>
                      <a:pt x="22" y="6"/>
                    </a:cubicBezTo>
                    <a:cubicBezTo>
                      <a:pt x="24" y="7"/>
                      <a:pt x="26" y="9"/>
                      <a:pt x="27" y="13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1" y="9"/>
                      <a:pt x="30" y="6"/>
                      <a:pt x="29" y="4"/>
                    </a:cubicBezTo>
                    <a:cubicBezTo>
                      <a:pt x="27" y="3"/>
                      <a:pt x="26" y="2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89" name="Freeform 80"/>
              <p:cNvSpPr/>
              <p:nvPr/>
            </p:nvSpPr>
            <p:spPr bwMode="auto">
              <a:xfrm>
                <a:off x="3294063" y="3781426"/>
                <a:ext cx="120650" cy="146050"/>
              </a:xfrm>
              <a:custGeom>
                <a:avLst/>
                <a:gdLst>
                  <a:gd name="T0" fmla="*/ 13 w 32"/>
                  <a:gd name="T1" fmla="*/ 5 h 39"/>
                  <a:gd name="T2" fmla="*/ 24 w 32"/>
                  <a:gd name="T3" fmla="*/ 11 h 39"/>
                  <a:gd name="T4" fmla="*/ 28 w 32"/>
                  <a:gd name="T5" fmla="*/ 9 h 39"/>
                  <a:gd name="T6" fmla="*/ 21 w 32"/>
                  <a:gd name="T7" fmla="*/ 1 h 39"/>
                  <a:gd name="T8" fmla="*/ 11 w 32"/>
                  <a:gd name="T9" fmla="*/ 1 h 39"/>
                  <a:gd name="T10" fmla="*/ 2 w 32"/>
                  <a:gd name="T11" fmla="*/ 9 h 39"/>
                  <a:gd name="T12" fmla="*/ 1 w 32"/>
                  <a:gd name="T13" fmla="*/ 24 h 39"/>
                  <a:gd name="T14" fmla="*/ 9 w 32"/>
                  <a:gd name="T15" fmla="*/ 36 h 39"/>
                  <a:gd name="T16" fmla="*/ 22 w 32"/>
                  <a:gd name="T17" fmla="*/ 38 h 39"/>
                  <a:gd name="T18" fmla="*/ 30 w 32"/>
                  <a:gd name="T19" fmla="*/ 32 h 39"/>
                  <a:gd name="T20" fmla="*/ 32 w 32"/>
                  <a:gd name="T21" fmla="*/ 22 h 39"/>
                  <a:gd name="T22" fmla="*/ 27 w 32"/>
                  <a:gd name="T23" fmla="*/ 22 h 39"/>
                  <a:gd name="T24" fmla="*/ 21 w 32"/>
                  <a:gd name="T25" fmla="*/ 33 h 39"/>
                  <a:gd name="T26" fmla="*/ 13 w 32"/>
                  <a:gd name="T27" fmla="*/ 32 h 39"/>
                  <a:gd name="T28" fmla="*/ 7 w 32"/>
                  <a:gd name="T29" fmla="*/ 22 h 39"/>
                  <a:gd name="T30" fmla="*/ 7 w 32"/>
                  <a:gd name="T31" fmla="*/ 11 h 39"/>
                  <a:gd name="T32" fmla="*/ 13 w 32"/>
                  <a:gd name="T33" fmla="*/ 5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2" h="39">
                    <a:moveTo>
                      <a:pt x="13" y="5"/>
                    </a:moveTo>
                    <a:cubicBezTo>
                      <a:pt x="17" y="4"/>
                      <a:pt x="21" y="6"/>
                      <a:pt x="24" y="11"/>
                    </a:cubicBezTo>
                    <a:cubicBezTo>
                      <a:pt x="28" y="9"/>
                      <a:pt x="28" y="9"/>
                      <a:pt x="28" y="9"/>
                    </a:cubicBezTo>
                    <a:cubicBezTo>
                      <a:pt x="27" y="6"/>
                      <a:pt x="24" y="3"/>
                      <a:pt x="21" y="1"/>
                    </a:cubicBezTo>
                    <a:cubicBezTo>
                      <a:pt x="18" y="0"/>
                      <a:pt x="15" y="0"/>
                      <a:pt x="11" y="1"/>
                    </a:cubicBezTo>
                    <a:cubicBezTo>
                      <a:pt x="6" y="2"/>
                      <a:pt x="3" y="5"/>
                      <a:pt x="2" y="9"/>
                    </a:cubicBezTo>
                    <a:cubicBezTo>
                      <a:pt x="0" y="14"/>
                      <a:pt x="0" y="18"/>
                      <a:pt x="1" y="24"/>
                    </a:cubicBezTo>
                    <a:cubicBezTo>
                      <a:pt x="3" y="29"/>
                      <a:pt x="6" y="33"/>
                      <a:pt x="9" y="36"/>
                    </a:cubicBezTo>
                    <a:cubicBezTo>
                      <a:pt x="13" y="39"/>
                      <a:pt x="17" y="39"/>
                      <a:pt x="22" y="38"/>
                    </a:cubicBezTo>
                    <a:cubicBezTo>
                      <a:pt x="25" y="37"/>
                      <a:pt x="28" y="35"/>
                      <a:pt x="30" y="32"/>
                    </a:cubicBezTo>
                    <a:cubicBezTo>
                      <a:pt x="32" y="29"/>
                      <a:pt x="32" y="26"/>
                      <a:pt x="32" y="22"/>
                    </a:cubicBezTo>
                    <a:cubicBezTo>
                      <a:pt x="27" y="22"/>
                      <a:pt x="27" y="22"/>
                      <a:pt x="27" y="22"/>
                    </a:cubicBezTo>
                    <a:cubicBezTo>
                      <a:pt x="27" y="28"/>
                      <a:pt x="25" y="32"/>
                      <a:pt x="21" y="33"/>
                    </a:cubicBezTo>
                    <a:cubicBezTo>
                      <a:pt x="18" y="34"/>
                      <a:pt x="15" y="34"/>
                      <a:pt x="13" y="32"/>
                    </a:cubicBezTo>
                    <a:cubicBezTo>
                      <a:pt x="10" y="30"/>
                      <a:pt x="8" y="26"/>
                      <a:pt x="7" y="22"/>
                    </a:cubicBezTo>
                    <a:cubicBezTo>
                      <a:pt x="6" y="18"/>
                      <a:pt x="6" y="14"/>
                      <a:pt x="7" y="11"/>
                    </a:cubicBezTo>
                    <a:cubicBezTo>
                      <a:pt x="8" y="8"/>
                      <a:pt x="10" y="6"/>
                      <a:pt x="13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90" name="Freeform 81"/>
              <p:cNvSpPr>
                <a:spLocks noEditPoints="1"/>
              </p:cNvSpPr>
              <p:nvPr/>
            </p:nvSpPr>
            <p:spPr bwMode="auto">
              <a:xfrm>
                <a:off x="3417888" y="3740151"/>
                <a:ext cx="134938" cy="150813"/>
              </a:xfrm>
              <a:custGeom>
                <a:avLst/>
                <a:gdLst>
                  <a:gd name="T0" fmla="*/ 23 w 36"/>
                  <a:gd name="T1" fmla="*/ 34 h 40"/>
                  <a:gd name="T2" fmla="*/ 15 w 36"/>
                  <a:gd name="T3" fmla="*/ 34 h 40"/>
                  <a:gd name="T4" fmla="*/ 8 w 36"/>
                  <a:gd name="T5" fmla="*/ 24 h 40"/>
                  <a:gd name="T6" fmla="*/ 34 w 36"/>
                  <a:gd name="T7" fmla="*/ 16 h 40"/>
                  <a:gd name="T8" fmla="*/ 25 w 36"/>
                  <a:gd name="T9" fmla="*/ 3 h 40"/>
                  <a:gd name="T10" fmla="*/ 13 w 36"/>
                  <a:gd name="T11" fmla="*/ 2 h 40"/>
                  <a:gd name="T12" fmla="*/ 3 w 36"/>
                  <a:gd name="T13" fmla="*/ 10 h 40"/>
                  <a:gd name="T14" fmla="*/ 2 w 36"/>
                  <a:gd name="T15" fmla="*/ 25 h 40"/>
                  <a:gd name="T16" fmla="*/ 10 w 36"/>
                  <a:gd name="T17" fmla="*/ 37 h 40"/>
                  <a:gd name="T18" fmla="*/ 24 w 36"/>
                  <a:gd name="T19" fmla="*/ 39 h 40"/>
                  <a:gd name="T20" fmla="*/ 32 w 36"/>
                  <a:gd name="T21" fmla="*/ 33 h 40"/>
                  <a:gd name="T22" fmla="*/ 36 w 36"/>
                  <a:gd name="T23" fmla="*/ 24 h 40"/>
                  <a:gd name="T24" fmla="*/ 30 w 36"/>
                  <a:gd name="T25" fmla="*/ 25 h 40"/>
                  <a:gd name="T26" fmla="*/ 23 w 36"/>
                  <a:gd name="T27" fmla="*/ 34 h 40"/>
                  <a:gd name="T28" fmla="*/ 8 w 36"/>
                  <a:gd name="T29" fmla="*/ 11 h 40"/>
                  <a:gd name="T30" fmla="*/ 14 w 36"/>
                  <a:gd name="T31" fmla="*/ 6 h 40"/>
                  <a:gd name="T32" fmla="*/ 20 w 36"/>
                  <a:gd name="T33" fmla="*/ 6 h 40"/>
                  <a:gd name="T34" fmla="*/ 24 w 36"/>
                  <a:gd name="T35" fmla="*/ 9 h 40"/>
                  <a:gd name="T36" fmla="*/ 27 w 36"/>
                  <a:gd name="T37" fmla="*/ 14 h 40"/>
                  <a:gd name="T38" fmla="*/ 7 w 36"/>
                  <a:gd name="T39" fmla="*/ 20 h 40"/>
                  <a:gd name="T40" fmla="*/ 8 w 36"/>
                  <a:gd name="T41" fmla="*/ 11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6" h="40">
                    <a:moveTo>
                      <a:pt x="23" y="34"/>
                    </a:moveTo>
                    <a:cubicBezTo>
                      <a:pt x="20" y="35"/>
                      <a:pt x="17" y="35"/>
                      <a:pt x="15" y="34"/>
                    </a:cubicBezTo>
                    <a:cubicBezTo>
                      <a:pt x="12" y="32"/>
                      <a:pt x="10" y="29"/>
                      <a:pt x="8" y="24"/>
                    </a:cubicBezTo>
                    <a:cubicBezTo>
                      <a:pt x="34" y="16"/>
                      <a:pt x="34" y="16"/>
                      <a:pt x="34" y="16"/>
                    </a:cubicBezTo>
                    <a:cubicBezTo>
                      <a:pt x="32" y="10"/>
                      <a:pt x="29" y="6"/>
                      <a:pt x="25" y="3"/>
                    </a:cubicBezTo>
                    <a:cubicBezTo>
                      <a:pt x="22" y="1"/>
                      <a:pt x="17" y="0"/>
                      <a:pt x="13" y="2"/>
                    </a:cubicBezTo>
                    <a:cubicBezTo>
                      <a:pt x="8" y="3"/>
                      <a:pt x="5" y="6"/>
                      <a:pt x="3" y="10"/>
                    </a:cubicBezTo>
                    <a:cubicBezTo>
                      <a:pt x="1" y="15"/>
                      <a:pt x="0" y="20"/>
                      <a:pt x="2" y="25"/>
                    </a:cubicBezTo>
                    <a:cubicBezTo>
                      <a:pt x="4" y="31"/>
                      <a:pt x="6" y="35"/>
                      <a:pt x="10" y="37"/>
                    </a:cubicBezTo>
                    <a:cubicBezTo>
                      <a:pt x="14" y="40"/>
                      <a:pt x="19" y="40"/>
                      <a:pt x="24" y="39"/>
                    </a:cubicBezTo>
                    <a:cubicBezTo>
                      <a:pt x="27" y="38"/>
                      <a:pt x="30" y="36"/>
                      <a:pt x="32" y="33"/>
                    </a:cubicBezTo>
                    <a:cubicBezTo>
                      <a:pt x="34" y="30"/>
                      <a:pt x="35" y="27"/>
                      <a:pt x="36" y="24"/>
                    </a:cubicBezTo>
                    <a:cubicBezTo>
                      <a:pt x="30" y="25"/>
                      <a:pt x="30" y="25"/>
                      <a:pt x="30" y="25"/>
                    </a:cubicBezTo>
                    <a:cubicBezTo>
                      <a:pt x="30" y="30"/>
                      <a:pt x="27" y="33"/>
                      <a:pt x="23" y="34"/>
                    </a:cubicBezTo>
                    <a:close/>
                    <a:moveTo>
                      <a:pt x="8" y="11"/>
                    </a:moveTo>
                    <a:cubicBezTo>
                      <a:pt x="9" y="8"/>
                      <a:pt x="11" y="7"/>
                      <a:pt x="14" y="6"/>
                    </a:cubicBezTo>
                    <a:cubicBezTo>
                      <a:pt x="16" y="5"/>
                      <a:pt x="18" y="5"/>
                      <a:pt x="20" y="6"/>
                    </a:cubicBezTo>
                    <a:cubicBezTo>
                      <a:pt x="22" y="6"/>
                      <a:pt x="23" y="8"/>
                      <a:pt x="24" y="9"/>
                    </a:cubicBezTo>
                    <a:cubicBezTo>
                      <a:pt x="25" y="10"/>
                      <a:pt x="26" y="12"/>
                      <a:pt x="27" y="14"/>
                    </a:cubicBezTo>
                    <a:cubicBezTo>
                      <a:pt x="7" y="20"/>
                      <a:pt x="7" y="20"/>
                      <a:pt x="7" y="20"/>
                    </a:cubicBezTo>
                    <a:cubicBezTo>
                      <a:pt x="6" y="16"/>
                      <a:pt x="7" y="13"/>
                      <a:pt x="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91" name="Freeform 82"/>
              <p:cNvSpPr/>
              <p:nvPr/>
            </p:nvSpPr>
            <p:spPr bwMode="auto">
              <a:xfrm>
                <a:off x="3068638" y="2792413"/>
                <a:ext cx="60325" cy="65088"/>
              </a:xfrm>
              <a:custGeom>
                <a:avLst/>
                <a:gdLst>
                  <a:gd name="T0" fmla="*/ 2 w 38"/>
                  <a:gd name="T1" fmla="*/ 41 h 41"/>
                  <a:gd name="T2" fmla="*/ 38 w 38"/>
                  <a:gd name="T3" fmla="*/ 36 h 41"/>
                  <a:gd name="T4" fmla="*/ 35 w 38"/>
                  <a:gd name="T5" fmla="*/ 0 h 41"/>
                  <a:gd name="T6" fmla="*/ 0 w 38"/>
                  <a:gd name="T7" fmla="*/ 3 h 41"/>
                  <a:gd name="T8" fmla="*/ 2 w 38"/>
                  <a:gd name="T9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41">
                    <a:moveTo>
                      <a:pt x="2" y="41"/>
                    </a:moveTo>
                    <a:lnTo>
                      <a:pt x="38" y="36"/>
                    </a:lnTo>
                    <a:lnTo>
                      <a:pt x="35" y="0"/>
                    </a:lnTo>
                    <a:lnTo>
                      <a:pt x="0" y="3"/>
                    </a:lnTo>
                    <a:lnTo>
                      <a:pt x="2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92" name="Freeform 83"/>
              <p:cNvSpPr/>
              <p:nvPr/>
            </p:nvSpPr>
            <p:spPr bwMode="auto">
              <a:xfrm>
                <a:off x="3079750" y="2913063"/>
                <a:ext cx="82550" cy="342900"/>
              </a:xfrm>
              <a:custGeom>
                <a:avLst/>
                <a:gdLst>
                  <a:gd name="T0" fmla="*/ 19 w 52"/>
                  <a:gd name="T1" fmla="*/ 216 h 216"/>
                  <a:gd name="T2" fmla="*/ 52 w 52"/>
                  <a:gd name="T3" fmla="*/ 213 h 216"/>
                  <a:gd name="T4" fmla="*/ 33 w 52"/>
                  <a:gd name="T5" fmla="*/ 0 h 216"/>
                  <a:gd name="T6" fmla="*/ 0 w 52"/>
                  <a:gd name="T7" fmla="*/ 3 h 216"/>
                  <a:gd name="T8" fmla="*/ 19 w 52"/>
                  <a:gd name="T9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" h="216">
                    <a:moveTo>
                      <a:pt x="19" y="216"/>
                    </a:moveTo>
                    <a:lnTo>
                      <a:pt x="52" y="213"/>
                    </a:lnTo>
                    <a:lnTo>
                      <a:pt x="33" y="0"/>
                    </a:lnTo>
                    <a:lnTo>
                      <a:pt x="0" y="3"/>
                    </a:lnTo>
                    <a:lnTo>
                      <a:pt x="19" y="2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93" name="Freeform 84"/>
              <p:cNvSpPr>
                <a:spLocks noEditPoints="1"/>
              </p:cNvSpPr>
              <p:nvPr/>
            </p:nvSpPr>
            <p:spPr bwMode="auto">
              <a:xfrm>
                <a:off x="3222625" y="2759076"/>
                <a:ext cx="312738" cy="484188"/>
              </a:xfrm>
              <a:custGeom>
                <a:avLst/>
                <a:gdLst>
                  <a:gd name="T0" fmla="*/ 62 w 83"/>
                  <a:gd name="T1" fmla="*/ 45 h 129"/>
                  <a:gd name="T2" fmla="*/ 34 w 83"/>
                  <a:gd name="T3" fmla="*/ 33 h 129"/>
                  <a:gd name="T4" fmla="*/ 8 w 83"/>
                  <a:gd name="T5" fmla="*/ 49 h 129"/>
                  <a:gd name="T6" fmla="*/ 1 w 83"/>
                  <a:gd name="T7" fmla="*/ 85 h 129"/>
                  <a:gd name="T8" fmla="*/ 15 w 83"/>
                  <a:gd name="T9" fmla="*/ 117 h 129"/>
                  <a:gd name="T10" fmla="*/ 42 w 83"/>
                  <a:gd name="T11" fmla="*/ 128 h 129"/>
                  <a:gd name="T12" fmla="*/ 69 w 83"/>
                  <a:gd name="T13" fmla="*/ 108 h 129"/>
                  <a:gd name="T14" fmla="*/ 70 w 83"/>
                  <a:gd name="T15" fmla="*/ 123 h 129"/>
                  <a:gd name="T16" fmla="*/ 83 w 83"/>
                  <a:gd name="T17" fmla="*/ 122 h 129"/>
                  <a:gd name="T18" fmla="*/ 72 w 83"/>
                  <a:gd name="T19" fmla="*/ 0 h 129"/>
                  <a:gd name="T20" fmla="*/ 58 w 83"/>
                  <a:gd name="T21" fmla="*/ 1 h 129"/>
                  <a:gd name="T22" fmla="*/ 62 w 83"/>
                  <a:gd name="T23" fmla="*/ 45 h 129"/>
                  <a:gd name="T24" fmla="*/ 66 w 83"/>
                  <a:gd name="T25" fmla="*/ 87 h 129"/>
                  <a:gd name="T26" fmla="*/ 60 w 83"/>
                  <a:gd name="T27" fmla="*/ 107 h 129"/>
                  <a:gd name="T28" fmla="*/ 43 w 83"/>
                  <a:gd name="T29" fmla="*/ 117 h 129"/>
                  <a:gd name="T30" fmla="*/ 25 w 83"/>
                  <a:gd name="T31" fmla="*/ 109 h 129"/>
                  <a:gd name="T32" fmla="*/ 17 w 83"/>
                  <a:gd name="T33" fmla="*/ 82 h 129"/>
                  <a:gd name="T34" fmla="*/ 21 w 83"/>
                  <a:gd name="T35" fmla="*/ 55 h 129"/>
                  <a:gd name="T36" fmla="*/ 37 w 83"/>
                  <a:gd name="T37" fmla="*/ 44 h 129"/>
                  <a:gd name="T38" fmla="*/ 55 w 83"/>
                  <a:gd name="T39" fmla="*/ 50 h 129"/>
                  <a:gd name="T40" fmla="*/ 64 w 83"/>
                  <a:gd name="T41" fmla="*/ 68 h 129"/>
                  <a:gd name="T42" fmla="*/ 66 w 83"/>
                  <a:gd name="T43" fmla="*/ 87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3" h="129">
                    <a:moveTo>
                      <a:pt x="62" y="45"/>
                    </a:moveTo>
                    <a:cubicBezTo>
                      <a:pt x="54" y="36"/>
                      <a:pt x="45" y="32"/>
                      <a:pt x="34" y="33"/>
                    </a:cubicBezTo>
                    <a:cubicBezTo>
                      <a:pt x="23" y="34"/>
                      <a:pt x="14" y="39"/>
                      <a:pt x="8" y="49"/>
                    </a:cubicBezTo>
                    <a:cubicBezTo>
                      <a:pt x="2" y="59"/>
                      <a:pt x="0" y="71"/>
                      <a:pt x="1" y="85"/>
                    </a:cubicBezTo>
                    <a:cubicBezTo>
                      <a:pt x="3" y="98"/>
                      <a:pt x="7" y="109"/>
                      <a:pt x="15" y="117"/>
                    </a:cubicBezTo>
                    <a:cubicBezTo>
                      <a:pt x="22" y="126"/>
                      <a:pt x="31" y="129"/>
                      <a:pt x="42" y="128"/>
                    </a:cubicBezTo>
                    <a:cubicBezTo>
                      <a:pt x="55" y="127"/>
                      <a:pt x="64" y="121"/>
                      <a:pt x="69" y="108"/>
                    </a:cubicBezTo>
                    <a:cubicBezTo>
                      <a:pt x="70" y="123"/>
                      <a:pt x="70" y="123"/>
                      <a:pt x="70" y="123"/>
                    </a:cubicBezTo>
                    <a:cubicBezTo>
                      <a:pt x="83" y="122"/>
                      <a:pt x="83" y="122"/>
                      <a:pt x="83" y="122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58" y="1"/>
                      <a:pt x="58" y="1"/>
                      <a:pt x="58" y="1"/>
                    </a:cubicBezTo>
                    <a:lnTo>
                      <a:pt x="62" y="45"/>
                    </a:lnTo>
                    <a:close/>
                    <a:moveTo>
                      <a:pt x="66" y="87"/>
                    </a:moveTo>
                    <a:cubicBezTo>
                      <a:pt x="66" y="94"/>
                      <a:pt x="64" y="101"/>
                      <a:pt x="60" y="107"/>
                    </a:cubicBezTo>
                    <a:cubicBezTo>
                      <a:pt x="55" y="113"/>
                      <a:pt x="50" y="116"/>
                      <a:pt x="43" y="117"/>
                    </a:cubicBezTo>
                    <a:cubicBezTo>
                      <a:pt x="36" y="117"/>
                      <a:pt x="30" y="115"/>
                      <a:pt x="25" y="109"/>
                    </a:cubicBezTo>
                    <a:cubicBezTo>
                      <a:pt x="21" y="103"/>
                      <a:pt x="18" y="94"/>
                      <a:pt x="17" y="82"/>
                    </a:cubicBezTo>
                    <a:cubicBezTo>
                      <a:pt x="16" y="70"/>
                      <a:pt x="17" y="61"/>
                      <a:pt x="21" y="55"/>
                    </a:cubicBezTo>
                    <a:cubicBezTo>
                      <a:pt x="25" y="48"/>
                      <a:pt x="30" y="45"/>
                      <a:pt x="37" y="44"/>
                    </a:cubicBezTo>
                    <a:cubicBezTo>
                      <a:pt x="44" y="43"/>
                      <a:pt x="50" y="45"/>
                      <a:pt x="55" y="50"/>
                    </a:cubicBezTo>
                    <a:cubicBezTo>
                      <a:pt x="60" y="54"/>
                      <a:pt x="63" y="60"/>
                      <a:pt x="64" y="68"/>
                    </a:cubicBezTo>
                    <a:lnTo>
                      <a:pt x="66" y="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94" name="Freeform 85"/>
              <p:cNvSpPr>
                <a:spLocks noEditPoints="1"/>
              </p:cNvSpPr>
              <p:nvPr/>
            </p:nvSpPr>
            <p:spPr bwMode="auto">
              <a:xfrm>
                <a:off x="3594100" y="2846388"/>
                <a:ext cx="312738" cy="363538"/>
              </a:xfrm>
              <a:custGeom>
                <a:avLst/>
                <a:gdLst>
                  <a:gd name="T0" fmla="*/ 68 w 83"/>
                  <a:gd name="T1" fmla="*/ 10 h 97"/>
                  <a:gd name="T2" fmla="*/ 39 w 83"/>
                  <a:gd name="T3" fmla="*/ 1 h 97"/>
                  <a:gd name="T4" fmla="*/ 10 w 83"/>
                  <a:gd name="T5" fmla="*/ 17 h 97"/>
                  <a:gd name="T6" fmla="*/ 1 w 83"/>
                  <a:gd name="T7" fmla="*/ 53 h 97"/>
                  <a:gd name="T8" fmla="*/ 16 w 83"/>
                  <a:gd name="T9" fmla="*/ 86 h 97"/>
                  <a:gd name="T10" fmla="*/ 47 w 83"/>
                  <a:gd name="T11" fmla="*/ 96 h 97"/>
                  <a:gd name="T12" fmla="*/ 71 w 83"/>
                  <a:gd name="T13" fmla="*/ 87 h 97"/>
                  <a:gd name="T14" fmla="*/ 83 w 83"/>
                  <a:gd name="T15" fmla="*/ 66 h 97"/>
                  <a:gd name="T16" fmla="*/ 69 w 83"/>
                  <a:gd name="T17" fmla="*/ 65 h 97"/>
                  <a:gd name="T18" fmla="*/ 47 w 83"/>
                  <a:gd name="T19" fmla="*/ 85 h 97"/>
                  <a:gd name="T20" fmla="*/ 28 w 83"/>
                  <a:gd name="T21" fmla="*/ 79 h 97"/>
                  <a:gd name="T22" fmla="*/ 17 w 83"/>
                  <a:gd name="T23" fmla="*/ 52 h 97"/>
                  <a:gd name="T24" fmla="*/ 83 w 83"/>
                  <a:gd name="T25" fmla="*/ 46 h 97"/>
                  <a:gd name="T26" fmla="*/ 68 w 83"/>
                  <a:gd name="T27" fmla="*/ 10 h 97"/>
                  <a:gd name="T28" fmla="*/ 17 w 83"/>
                  <a:gd name="T29" fmla="*/ 42 h 97"/>
                  <a:gd name="T30" fmla="*/ 23 w 83"/>
                  <a:gd name="T31" fmla="*/ 21 h 97"/>
                  <a:gd name="T32" fmla="*/ 40 w 83"/>
                  <a:gd name="T33" fmla="*/ 11 h 97"/>
                  <a:gd name="T34" fmla="*/ 54 w 83"/>
                  <a:gd name="T35" fmla="*/ 14 h 97"/>
                  <a:gd name="T36" fmla="*/ 63 w 83"/>
                  <a:gd name="T37" fmla="*/ 24 h 97"/>
                  <a:gd name="T38" fmla="*/ 66 w 83"/>
                  <a:gd name="T39" fmla="*/ 37 h 97"/>
                  <a:gd name="T40" fmla="*/ 17 w 83"/>
                  <a:gd name="T41" fmla="*/ 42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3" h="97">
                    <a:moveTo>
                      <a:pt x="68" y="10"/>
                    </a:moveTo>
                    <a:cubicBezTo>
                      <a:pt x="60" y="3"/>
                      <a:pt x="50" y="0"/>
                      <a:pt x="39" y="1"/>
                    </a:cubicBezTo>
                    <a:cubicBezTo>
                      <a:pt x="27" y="2"/>
                      <a:pt x="17" y="7"/>
                      <a:pt x="10" y="17"/>
                    </a:cubicBezTo>
                    <a:cubicBezTo>
                      <a:pt x="3" y="26"/>
                      <a:pt x="0" y="38"/>
                      <a:pt x="1" y="53"/>
                    </a:cubicBezTo>
                    <a:cubicBezTo>
                      <a:pt x="2" y="67"/>
                      <a:pt x="7" y="78"/>
                      <a:pt x="16" y="86"/>
                    </a:cubicBezTo>
                    <a:cubicBezTo>
                      <a:pt x="24" y="94"/>
                      <a:pt x="34" y="97"/>
                      <a:pt x="47" y="96"/>
                    </a:cubicBezTo>
                    <a:cubicBezTo>
                      <a:pt x="56" y="95"/>
                      <a:pt x="64" y="92"/>
                      <a:pt x="71" y="87"/>
                    </a:cubicBezTo>
                    <a:cubicBezTo>
                      <a:pt x="77" y="81"/>
                      <a:pt x="81" y="74"/>
                      <a:pt x="83" y="66"/>
                    </a:cubicBezTo>
                    <a:cubicBezTo>
                      <a:pt x="69" y="65"/>
                      <a:pt x="69" y="65"/>
                      <a:pt x="69" y="65"/>
                    </a:cubicBezTo>
                    <a:cubicBezTo>
                      <a:pt x="66" y="77"/>
                      <a:pt x="58" y="84"/>
                      <a:pt x="47" y="85"/>
                    </a:cubicBezTo>
                    <a:cubicBezTo>
                      <a:pt x="40" y="85"/>
                      <a:pt x="34" y="83"/>
                      <a:pt x="28" y="79"/>
                    </a:cubicBezTo>
                    <a:cubicBezTo>
                      <a:pt x="22" y="75"/>
                      <a:pt x="18" y="66"/>
                      <a:pt x="17" y="52"/>
                    </a:cubicBezTo>
                    <a:cubicBezTo>
                      <a:pt x="83" y="46"/>
                      <a:pt x="83" y="46"/>
                      <a:pt x="83" y="46"/>
                    </a:cubicBezTo>
                    <a:cubicBezTo>
                      <a:pt x="81" y="30"/>
                      <a:pt x="76" y="18"/>
                      <a:pt x="68" y="10"/>
                    </a:cubicBezTo>
                    <a:close/>
                    <a:moveTo>
                      <a:pt x="17" y="42"/>
                    </a:moveTo>
                    <a:cubicBezTo>
                      <a:pt x="16" y="33"/>
                      <a:pt x="19" y="26"/>
                      <a:pt x="23" y="21"/>
                    </a:cubicBezTo>
                    <a:cubicBezTo>
                      <a:pt x="27" y="15"/>
                      <a:pt x="33" y="12"/>
                      <a:pt x="40" y="11"/>
                    </a:cubicBezTo>
                    <a:cubicBezTo>
                      <a:pt x="45" y="11"/>
                      <a:pt x="50" y="12"/>
                      <a:pt x="54" y="14"/>
                    </a:cubicBezTo>
                    <a:cubicBezTo>
                      <a:pt x="58" y="17"/>
                      <a:pt x="61" y="20"/>
                      <a:pt x="63" y="24"/>
                    </a:cubicBezTo>
                    <a:cubicBezTo>
                      <a:pt x="64" y="28"/>
                      <a:pt x="66" y="32"/>
                      <a:pt x="66" y="37"/>
                    </a:cubicBezTo>
                    <a:lnTo>
                      <a:pt x="17" y="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95" name="Freeform 86"/>
              <p:cNvSpPr>
                <a:spLocks noEditPoints="1"/>
              </p:cNvSpPr>
              <p:nvPr/>
            </p:nvSpPr>
            <p:spPr bwMode="auto">
              <a:xfrm>
                <a:off x="3956050" y="2811463"/>
                <a:ext cx="307975" cy="373063"/>
              </a:xfrm>
              <a:custGeom>
                <a:avLst/>
                <a:gdLst>
                  <a:gd name="T0" fmla="*/ 79 w 82"/>
                  <a:gd name="T1" fmla="*/ 74 h 99"/>
                  <a:gd name="T2" fmla="*/ 76 w 82"/>
                  <a:gd name="T3" fmla="*/ 35 h 99"/>
                  <a:gd name="T4" fmla="*/ 65 w 82"/>
                  <a:gd name="T5" fmla="*/ 7 h 99"/>
                  <a:gd name="T6" fmla="*/ 38 w 82"/>
                  <a:gd name="T7" fmla="*/ 1 h 99"/>
                  <a:gd name="T8" fmla="*/ 0 w 82"/>
                  <a:gd name="T9" fmla="*/ 30 h 99"/>
                  <a:gd name="T10" fmla="*/ 13 w 82"/>
                  <a:gd name="T11" fmla="*/ 31 h 99"/>
                  <a:gd name="T12" fmla="*/ 37 w 82"/>
                  <a:gd name="T13" fmla="*/ 12 h 99"/>
                  <a:gd name="T14" fmla="*/ 51 w 82"/>
                  <a:gd name="T15" fmla="*/ 14 h 99"/>
                  <a:gd name="T16" fmla="*/ 59 w 82"/>
                  <a:gd name="T17" fmla="*/ 21 h 99"/>
                  <a:gd name="T18" fmla="*/ 62 w 82"/>
                  <a:gd name="T19" fmla="*/ 36 h 99"/>
                  <a:gd name="T20" fmla="*/ 50 w 82"/>
                  <a:gd name="T21" fmla="*/ 37 h 99"/>
                  <a:gd name="T22" fmla="*/ 11 w 82"/>
                  <a:gd name="T23" fmla="*/ 50 h 99"/>
                  <a:gd name="T24" fmla="*/ 1 w 82"/>
                  <a:gd name="T25" fmla="*/ 73 h 99"/>
                  <a:gd name="T26" fmla="*/ 11 w 82"/>
                  <a:gd name="T27" fmla="*/ 92 h 99"/>
                  <a:gd name="T28" fmla="*/ 35 w 82"/>
                  <a:gd name="T29" fmla="*/ 98 h 99"/>
                  <a:gd name="T30" fmla="*/ 65 w 82"/>
                  <a:gd name="T31" fmla="*/ 76 h 99"/>
                  <a:gd name="T32" fmla="*/ 69 w 82"/>
                  <a:gd name="T33" fmla="*/ 92 h 99"/>
                  <a:gd name="T34" fmla="*/ 82 w 82"/>
                  <a:gd name="T35" fmla="*/ 91 h 99"/>
                  <a:gd name="T36" fmla="*/ 79 w 82"/>
                  <a:gd name="T37" fmla="*/ 74 h 99"/>
                  <a:gd name="T38" fmla="*/ 57 w 82"/>
                  <a:gd name="T39" fmla="*/ 76 h 99"/>
                  <a:gd name="T40" fmla="*/ 37 w 82"/>
                  <a:gd name="T41" fmla="*/ 87 h 99"/>
                  <a:gd name="T42" fmla="*/ 23 w 82"/>
                  <a:gd name="T43" fmla="*/ 83 h 99"/>
                  <a:gd name="T44" fmla="*/ 17 w 82"/>
                  <a:gd name="T45" fmla="*/ 72 h 99"/>
                  <a:gd name="T46" fmla="*/ 24 w 82"/>
                  <a:gd name="T47" fmla="*/ 56 h 99"/>
                  <a:gd name="T48" fmla="*/ 50 w 82"/>
                  <a:gd name="T49" fmla="*/ 48 h 99"/>
                  <a:gd name="T50" fmla="*/ 63 w 82"/>
                  <a:gd name="T51" fmla="*/ 47 h 99"/>
                  <a:gd name="T52" fmla="*/ 64 w 82"/>
                  <a:gd name="T53" fmla="*/ 53 h 99"/>
                  <a:gd name="T54" fmla="*/ 57 w 82"/>
                  <a:gd name="T55" fmla="*/ 76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2" h="99">
                    <a:moveTo>
                      <a:pt x="79" y="74"/>
                    </a:moveTo>
                    <a:cubicBezTo>
                      <a:pt x="76" y="35"/>
                      <a:pt x="76" y="35"/>
                      <a:pt x="76" y="35"/>
                    </a:cubicBezTo>
                    <a:cubicBezTo>
                      <a:pt x="74" y="22"/>
                      <a:pt x="71" y="12"/>
                      <a:pt x="65" y="7"/>
                    </a:cubicBezTo>
                    <a:cubicBezTo>
                      <a:pt x="59" y="2"/>
                      <a:pt x="50" y="0"/>
                      <a:pt x="38" y="1"/>
                    </a:cubicBezTo>
                    <a:cubicBezTo>
                      <a:pt x="14" y="3"/>
                      <a:pt x="2" y="13"/>
                      <a:pt x="0" y="30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5" y="20"/>
                      <a:pt x="23" y="14"/>
                      <a:pt x="37" y="12"/>
                    </a:cubicBezTo>
                    <a:cubicBezTo>
                      <a:pt x="43" y="12"/>
                      <a:pt x="47" y="12"/>
                      <a:pt x="51" y="14"/>
                    </a:cubicBezTo>
                    <a:cubicBezTo>
                      <a:pt x="55" y="16"/>
                      <a:pt x="58" y="18"/>
                      <a:pt x="59" y="21"/>
                    </a:cubicBezTo>
                    <a:cubicBezTo>
                      <a:pt x="60" y="24"/>
                      <a:pt x="61" y="29"/>
                      <a:pt x="62" y="36"/>
                    </a:cubicBezTo>
                    <a:cubicBezTo>
                      <a:pt x="56" y="37"/>
                      <a:pt x="52" y="37"/>
                      <a:pt x="50" y="37"/>
                    </a:cubicBezTo>
                    <a:cubicBezTo>
                      <a:pt x="31" y="39"/>
                      <a:pt x="18" y="43"/>
                      <a:pt x="11" y="50"/>
                    </a:cubicBezTo>
                    <a:cubicBezTo>
                      <a:pt x="4" y="56"/>
                      <a:pt x="1" y="64"/>
                      <a:pt x="1" y="73"/>
                    </a:cubicBezTo>
                    <a:cubicBezTo>
                      <a:pt x="2" y="81"/>
                      <a:pt x="5" y="87"/>
                      <a:pt x="11" y="92"/>
                    </a:cubicBezTo>
                    <a:cubicBezTo>
                      <a:pt x="17" y="97"/>
                      <a:pt x="25" y="99"/>
                      <a:pt x="35" y="98"/>
                    </a:cubicBezTo>
                    <a:cubicBezTo>
                      <a:pt x="50" y="96"/>
                      <a:pt x="60" y="89"/>
                      <a:pt x="65" y="76"/>
                    </a:cubicBezTo>
                    <a:cubicBezTo>
                      <a:pt x="67" y="84"/>
                      <a:pt x="68" y="90"/>
                      <a:pt x="69" y="92"/>
                    </a:cubicBezTo>
                    <a:cubicBezTo>
                      <a:pt x="82" y="91"/>
                      <a:pt x="82" y="91"/>
                      <a:pt x="82" y="91"/>
                    </a:cubicBezTo>
                    <a:cubicBezTo>
                      <a:pt x="81" y="86"/>
                      <a:pt x="80" y="80"/>
                      <a:pt x="79" y="74"/>
                    </a:cubicBezTo>
                    <a:close/>
                    <a:moveTo>
                      <a:pt x="57" y="76"/>
                    </a:moveTo>
                    <a:cubicBezTo>
                      <a:pt x="52" y="82"/>
                      <a:pt x="46" y="86"/>
                      <a:pt x="37" y="87"/>
                    </a:cubicBezTo>
                    <a:cubicBezTo>
                      <a:pt x="31" y="87"/>
                      <a:pt x="26" y="86"/>
                      <a:pt x="23" y="83"/>
                    </a:cubicBezTo>
                    <a:cubicBezTo>
                      <a:pt x="19" y="80"/>
                      <a:pt x="17" y="77"/>
                      <a:pt x="17" y="72"/>
                    </a:cubicBezTo>
                    <a:cubicBezTo>
                      <a:pt x="16" y="65"/>
                      <a:pt x="19" y="60"/>
                      <a:pt x="24" y="56"/>
                    </a:cubicBezTo>
                    <a:cubicBezTo>
                      <a:pt x="30" y="51"/>
                      <a:pt x="39" y="49"/>
                      <a:pt x="50" y="48"/>
                    </a:cubicBezTo>
                    <a:cubicBezTo>
                      <a:pt x="53" y="48"/>
                      <a:pt x="57" y="47"/>
                      <a:pt x="63" y="47"/>
                    </a:cubicBezTo>
                    <a:cubicBezTo>
                      <a:pt x="63" y="49"/>
                      <a:pt x="64" y="51"/>
                      <a:pt x="64" y="53"/>
                    </a:cubicBezTo>
                    <a:cubicBezTo>
                      <a:pt x="64" y="61"/>
                      <a:pt x="62" y="69"/>
                      <a:pt x="57" y="7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96" name="Freeform 87"/>
              <p:cNvSpPr>
                <a:spLocks noEditPoints="1"/>
              </p:cNvSpPr>
              <p:nvPr/>
            </p:nvSpPr>
            <p:spPr bwMode="auto">
              <a:xfrm>
                <a:off x="2197100" y="3492501"/>
                <a:ext cx="138113" cy="165100"/>
              </a:xfrm>
              <a:custGeom>
                <a:avLst/>
                <a:gdLst>
                  <a:gd name="T0" fmla="*/ 36 w 37"/>
                  <a:gd name="T1" fmla="*/ 20 h 44"/>
                  <a:gd name="T2" fmla="*/ 35 w 37"/>
                  <a:gd name="T3" fmla="*/ 7 h 44"/>
                  <a:gd name="T4" fmla="*/ 24 w 37"/>
                  <a:gd name="T5" fmla="*/ 1 h 44"/>
                  <a:gd name="T6" fmla="*/ 5 w 37"/>
                  <a:gd name="T7" fmla="*/ 9 h 44"/>
                  <a:gd name="T8" fmla="*/ 10 w 37"/>
                  <a:gd name="T9" fmla="*/ 11 h 44"/>
                  <a:gd name="T10" fmla="*/ 22 w 37"/>
                  <a:gd name="T11" fmla="*/ 6 h 44"/>
                  <a:gd name="T12" fmla="*/ 28 w 37"/>
                  <a:gd name="T13" fmla="*/ 8 h 44"/>
                  <a:gd name="T14" fmla="*/ 30 w 37"/>
                  <a:gd name="T15" fmla="*/ 12 h 44"/>
                  <a:gd name="T16" fmla="*/ 30 w 37"/>
                  <a:gd name="T17" fmla="*/ 19 h 44"/>
                  <a:gd name="T18" fmla="*/ 25 w 37"/>
                  <a:gd name="T19" fmla="*/ 18 h 44"/>
                  <a:gd name="T20" fmla="*/ 7 w 37"/>
                  <a:gd name="T21" fmla="*/ 19 h 44"/>
                  <a:gd name="T22" fmla="*/ 1 w 37"/>
                  <a:gd name="T23" fmla="*/ 28 h 44"/>
                  <a:gd name="T24" fmla="*/ 3 w 37"/>
                  <a:gd name="T25" fmla="*/ 37 h 44"/>
                  <a:gd name="T26" fmla="*/ 12 w 37"/>
                  <a:gd name="T27" fmla="*/ 42 h 44"/>
                  <a:gd name="T28" fmla="*/ 27 w 37"/>
                  <a:gd name="T29" fmla="*/ 36 h 44"/>
                  <a:gd name="T30" fmla="*/ 27 w 37"/>
                  <a:gd name="T31" fmla="*/ 43 h 44"/>
                  <a:gd name="T32" fmla="*/ 33 w 37"/>
                  <a:gd name="T33" fmla="*/ 44 h 44"/>
                  <a:gd name="T34" fmla="*/ 33 w 37"/>
                  <a:gd name="T35" fmla="*/ 36 h 44"/>
                  <a:gd name="T36" fmla="*/ 36 w 37"/>
                  <a:gd name="T37" fmla="*/ 20 h 44"/>
                  <a:gd name="T38" fmla="*/ 24 w 37"/>
                  <a:gd name="T39" fmla="*/ 35 h 44"/>
                  <a:gd name="T40" fmla="*/ 14 w 37"/>
                  <a:gd name="T41" fmla="*/ 37 h 44"/>
                  <a:gd name="T42" fmla="*/ 8 w 37"/>
                  <a:gd name="T43" fmla="*/ 34 h 44"/>
                  <a:gd name="T44" fmla="*/ 7 w 37"/>
                  <a:gd name="T45" fmla="*/ 29 h 44"/>
                  <a:gd name="T46" fmla="*/ 12 w 37"/>
                  <a:gd name="T47" fmla="*/ 23 h 44"/>
                  <a:gd name="T48" fmla="*/ 24 w 37"/>
                  <a:gd name="T49" fmla="*/ 22 h 44"/>
                  <a:gd name="T50" fmla="*/ 29 w 37"/>
                  <a:gd name="T51" fmla="*/ 23 h 44"/>
                  <a:gd name="T52" fmla="*/ 29 w 37"/>
                  <a:gd name="T53" fmla="*/ 26 h 44"/>
                  <a:gd name="T54" fmla="*/ 24 w 37"/>
                  <a:gd name="T55" fmla="*/ 35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7" h="44">
                    <a:moveTo>
                      <a:pt x="36" y="20"/>
                    </a:moveTo>
                    <a:cubicBezTo>
                      <a:pt x="37" y="14"/>
                      <a:pt x="36" y="10"/>
                      <a:pt x="35" y="7"/>
                    </a:cubicBezTo>
                    <a:cubicBezTo>
                      <a:pt x="33" y="4"/>
                      <a:pt x="29" y="2"/>
                      <a:pt x="24" y="1"/>
                    </a:cubicBezTo>
                    <a:cubicBezTo>
                      <a:pt x="14" y="0"/>
                      <a:pt x="7" y="2"/>
                      <a:pt x="5" y="9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12" y="7"/>
                      <a:pt x="16" y="5"/>
                      <a:pt x="22" y="6"/>
                    </a:cubicBezTo>
                    <a:cubicBezTo>
                      <a:pt x="25" y="6"/>
                      <a:pt x="27" y="7"/>
                      <a:pt x="28" y="8"/>
                    </a:cubicBezTo>
                    <a:cubicBezTo>
                      <a:pt x="29" y="9"/>
                      <a:pt x="30" y="11"/>
                      <a:pt x="30" y="12"/>
                    </a:cubicBezTo>
                    <a:cubicBezTo>
                      <a:pt x="31" y="13"/>
                      <a:pt x="31" y="16"/>
                      <a:pt x="30" y="19"/>
                    </a:cubicBezTo>
                    <a:cubicBezTo>
                      <a:pt x="28" y="18"/>
                      <a:pt x="26" y="18"/>
                      <a:pt x="25" y="18"/>
                    </a:cubicBezTo>
                    <a:cubicBezTo>
                      <a:pt x="17" y="16"/>
                      <a:pt x="11" y="17"/>
                      <a:pt x="7" y="19"/>
                    </a:cubicBezTo>
                    <a:cubicBezTo>
                      <a:pt x="3" y="21"/>
                      <a:pt x="1" y="24"/>
                      <a:pt x="1" y="28"/>
                    </a:cubicBezTo>
                    <a:cubicBezTo>
                      <a:pt x="0" y="31"/>
                      <a:pt x="1" y="34"/>
                      <a:pt x="3" y="37"/>
                    </a:cubicBezTo>
                    <a:cubicBezTo>
                      <a:pt x="5" y="39"/>
                      <a:pt x="8" y="41"/>
                      <a:pt x="12" y="42"/>
                    </a:cubicBezTo>
                    <a:cubicBezTo>
                      <a:pt x="19" y="43"/>
                      <a:pt x="24" y="41"/>
                      <a:pt x="27" y="36"/>
                    </a:cubicBezTo>
                    <a:cubicBezTo>
                      <a:pt x="27" y="39"/>
                      <a:pt x="27" y="42"/>
                      <a:pt x="27" y="43"/>
                    </a:cubicBezTo>
                    <a:cubicBezTo>
                      <a:pt x="33" y="44"/>
                      <a:pt x="33" y="44"/>
                      <a:pt x="33" y="44"/>
                    </a:cubicBezTo>
                    <a:cubicBezTo>
                      <a:pt x="33" y="42"/>
                      <a:pt x="33" y="39"/>
                      <a:pt x="33" y="36"/>
                    </a:cubicBezTo>
                    <a:lnTo>
                      <a:pt x="36" y="20"/>
                    </a:lnTo>
                    <a:close/>
                    <a:moveTo>
                      <a:pt x="24" y="35"/>
                    </a:moveTo>
                    <a:cubicBezTo>
                      <a:pt x="21" y="37"/>
                      <a:pt x="18" y="38"/>
                      <a:pt x="14" y="37"/>
                    </a:cubicBezTo>
                    <a:cubicBezTo>
                      <a:pt x="12" y="37"/>
                      <a:pt x="10" y="36"/>
                      <a:pt x="8" y="34"/>
                    </a:cubicBezTo>
                    <a:cubicBezTo>
                      <a:pt x="7" y="33"/>
                      <a:pt x="7" y="31"/>
                      <a:pt x="7" y="29"/>
                    </a:cubicBezTo>
                    <a:cubicBezTo>
                      <a:pt x="8" y="26"/>
                      <a:pt x="9" y="24"/>
                      <a:pt x="12" y="23"/>
                    </a:cubicBezTo>
                    <a:cubicBezTo>
                      <a:pt x="15" y="22"/>
                      <a:pt x="19" y="21"/>
                      <a:pt x="24" y="22"/>
                    </a:cubicBezTo>
                    <a:cubicBezTo>
                      <a:pt x="25" y="22"/>
                      <a:pt x="27" y="23"/>
                      <a:pt x="29" y="23"/>
                    </a:cubicBezTo>
                    <a:cubicBezTo>
                      <a:pt x="29" y="24"/>
                      <a:pt x="29" y="25"/>
                      <a:pt x="29" y="26"/>
                    </a:cubicBezTo>
                    <a:cubicBezTo>
                      <a:pt x="28" y="30"/>
                      <a:pt x="27" y="32"/>
                      <a:pt x="24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97" name="Freeform 88"/>
              <p:cNvSpPr/>
              <p:nvPr/>
            </p:nvSpPr>
            <p:spPr bwMode="auto">
              <a:xfrm>
                <a:off x="2362200" y="3517901"/>
                <a:ext cx="131763" cy="165100"/>
              </a:xfrm>
              <a:custGeom>
                <a:avLst/>
                <a:gdLst>
                  <a:gd name="T0" fmla="*/ 31 w 35"/>
                  <a:gd name="T1" fmla="*/ 5 h 44"/>
                  <a:gd name="T2" fmla="*/ 24 w 35"/>
                  <a:gd name="T3" fmla="*/ 2 h 44"/>
                  <a:gd name="T4" fmla="*/ 11 w 35"/>
                  <a:gd name="T5" fmla="*/ 8 h 44"/>
                  <a:gd name="T6" fmla="*/ 12 w 35"/>
                  <a:gd name="T7" fmla="*/ 1 h 44"/>
                  <a:gd name="T8" fmla="*/ 6 w 35"/>
                  <a:gd name="T9" fmla="*/ 0 h 44"/>
                  <a:gd name="T10" fmla="*/ 0 w 35"/>
                  <a:gd name="T11" fmla="*/ 39 h 44"/>
                  <a:gd name="T12" fmla="*/ 6 w 35"/>
                  <a:gd name="T13" fmla="*/ 40 h 44"/>
                  <a:gd name="T14" fmla="*/ 10 w 35"/>
                  <a:gd name="T15" fmla="*/ 18 h 44"/>
                  <a:gd name="T16" fmla="*/ 14 w 35"/>
                  <a:gd name="T17" fmla="*/ 9 h 44"/>
                  <a:gd name="T18" fmla="*/ 23 w 35"/>
                  <a:gd name="T19" fmla="*/ 7 h 44"/>
                  <a:gd name="T20" fmla="*/ 28 w 35"/>
                  <a:gd name="T21" fmla="*/ 10 h 44"/>
                  <a:gd name="T22" fmla="*/ 29 w 35"/>
                  <a:gd name="T23" fmla="*/ 18 h 44"/>
                  <a:gd name="T24" fmla="*/ 25 w 35"/>
                  <a:gd name="T25" fmla="*/ 43 h 44"/>
                  <a:gd name="T26" fmla="*/ 31 w 35"/>
                  <a:gd name="T27" fmla="*/ 44 h 44"/>
                  <a:gd name="T28" fmla="*/ 34 w 35"/>
                  <a:gd name="T29" fmla="*/ 21 h 44"/>
                  <a:gd name="T30" fmla="*/ 35 w 35"/>
                  <a:gd name="T31" fmla="*/ 11 h 44"/>
                  <a:gd name="T32" fmla="*/ 31 w 35"/>
                  <a:gd name="T33" fmla="*/ 5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5" h="44">
                    <a:moveTo>
                      <a:pt x="31" y="5"/>
                    </a:moveTo>
                    <a:cubicBezTo>
                      <a:pt x="30" y="3"/>
                      <a:pt x="27" y="2"/>
                      <a:pt x="24" y="2"/>
                    </a:cubicBezTo>
                    <a:cubicBezTo>
                      <a:pt x="19" y="1"/>
                      <a:pt x="15" y="3"/>
                      <a:pt x="11" y="8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6" y="40"/>
                      <a:pt x="6" y="40"/>
                      <a:pt x="6" y="40"/>
                    </a:cubicBezTo>
                    <a:cubicBezTo>
                      <a:pt x="10" y="18"/>
                      <a:pt x="10" y="18"/>
                      <a:pt x="10" y="18"/>
                    </a:cubicBezTo>
                    <a:cubicBezTo>
                      <a:pt x="10" y="14"/>
                      <a:pt x="12" y="11"/>
                      <a:pt x="14" y="9"/>
                    </a:cubicBezTo>
                    <a:cubicBezTo>
                      <a:pt x="17" y="7"/>
                      <a:pt x="20" y="6"/>
                      <a:pt x="23" y="7"/>
                    </a:cubicBezTo>
                    <a:cubicBezTo>
                      <a:pt x="25" y="7"/>
                      <a:pt x="27" y="8"/>
                      <a:pt x="28" y="10"/>
                    </a:cubicBezTo>
                    <a:cubicBezTo>
                      <a:pt x="29" y="12"/>
                      <a:pt x="30" y="14"/>
                      <a:pt x="29" y="18"/>
                    </a:cubicBezTo>
                    <a:cubicBezTo>
                      <a:pt x="25" y="43"/>
                      <a:pt x="25" y="43"/>
                      <a:pt x="25" y="43"/>
                    </a:cubicBezTo>
                    <a:cubicBezTo>
                      <a:pt x="31" y="44"/>
                      <a:pt x="31" y="44"/>
                      <a:pt x="31" y="44"/>
                    </a:cubicBezTo>
                    <a:cubicBezTo>
                      <a:pt x="34" y="21"/>
                      <a:pt x="34" y="21"/>
                      <a:pt x="34" y="21"/>
                    </a:cubicBezTo>
                    <a:cubicBezTo>
                      <a:pt x="35" y="16"/>
                      <a:pt x="35" y="13"/>
                      <a:pt x="35" y="11"/>
                    </a:cubicBezTo>
                    <a:cubicBezTo>
                      <a:pt x="34" y="9"/>
                      <a:pt x="33" y="7"/>
                      <a:pt x="3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98" name="Freeform 89"/>
              <p:cNvSpPr>
                <a:spLocks noEditPoints="1"/>
              </p:cNvSpPr>
              <p:nvPr/>
            </p:nvSpPr>
            <p:spPr bwMode="auto">
              <a:xfrm>
                <a:off x="2516188" y="3544888"/>
                <a:ext cx="134938" cy="165100"/>
              </a:xfrm>
              <a:custGeom>
                <a:avLst/>
                <a:gdLst>
                  <a:gd name="T0" fmla="*/ 35 w 36"/>
                  <a:gd name="T1" fmla="*/ 20 h 44"/>
                  <a:gd name="T2" fmla="*/ 34 w 36"/>
                  <a:gd name="T3" fmla="*/ 7 h 44"/>
                  <a:gd name="T4" fmla="*/ 23 w 36"/>
                  <a:gd name="T5" fmla="*/ 1 h 44"/>
                  <a:gd name="T6" fmla="*/ 4 w 36"/>
                  <a:gd name="T7" fmla="*/ 9 h 44"/>
                  <a:gd name="T8" fmla="*/ 10 w 36"/>
                  <a:gd name="T9" fmla="*/ 11 h 44"/>
                  <a:gd name="T10" fmla="*/ 21 w 36"/>
                  <a:gd name="T11" fmla="*/ 6 h 44"/>
                  <a:gd name="T12" fmla="*/ 27 w 36"/>
                  <a:gd name="T13" fmla="*/ 8 h 44"/>
                  <a:gd name="T14" fmla="*/ 30 w 36"/>
                  <a:gd name="T15" fmla="*/ 12 h 44"/>
                  <a:gd name="T16" fmla="*/ 29 w 36"/>
                  <a:gd name="T17" fmla="*/ 19 h 44"/>
                  <a:gd name="T18" fmla="*/ 24 w 36"/>
                  <a:gd name="T19" fmla="*/ 18 h 44"/>
                  <a:gd name="T20" fmla="*/ 7 w 36"/>
                  <a:gd name="T21" fmla="*/ 19 h 44"/>
                  <a:gd name="T22" fmla="*/ 0 w 36"/>
                  <a:gd name="T23" fmla="*/ 28 h 44"/>
                  <a:gd name="T24" fmla="*/ 2 w 36"/>
                  <a:gd name="T25" fmla="*/ 36 h 44"/>
                  <a:gd name="T26" fmla="*/ 12 w 36"/>
                  <a:gd name="T27" fmla="*/ 42 h 44"/>
                  <a:gd name="T28" fmla="*/ 27 w 36"/>
                  <a:gd name="T29" fmla="*/ 36 h 44"/>
                  <a:gd name="T30" fmla="*/ 26 w 36"/>
                  <a:gd name="T31" fmla="*/ 43 h 44"/>
                  <a:gd name="T32" fmla="*/ 32 w 36"/>
                  <a:gd name="T33" fmla="*/ 44 h 44"/>
                  <a:gd name="T34" fmla="*/ 33 w 36"/>
                  <a:gd name="T35" fmla="*/ 36 h 44"/>
                  <a:gd name="T36" fmla="*/ 35 w 36"/>
                  <a:gd name="T37" fmla="*/ 20 h 44"/>
                  <a:gd name="T38" fmla="*/ 23 w 36"/>
                  <a:gd name="T39" fmla="*/ 35 h 44"/>
                  <a:gd name="T40" fmla="*/ 14 w 36"/>
                  <a:gd name="T41" fmla="*/ 37 h 44"/>
                  <a:gd name="T42" fmla="*/ 8 w 36"/>
                  <a:gd name="T43" fmla="*/ 34 h 44"/>
                  <a:gd name="T44" fmla="*/ 6 w 36"/>
                  <a:gd name="T45" fmla="*/ 29 h 44"/>
                  <a:gd name="T46" fmla="*/ 12 w 36"/>
                  <a:gd name="T47" fmla="*/ 23 h 44"/>
                  <a:gd name="T48" fmla="*/ 23 w 36"/>
                  <a:gd name="T49" fmla="*/ 22 h 44"/>
                  <a:gd name="T50" fmla="*/ 29 w 36"/>
                  <a:gd name="T51" fmla="*/ 23 h 44"/>
                  <a:gd name="T52" fmla="*/ 28 w 36"/>
                  <a:gd name="T53" fmla="*/ 26 h 44"/>
                  <a:gd name="T54" fmla="*/ 23 w 36"/>
                  <a:gd name="T55" fmla="*/ 35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6" h="44">
                    <a:moveTo>
                      <a:pt x="35" y="20"/>
                    </a:moveTo>
                    <a:cubicBezTo>
                      <a:pt x="36" y="14"/>
                      <a:pt x="36" y="10"/>
                      <a:pt x="34" y="7"/>
                    </a:cubicBezTo>
                    <a:cubicBezTo>
                      <a:pt x="32" y="4"/>
                      <a:pt x="28" y="2"/>
                      <a:pt x="23" y="1"/>
                    </a:cubicBezTo>
                    <a:cubicBezTo>
                      <a:pt x="13" y="0"/>
                      <a:pt x="7" y="2"/>
                      <a:pt x="4" y="9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11" y="7"/>
                      <a:pt x="15" y="5"/>
                      <a:pt x="21" y="6"/>
                    </a:cubicBezTo>
                    <a:cubicBezTo>
                      <a:pt x="24" y="6"/>
                      <a:pt x="26" y="7"/>
                      <a:pt x="27" y="8"/>
                    </a:cubicBezTo>
                    <a:cubicBezTo>
                      <a:pt x="29" y="9"/>
                      <a:pt x="30" y="10"/>
                      <a:pt x="30" y="12"/>
                    </a:cubicBezTo>
                    <a:cubicBezTo>
                      <a:pt x="30" y="13"/>
                      <a:pt x="30" y="16"/>
                      <a:pt x="29" y="19"/>
                    </a:cubicBezTo>
                    <a:cubicBezTo>
                      <a:pt x="27" y="18"/>
                      <a:pt x="25" y="18"/>
                      <a:pt x="24" y="18"/>
                    </a:cubicBezTo>
                    <a:cubicBezTo>
                      <a:pt x="16" y="16"/>
                      <a:pt x="10" y="17"/>
                      <a:pt x="7" y="19"/>
                    </a:cubicBezTo>
                    <a:cubicBezTo>
                      <a:pt x="3" y="21"/>
                      <a:pt x="1" y="24"/>
                      <a:pt x="0" y="28"/>
                    </a:cubicBezTo>
                    <a:cubicBezTo>
                      <a:pt x="0" y="31"/>
                      <a:pt x="0" y="34"/>
                      <a:pt x="2" y="36"/>
                    </a:cubicBezTo>
                    <a:cubicBezTo>
                      <a:pt x="4" y="39"/>
                      <a:pt x="7" y="41"/>
                      <a:pt x="12" y="42"/>
                    </a:cubicBezTo>
                    <a:cubicBezTo>
                      <a:pt x="18" y="43"/>
                      <a:pt x="23" y="41"/>
                      <a:pt x="27" y="36"/>
                    </a:cubicBezTo>
                    <a:cubicBezTo>
                      <a:pt x="26" y="39"/>
                      <a:pt x="26" y="42"/>
                      <a:pt x="26" y="43"/>
                    </a:cubicBezTo>
                    <a:cubicBezTo>
                      <a:pt x="32" y="44"/>
                      <a:pt x="32" y="44"/>
                      <a:pt x="32" y="44"/>
                    </a:cubicBezTo>
                    <a:cubicBezTo>
                      <a:pt x="32" y="42"/>
                      <a:pt x="32" y="39"/>
                      <a:pt x="33" y="36"/>
                    </a:cubicBezTo>
                    <a:lnTo>
                      <a:pt x="35" y="20"/>
                    </a:lnTo>
                    <a:close/>
                    <a:moveTo>
                      <a:pt x="23" y="35"/>
                    </a:moveTo>
                    <a:cubicBezTo>
                      <a:pt x="21" y="37"/>
                      <a:pt x="17" y="38"/>
                      <a:pt x="14" y="37"/>
                    </a:cubicBezTo>
                    <a:cubicBezTo>
                      <a:pt x="11" y="37"/>
                      <a:pt x="9" y="36"/>
                      <a:pt x="8" y="34"/>
                    </a:cubicBezTo>
                    <a:cubicBezTo>
                      <a:pt x="7" y="33"/>
                      <a:pt x="6" y="31"/>
                      <a:pt x="6" y="29"/>
                    </a:cubicBezTo>
                    <a:cubicBezTo>
                      <a:pt x="7" y="26"/>
                      <a:pt x="9" y="24"/>
                      <a:pt x="12" y="23"/>
                    </a:cubicBezTo>
                    <a:cubicBezTo>
                      <a:pt x="14" y="22"/>
                      <a:pt x="18" y="21"/>
                      <a:pt x="23" y="22"/>
                    </a:cubicBezTo>
                    <a:cubicBezTo>
                      <a:pt x="24" y="22"/>
                      <a:pt x="26" y="23"/>
                      <a:pt x="29" y="23"/>
                    </a:cubicBezTo>
                    <a:cubicBezTo>
                      <a:pt x="29" y="24"/>
                      <a:pt x="28" y="25"/>
                      <a:pt x="28" y="26"/>
                    </a:cubicBezTo>
                    <a:cubicBezTo>
                      <a:pt x="28" y="29"/>
                      <a:pt x="26" y="32"/>
                      <a:pt x="23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99" name="Freeform 90"/>
              <p:cNvSpPr/>
              <p:nvPr/>
            </p:nvSpPr>
            <p:spPr bwMode="auto">
              <a:xfrm>
                <a:off x="2678113" y="3517901"/>
                <a:ext cx="55563" cy="203200"/>
              </a:xfrm>
              <a:custGeom>
                <a:avLst/>
                <a:gdLst>
                  <a:gd name="T0" fmla="*/ 0 w 35"/>
                  <a:gd name="T1" fmla="*/ 126 h 128"/>
                  <a:gd name="T2" fmla="*/ 14 w 35"/>
                  <a:gd name="T3" fmla="*/ 128 h 128"/>
                  <a:gd name="T4" fmla="*/ 35 w 35"/>
                  <a:gd name="T5" fmla="*/ 3 h 128"/>
                  <a:gd name="T6" fmla="*/ 21 w 35"/>
                  <a:gd name="T7" fmla="*/ 0 h 128"/>
                  <a:gd name="T8" fmla="*/ 0 w 35"/>
                  <a:gd name="T9" fmla="*/ 126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28">
                    <a:moveTo>
                      <a:pt x="0" y="126"/>
                    </a:moveTo>
                    <a:lnTo>
                      <a:pt x="14" y="128"/>
                    </a:lnTo>
                    <a:lnTo>
                      <a:pt x="35" y="3"/>
                    </a:lnTo>
                    <a:lnTo>
                      <a:pt x="21" y="0"/>
                    </a:lnTo>
                    <a:lnTo>
                      <a:pt x="0" y="1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00" name="Freeform 91"/>
              <p:cNvSpPr/>
              <p:nvPr/>
            </p:nvSpPr>
            <p:spPr bwMode="auto">
              <a:xfrm>
                <a:off x="2719388" y="3578226"/>
                <a:ext cx="153988" cy="206375"/>
              </a:xfrm>
              <a:custGeom>
                <a:avLst/>
                <a:gdLst>
                  <a:gd name="T0" fmla="*/ 20 w 41"/>
                  <a:gd name="T1" fmla="*/ 32 h 55"/>
                  <a:gd name="T2" fmla="*/ 14 w 41"/>
                  <a:gd name="T3" fmla="*/ 1 h 55"/>
                  <a:gd name="T4" fmla="*/ 8 w 41"/>
                  <a:gd name="T5" fmla="*/ 0 h 55"/>
                  <a:gd name="T6" fmla="*/ 15 w 41"/>
                  <a:gd name="T7" fmla="*/ 40 h 55"/>
                  <a:gd name="T8" fmla="*/ 10 w 41"/>
                  <a:gd name="T9" fmla="*/ 48 h 55"/>
                  <a:gd name="T10" fmla="*/ 5 w 41"/>
                  <a:gd name="T11" fmla="*/ 49 h 55"/>
                  <a:gd name="T12" fmla="*/ 1 w 41"/>
                  <a:gd name="T13" fmla="*/ 47 h 55"/>
                  <a:gd name="T14" fmla="*/ 0 w 41"/>
                  <a:gd name="T15" fmla="*/ 52 h 55"/>
                  <a:gd name="T16" fmla="*/ 6 w 41"/>
                  <a:gd name="T17" fmla="*/ 54 h 55"/>
                  <a:gd name="T18" fmla="*/ 18 w 41"/>
                  <a:gd name="T19" fmla="*/ 46 h 55"/>
                  <a:gd name="T20" fmla="*/ 41 w 41"/>
                  <a:gd name="T21" fmla="*/ 5 h 55"/>
                  <a:gd name="T22" fmla="*/ 36 w 41"/>
                  <a:gd name="T23" fmla="*/ 4 h 55"/>
                  <a:gd name="T24" fmla="*/ 20 w 41"/>
                  <a:gd name="T25" fmla="*/ 3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" h="55">
                    <a:moveTo>
                      <a:pt x="20" y="32"/>
                    </a:moveTo>
                    <a:cubicBezTo>
                      <a:pt x="14" y="1"/>
                      <a:pt x="14" y="1"/>
                      <a:pt x="14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15" y="40"/>
                      <a:pt x="15" y="40"/>
                      <a:pt x="15" y="40"/>
                    </a:cubicBezTo>
                    <a:cubicBezTo>
                      <a:pt x="13" y="44"/>
                      <a:pt x="12" y="47"/>
                      <a:pt x="10" y="48"/>
                    </a:cubicBezTo>
                    <a:cubicBezTo>
                      <a:pt x="9" y="49"/>
                      <a:pt x="7" y="49"/>
                      <a:pt x="5" y="49"/>
                    </a:cubicBezTo>
                    <a:cubicBezTo>
                      <a:pt x="4" y="48"/>
                      <a:pt x="3" y="48"/>
                      <a:pt x="1" y="47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2" y="53"/>
                      <a:pt x="4" y="53"/>
                      <a:pt x="6" y="54"/>
                    </a:cubicBezTo>
                    <a:cubicBezTo>
                      <a:pt x="10" y="55"/>
                      <a:pt x="15" y="52"/>
                      <a:pt x="18" y="46"/>
                    </a:cubicBezTo>
                    <a:cubicBezTo>
                      <a:pt x="41" y="5"/>
                      <a:pt x="41" y="5"/>
                      <a:pt x="41" y="5"/>
                    </a:cubicBezTo>
                    <a:cubicBezTo>
                      <a:pt x="36" y="4"/>
                      <a:pt x="36" y="4"/>
                      <a:pt x="36" y="4"/>
                    </a:cubicBezTo>
                    <a:lnTo>
                      <a:pt x="20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01" name="Freeform 92"/>
              <p:cNvSpPr/>
              <p:nvPr/>
            </p:nvSpPr>
            <p:spPr bwMode="auto">
              <a:xfrm>
                <a:off x="2857500" y="3600451"/>
                <a:ext cx="131763" cy="161925"/>
              </a:xfrm>
              <a:custGeom>
                <a:avLst/>
                <a:gdLst>
                  <a:gd name="T0" fmla="*/ 23 w 35"/>
                  <a:gd name="T1" fmla="*/ 19 h 43"/>
                  <a:gd name="T2" fmla="*/ 16 w 35"/>
                  <a:gd name="T3" fmla="*/ 17 h 43"/>
                  <a:gd name="T4" fmla="*/ 11 w 35"/>
                  <a:gd name="T5" fmla="*/ 10 h 43"/>
                  <a:gd name="T6" fmla="*/ 14 w 35"/>
                  <a:gd name="T7" fmla="*/ 6 h 43"/>
                  <a:gd name="T8" fmla="*/ 20 w 35"/>
                  <a:gd name="T9" fmla="*/ 6 h 43"/>
                  <a:gd name="T10" fmla="*/ 29 w 35"/>
                  <a:gd name="T11" fmla="*/ 14 h 43"/>
                  <a:gd name="T12" fmla="*/ 35 w 35"/>
                  <a:gd name="T13" fmla="*/ 13 h 43"/>
                  <a:gd name="T14" fmla="*/ 21 w 35"/>
                  <a:gd name="T15" fmla="*/ 1 h 43"/>
                  <a:gd name="T16" fmla="*/ 10 w 35"/>
                  <a:gd name="T17" fmla="*/ 2 h 43"/>
                  <a:gd name="T18" fmla="*/ 4 w 35"/>
                  <a:gd name="T19" fmla="*/ 10 h 43"/>
                  <a:gd name="T20" fmla="*/ 6 w 35"/>
                  <a:gd name="T21" fmla="*/ 18 h 43"/>
                  <a:gd name="T22" fmla="*/ 13 w 35"/>
                  <a:gd name="T23" fmla="*/ 22 h 43"/>
                  <a:gd name="T24" fmla="*/ 21 w 35"/>
                  <a:gd name="T25" fmla="*/ 25 h 43"/>
                  <a:gd name="T26" fmla="*/ 27 w 35"/>
                  <a:gd name="T27" fmla="*/ 32 h 43"/>
                  <a:gd name="T28" fmla="*/ 23 w 35"/>
                  <a:gd name="T29" fmla="*/ 37 h 43"/>
                  <a:gd name="T30" fmla="*/ 17 w 35"/>
                  <a:gd name="T31" fmla="*/ 37 h 43"/>
                  <a:gd name="T32" fmla="*/ 6 w 35"/>
                  <a:gd name="T33" fmla="*/ 28 h 43"/>
                  <a:gd name="T34" fmla="*/ 0 w 35"/>
                  <a:gd name="T35" fmla="*/ 28 h 43"/>
                  <a:gd name="T36" fmla="*/ 15 w 35"/>
                  <a:gd name="T37" fmla="*/ 42 h 43"/>
                  <a:gd name="T38" fmla="*/ 27 w 35"/>
                  <a:gd name="T39" fmla="*/ 41 h 43"/>
                  <a:gd name="T40" fmla="*/ 33 w 35"/>
                  <a:gd name="T41" fmla="*/ 33 h 43"/>
                  <a:gd name="T42" fmla="*/ 23 w 35"/>
                  <a:gd name="T43" fmla="*/ 1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43">
                    <a:moveTo>
                      <a:pt x="23" y="19"/>
                    </a:moveTo>
                    <a:cubicBezTo>
                      <a:pt x="16" y="17"/>
                      <a:pt x="16" y="17"/>
                      <a:pt x="16" y="17"/>
                    </a:cubicBezTo>
                    <a:cubicBezTo>
                      <a:pt x="12" y="15"/>
                      <a:pt x="10" y="13"/>
                      <a:pt x="11" y="10"/>
                    </a:cubicBezTo>
                    <a:cubicBezTo>
                      <a:pt x="11" y="9"/>
                      <a:pt x="12" y="7"/>
                      <a:pt x="14" y="6"/>
                    </a:cubicBezTo>
                    <a:cubicBezTo>
                      <a:pt x="15" y="6"/>
                      <a:pt x="18" y="6"/>
                      <a:pt x="20" y="6"/>
                    </a:cubicBezTo>
                    <a:cubicBezTo>
                      <a:pt x="25" y="7"/>
                      <a:pt x="28" y="9"/>
                      <a:pt x="29" y="14"/>
                    </a:cubicBezTo>
                    <a:cubicBezTo>
                      <a:pt x="35" y="13"/>
                      <a:pt x="35" y="13"/>
                      <a:pt x="35" y="13"/>
                    </a:cubicBezTo>
                    <a:cubicBezTo>
                      <a:pt x="34" y="6"/>
                      <a:pt x="29" y="2"/>
                      <a:pt x="21" y="1"/>
                    </a:cubicBezTo>
                    <a:cubicBezTo>
                      <a:pt x="16" y="0"/>
                      <a:pt x="12" y="1"/>
                      <a:pt x="10" y="2"/>
                    </a:cubicBezTo>
                    <a:cubicBezTo>
                      <a:pt x="7" y="4"/>
                      <a:pt x="5" y="7"/>
                      <a:pt x="4" y="10"/>
                    </a:cubicBezTo>
                    <a:cubicBezTo>
                      <a:pt x="4" y="13"/>
                      <a:pt x="4" y="16"/>
                      <a:pt x="6" y="18"/>
                    </a:cubicBezTo>
                    <a:cubicBezTo>
                      <a:pt x="8" y="20"/>
                      <a:pt x="10" y="21"/>
                      <a:pt x="13" y="22"/>
                    </a:cubicBezTo>
                    <a:cubicBezTo>
                      <a:pt x="21" y="25"/>
                      <a:pt x="21" y="25"/>
                      <a:pt x="21" y="25"/>
                    </a:cubicBezTo>
                    <a:cubicBezTo>
                      <a:pt x="25" y="27"/>
                      <a:pt x="27" y="29"/>
                      <a:pt x="27" y="32"/>
                    </a:cubicBezTo>
                    <a:cubicBezTo>
                      <a:pt x="26" y="34"/>
                      <a:pt x="25" y="36"/>
                      <a:pt x="23" y="37"/>
                    </a:cubicBezTo>
                    <a:cubicBezTo>
                      <a:pt x="21" y="37"/>
                      <a:pt x="19" y="38"/>
                      <a:pt x="17" y="37"/>
                    </a:cubicBezTo>
                    <a:cubicBezTo>
                      <a:pt x="10" y="36"/>
                      <a:pt x="6" y="33"/>
                      <a:pt x="6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1" y="36"/>
                      <a:pt x="6" y="41"/>
                      <a:pt x="15" y="42"/>
                    </a:cubicBezTo>
                    <a:cubicBezTo>
                      <a:pt x="20" y="43"/>
                      <a:pt x="24" y="43"/>
                      <a:pt x="27" y="41"/>
                    </a:cubicBezTo>
                    <a:cubicBezTo>
                      <a:pt x="31" y="39"/>
                      <a:pt x="33" y="36"/>
                      <a:pt x="33" y="33"/>
                    </a:cubicBezTo>
                    <a:cubicBezTo>
                      <a:pt x="34" y="27"/>
                      <a:pt x="31" y="22"/>
                      <a:pt x="23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02" name="Freeform 93"/>
              <p:cNvSpPr/>
              <p:nvPr/>
            </p:nvSpPr>
            <p:spPr bwMode="auto">
              <a:xfrm>
                <a:off x="3035300" y="3575051"/>
                <a:ext cx="30163" cy="25400"/>
              </a:xfrm>
              <a:custGeom>
                <a:avLst/>
                <a:gdLst>
                  <a:gd name="T0" fmla="*/ 0 w 19"/>
                  <a:gd name="T1" fmla="*/ 14 h 16"/>
                  <a:gd name="T2" fmla="*/ 16 w 19"/>
                  <a:gd name="T3" fmla="*/ 16 h 16"/>
                  <a:gd name="T4" fmla="*/ 19 w 19"/>
                  <a:gd name="T5" fmla="*/ 2 h 16"/>
                  <a:gd name="T6" fmla="*/ 2 w 19"/>
                  <a:gd name="T7" fmla="*/ 0 h 16"/>
                  <a:gd name="T8" fmla="*/ 0 w 19"/>
                  <a:gd name="T9" fmla="*/ 1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6">
                    <a:moveTo>
                      <a:pt x="0" y="14"/>
                    </a:moveTo>
                    <a:lnTo>
                      <a:pt x="16" y="16"/>
                    </a:lnTo>
                    <a:lnTo>
                      <a:pt x="19" y="2"/>
                    </a:lnTo>
                    <a:lnTo>
                      <a:pt x="2" y="0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03" name="Freeform 94"/>
              <p:cNvSpPr/>
              <p:nvPr/>
            </p:nvSpPr>
            <p:spPr bwMode="auto">
              <a:xfrm>
                <a:off x="3008313" y="3622676"/>
                <a:ext cx="44450" cy="150813"/>
              </a:xfrm>
              <a:custGeom>
                <a:avLst/>
                <a:gdLst>
                  <a:gd name="T0" fmla="*/ 0 w 28"/>
                  <a:gd name="T1" fmla="*/ 93 h 95"/>
                  <a:gd name="T2" fmla="*/ 14 w 28"/>
                  <a:gd name="T3" fmla="*/ 95 h 95"/>
                  <a:gd name="T4" fmla="*/ 28 w 28"/>
                  <a:gd name="T5" fmla="*/ 3 h 95"/>
                  <a:gd name="T6" fmla="*/ 14 w 28"/>
                  <a:gd name="T7" fmla="*/ 0 h 95"/>
                  <a:gd name="T8" fmla="*/ 0 w 28"/>
                  <a:gd name="T9" fmla="*/ 93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95">
                    <a:moveTo>
                      <a:pt x="0" y="93"/>
                    </a:moveTo>
                    <a:lnTo>
                      <a:pt x="14" y="95"/>
                    </a:lnTo>
                    <a:lnTo>
                      <a:pt x="28" y="3"/>
                    </a:lnTo>
                    <a:lnTo>
                      <a:pt x="14" y="0"/>
                    </a:lnTo>
                    <a:lnTo>
                      <a:pt x="0" y="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04" name="Freeform 95"/>
              <p:cNvSpPr/>
              <p:nvPr/>
            </p:nvSpPr>
            <p:spPr bwMode="auto">
              <a:xfrm>
                <a:off x="3060700" y="3635376"/>
                <a:ext cx="131763" cy="160338"/>
              </a:xfrm>
              <a:custGeom>
                <a:avLst/>
                <a:gdLst>
                  <a:gd name="T0" fmla="*/ 24 w 35"/>
                  <a:gd name="T1" fmla="*/ 19 h 43"/>
                  <a:gd name="T2" fmla="*/ 16 w 35"/>
                  <a:gd name="T3" fmla="*/ 17 h 43"/>
                  <a:gd name="T4" fmla="*/ 11 w 35"/>
                  <a:gd name="T5" fmla="*/ 10 h 43"/>
                  <a:gd name="T6" fmla="*/ 14 w 35"/>
                  <a:gd name="T7" fmla="*/ 6 h 43"/>
                  <a:gd name="T8" fmla="*/ 21 w 35"/>
                  <a:gd name="T9" fmla="*/ 6 h 43"/>
                  <a:gd name="T10" fmla="*/ 29 w 35"/>
                  <a:gd name="T11" fmla="*/ 14 h 43"/>
                  <a:gd name="T12" fmla="*/ 35 w 35"/>
                  <a:gd name="T13" fmla="*/ 13 h 43"/>
                  <a:gd name="T14" fmla="*/ 21 w 35"/>
                  <a:gd name="T15" fmla="*/ 1 h 43"/>
                  <a:gd name="T16" fmla="*/ 10 w 35"/>
                  <a:gd name="T17" fmla="*/ 2 h 43"/>
                  <a:gd name="T18" fmla="*/ 5 w 35"/>
                  <a:gd name="T19" fmla="*/ 10 h 43"/>
                  <a:gd name="T20" fmla="*/ 7 w 35"/>
                  <a:gd name="T21" fmla="*/ 18 h 43"/>
                  <a:gd name="T22" fmla="*/ 14 w 35"/>
                  <a:gd name="T23" fmla="*/ 23 h 43"/>
                  <a:gd name="T24" fmla="*/ 22 w 35"/>
                  <a:gd name="T25" fmla="*/ 25 h 43"/>
                  <a:gd name="T26" fmla="*/ 27 w 35"/>
                  <a:gd name="T27" fmla="*/ 32 h 43"/>
                  <a:gd name="T28" fmla="*/ 24 w 35"/>
                  <a:gd name="T29" fmla="*/ 37 h 43"/>
                  <a:gd name="T30" fmla="*/ 17 w 35"/>
                  <a:gd name="T31" fmla="*/ 37 h 43"/>
                  <a:gd name="T32" fmla="*/ 6 w 35"/>
                  <a:gd name="T33" fmla="*/ 28 h 43"/>
                  <a:gd name="T34" fmla="*/ 0 w 35"/>
                  <a:gd name="T35" fmla="*/ 28 h 43"/>
                  <a:gd name="T36" fmla="*/ 16 w 35"/>
                  <a:gd name="T37" fmla="*/ 42 h 43"/>
                  <a:gd name="T38" fmla="*/ 28 w 35"/>
                  <a:gd name="T39" fmla="*/ 41 h 43"/>
                  <a:gd name="T40" fmla="*/ 34 w 35"/>
                  <a:gd name="T41" fmla="*/ 33 h 43"/>
                  <a:gd name="T42" fmla="*/ 24 w 35"/>
                  <a:gd name="T43" fmla="*/ 1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43">
                    <a:moveTo>
                      <a:pt x="24" y="19"/>
                    </a:moveTo>
                    <a:cubicBezTo>
                      <a:pt x="16" y="17"/>
                      <a:pt x="16" y="17"/>
                      <a:pt x="16" y="17"/>
                    </a:cubicBezTo>
                    <a:cubicBezTo>
                      <a:pt x="13" y="15"/>
                      <a:pt x="11" y="13"/>
                      <a:pt x="11" y="10"/>
                    </a:cubicBezTo>
                    <a:cubicBezTo>
                      <a:pt x="12" y="9"/>
                      <a:pt x="13" y="7"/>
                      <a:pt x="14" y="6"/>
                    </a:cubicBezTo>
                    <a:cubicBezTo>
                      <a:pt x="16" y="6"/>
                      <a:pt x="18" y="6"/>
                      <a:pt x="21" y="6"/>
                    </a:cubicBezTo>
                    <a:cubicBezTo>
                      <a:pt x="26" y="7"/>
                      <a:pt x="29" y="9"/>
                      <a:pt x="29" y="14"/>
                    </a:cubicBezTo>
                    <a:cubicBezTo>
                      <a:pt x="35" y="13"/>
                      <a:pt x="35" y="13"/>
                      <a:pt x="35" y="13"/>
                    </a:cubicBezTo>
                    <a:cubicBezTo>
                      <a:pt x="34" y="6"/>
                      <a:pt x="30" y="2"/>
                      <a:pt x="21" y="1"/>
                    </a:cubicBezTo>
                    <a:cubicBezTo>
                      <a:pt x="17" y="0"/>
                      <a:pt x="13" y="1"/>
                      <a:pt x="10" y="2"/>
                    </a:cubicBezTo>
                    <a:cubicBezTo>
                      <a:pt x="7" y="4"/>
                      <a:pt x="6" y="7"/>
                      <a:pt x="5" y="10"/>
                    </a:cubicBezTo>
                    <a:cubicBezTo>
                      <a:pt x="4" y="13"/>
                      <a:pt x="5" y="16"/>
                      <a:pt x="7" y="18"/>
                    </a:cubicBezTo>
                    <a:cubicBezTo>
                      <a:pt x="8" y="20"/>
                      <a:pt x="11" y="21"/>
                      <a:pt x="14" y="23"/>
                    </a:cubicBezTo>
                    <a:cubicBezTo>
                      <a:pt x="22" y="25"/>
                      <a:pt x="22" y="25"/>
                      <a:pt x="22" y="25"/>
                    </a:cubicBezTo>
                    <a:cubicBezTo>
                      <a:pt x="26" y="27"/>
                      <a:pt x="28" y="29"/>
                      <a:pt x="27" y="32"/>
                    </a:cubicBezTo>
                    <a:cubicBezTo>
                      <a:pt x="27" y="34"/>
                      <a:pt x="26" y="36"/>
                      <a:pt x="24" y="37"/>
                    </a:cubicBezTo>
                    <a:cubicBezTo>
                      <a:pt x="22" y="37"/>
                      <a:pt x="20" y="38"/>
                      <a:pt x="17" y="37"/>
                    </a:cubicBezTo>
                    <a:cubicBezTo>
                      <a:pt x="10" y="36"/>
                      <a:pt x="7" y="33"/>
                      <a:pt x="6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1" y="36"/>
                      <a:pt x="6" y="41"/>
                      <a:pt x="16" y="42"/>
                    </a:cubicBezTo>
                    <a:cubicBezTo>
                      <a:pt x="21" y="43"/>
                      <a:pt x="25" y="43"/>
                      <a:pt x="28" y="41"/>
                    </a:cubicBezTo>
                    <a:cubicBezTo>
                      <a:pt x="31" y="39"/>
                      <a:pt x="33" y="36"/>
                      <a:pt x="34" y="33"/>
                    </a:cubicBezTo>
                    <a:cubicBezTo>
                      <a:pt x="35" y="27"/>
                      <a:pt x="31" y="22"/>
                      <a:pt x="2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05" name="Freeform 96"/>
              <p:cNvSpPr/>
              <p:nvPr/>
            </p:nvSpPr>
            <p:spPr bwMode="auto">
              <a:xfrm>
                <a:off x="971550" y="2252663"/>
                <a:ext cx="134938" cy="96838"/>
              </a:xfrm>
              <a:custGeom>
                <a:avLst/>
                <a:gdLst>
                  <a:gd name="T0" fmla="*/ 16 w 85"/>
                  <a:gd name="T1" fmla="*/ 52 h 61"/>
                  <a:gd name="T2" fmla="*/ 68 w 85"/>
                  <a:gd name="T3" fmla="*/ 12 h 61"/>
                  <a:gd name="T4" fmla="*/ 64 w 85"/>
                  <a:gd name="T5" fmla="*/ 0 h 61"/>
                  <a:gd name="T6" fmla="*/ 0 w 85"/>
                  <a:gd name="T7" fmla="*/ 49 h 61"/>
                  <a:gd name="T8" fmla="*/ 4 w 85"/>
                  <a:gd name="T9" fmla="*/ 61 h 61"/>
                  <a:gd name="T10" fmla="*/ 85 w 85"/>
                  <a:gd name="T11" fmla="*/ 61 h 61"/>
                  <a:gd name="T12" fmla="*/ 80 w 85"/>
                  <a:gd name="T13" fmla="*/ 52 h 61"/>
                  <a:gd name="T14" fmla="*/ 16 w 85"/>
                  <a:gd name="T15" fmla="*/ 52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5" h="61">
                    <a:moveTo>
                      <a:pt x="16" y="52"/>
                    </a:moveTo>
                    <a:lnTo>
                      <a:pt x="68" y="12"/>
                    </a:lnTo>
                    <a:lnTo>
                      <a:pt x="64" y="0"/>
                    </a:lnTo>
                    <a:lnTo>
                      <a:pt x="0" y="49"/>
                    </a:lnTo>
                    <a:lnTo>
                      <a:pt x="4" y="61"/>
                    </a:lnTo>
                    <a:lnTo>
                      <a:pt x="85" y="61"/>
                    </a:lnTo>
                    <a:lnTo>
                      <a:pt x="80" y="52"/>
                    </a:lnTo>
                    <a:lnTo>
                      <a:pt x="16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06" name="Freeform 97"/>
              <p:cNvSpPr/>
              <p:nvPr/>
            </p:nvSpPr>
            <p:spPr bwMode="auto">
              <a:xfrm>
                <a:off x="1131888" y="2357438"/>
                <a:ext cx="26988" cy="26988"/>
              </a:xfrm>
              <a:custGeom>
                <a:avLst/>
                <a:gdLst>
                  <a:gd name="T0" fmla="*/ 0 w 17"/>
                  <a:gd name="T1" fmla="*/ 5 h 17"/>
                  <a:gd name="T2" fmla="*/ 5 w 17"/>
                  <a:gd name="T3" fmla="*/ 17 h 17"/>
                  <a:gd name="T4" fmla="*/ 17 w 17"/>
                  <a:gd name="T5" fmla="*/ 12 h 17"/>
                  <a:gd name="T6" fmla="*/ 12 w 17"/>
                  <a:gd name="T7" fmla="*/ 0 h 17"/>
                  <a:gd name="T8" fmla="*/ 0 w 17"/>
                  <a:gd name="T9" fmla="*/ 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0" y="5"/>
                    </a:moveTo>
                    <a:lnTo>
                      <a:pt x="5" y="17"/>
                    </a:lnTo>
                    <a:lnTo>
                      <a:pt x="17" y="12"/>
                    </a:lnTo>
                    <a:lnTo>
                      <a:pt x="12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07" name="Freeform 98"/>
              <p:cNvSpPr/>
              <p:nvPr/>
            </p:nvSpPr>
            <p:spPr bwMode="auto">
              <a:xfrm>
                <a:off x="996950" y="2371726"/>
                <a:ext cx="120650" cy="57150"/>
              </a:xfrm>
              <a:custGeom>
                <a:avLst/>
                <a:gdLst>
                  <a:gd name="T0" fmla="*/ 0 w 76"/>
                  <a:gd name="T1" fmla="*/ 24 h 36"/>
                  <a:gd name="T2" fmla="*/ 5 w 76"/>
                  <a:gd name="T3" fmla="*/ 36 h 36"/>
                  <a:gd name="T4" fmla="*/ 76 w 76"/>
                  <a:gd name="T5" fmla="*/ 10 h 36"/>
                  <a:gd name="T6" fmla="*/ 74 w 76"/>
                  <a:gd name="T7" fmla="*/ 0 h 36"/>
                  <a:gd name="T8" fmla="*/ 0 w 76"/>
                  <a:gd name="T9" fmla="*/ 24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36">
                    <a:moveTo>
                      <a:pt x="0" y="24"/>
                    </a:moveTo>
                    <a:lnTo>
                      <a:pt x="5" y="36"/>
                    </a:lnTo>
                    <a:lnTo>
                      <a:pt x="76" y="10"/>
                    </a:lnTo>
                    <a:lnTo>
                      <a:pt x="74" y="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08" name="Freeform 99"/>
              <p:cNvSpPr/>
              <p:nvPr/>
            </p:nvSpPr>
            <p:spPr bwMode="auto">
              <a:xfrm>
                <a:off x="1019175" y="2428876"/>
                <a:ext cx="131763" cy="109538"/>
              </a:xfrm>
              <a:custGeom>
                <a:avLst/>
                <a:gdLst>
                  <a:gd name="T0" fmla="*/ 30 w 35"/>
                  <a:gd name="T1" fmla="*/ 11 h 29"/>
                  <a:gd name="T2" fmla="*/ 25 w 35"/>
                  <a:gd name="T3" fmla="*/ 20 h 29"/>
                  <a:gd name="T4" fmla="*/ 27 w 35"/>
                  <a:gd name="T5" fmla="*/ 24 h 29"/>
                  <a:gd name="T6" fmla="*/ 33 w 35"/>
                  <a:gd name="T7" fmla="*/ 18 h 29"/>
                  <a:gd name="T8" fmla="*/ 34 w 35"/>
                  <a:gd name="T9" fmla="*/ 9 h 29"/>
                  <a:gd name="T10" fmla="*/ 26 w 35"/>
                  <a:gd name="T11" fmla="*/ 1 h 29"/>
                  <a:gd name="T12" fmla="*/ 13 w 35"/>
                  <a:gd name="T13" fmla="*/ 2 h 29"/>
                  <a:gd name="T14" fmla="*/ 3 w 35"/>
                  <a:gd name="T15" fmla="*/ 9 h 29"/>
                  <a:gd name="T16" fmla="*/ 2 w 35"/>
                  <a:gd name="T17" fmla="*/ 20 h 29"/>
                  <a:gd name="T18" fmla="*/ 7 w 35"/>
                  <a:gd name="T19" fmla="*/ 27 h 29"/>
                  <a:gd name="T20" fmla="*/ 16 w 35"/>
                  <a:gd name="T21" fmla="*/ 28 h 29"/>
                  <a:gd name="T22" fmla="*/ 16 w 35"/>
                  <a:gd name="T23" fmla="*/ 23 h 29"/>
                  <a:gd name="T24" fmla="*/ 5 w 35"/>
                  <a:gd name="T25" fmla="*/ 19 h 29"/>
                  <a:gd name="T26" fmla="*/ 7 w 35"/>
                  <a:gd name="T27" fmla="*/ 12 h 29"/>
                  <a:gd name="T28" fmla="*/ 15 w 35"/>
                  <a:gd name="T29" fmla="*/ 6 h 29"/>
                  <a:gd name="T30" fmla="*/ 24 w 35"/>
                  <a:gd name="T31" fmla="*/ 6 h 29"/>
                  <a:gd name="T32" fmla="*/ 30 w 35"/>
                  <a:gd name="T33" fmla="*/ 1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5" h="29">
                    <a:moveTo>
                      <a:pt x="30" y="11"/>
                    </a:moveTo>
                    <a:cubicBezTo>
                      <a:pt x="31" y="15"/>
                      <a:pt x="29" y="18"/>
                      <a:pt x="25" y="20"/>
                    </a:cubicBezTo>
                    <a:cubicBezTo>
                      <a:pt x="27" y="24"/>
                      <a:pt x="27" y="24"/>
                      <a:pt x="27" y="24"/>
                    </a:cubicBezTo>
                    <a:cubicBezTo>
                      <a:pt x="30" y="23"/>
                      <a:pt x="32" y="21"/>
                      <a:pt x="33" y="18"/>
                    </a:cubicBezTo>
                    <a:cubicBezTo>
                      <a:pt x="35" y="15"/>
                      <a:pt x="35" y="12"/>
                      <a:pt x="34" y="9"/>
                    </a:cubicBezTo>
                    <a:cubicBezTo>
                      <a:pt x="32" y="5"/>
                      <a:pt x="30" y="2"/>
                      <a:pt x="26" y="1"/>
                    </a:cubicBezTo>
                    <a:cubicBezTo>
                      <a:pt x="22" y="0"/>
                      <a:pt x="18" y="0"/>
                      <a:pt x="13" y="2"/>
                    </a:cubicBezTo>
                    <a:cubicBezTo>
                      <a:pt x="9" y="3"/>
                      <a:pt x="5" y="5"/>
                      <a:pt x="3" y="9"/>
                    </a:cubicBezTo>
                    <a:cubicBezTo>
                      <a:pt x="1" y="12"/>
                      <a:pt x="0" y="16"/>
                      <a:pt x="2" y="20"/>
                    </a:cubicBezTo>
                    <a:cubicBezTo>
                      <a:pt x="3" y="23"/>
                      <a:pt x="4" y="25"/>
                      <a:pt x="7" y="27"/>
                    </a:cubicBezTo>
                    <a:cubicBezTo>
                      <a:pt x="10" y="28"/>
                      <a:pt x="13" y="29"/>
                      <a:pt x="16" y="28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0" y="24"/>
                      <a:pt x="7" y="22"/>
                      <a:pt x="5" y="19"/>
                    </a:cubicBezTo>
                    <a:cubicBezTo>
                      <a:pt x="5" y="16"/>
                      <a:pt x="5" y="14"/>
                      <a:pt x="7" y="12"/>
                    </a:cubicBezTo>
                    <a:cubicBezTo>
                      <a:pt x="8" y="9"/>
                      <a:pt x="11" y="8"/>
                      <a:pt x="15" y="6"/>
                    </a:cubicBezTo>
                    <a:cubicBezTo>
                      <a:pt x="19" y="5"/>
                      <a:pt x="22" y="5"/>
                      <a:pt x="24" y="6"/>
                    </a:cubicBezTo>
                    <a:cubicBezTo>
                      <a:pt x="27" y="6"/>
                      <a:pt x="29" y="8"/>
                      <a:pt x="30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09" name="Freeform 100"/>
              <p:cNvSpPr/>
              <p:nvPr/>
            </p:nvSpPr>
            <p:spPr bwMode="auto">
              <a:xfrm>
                <a:off x="1054100" y="2514601"/>
                <a:ext cx="149225" cy="109538"/>
              </a:xfrm>
              <a:custGeom>
                <a:avLst/>
                <a:gdLst>
                  <a:gd name="T0" fmla="*/ 9 w 40"/>
                  <a:gd name="T1" fmla="*/ 18 h 29"/>
                  <a:gd name="T2" fmla="*/ 28 w 40"/>
                  <a:gd name="T3" fmla="*/ 11 h 29"/>
                  <a:gd name="T4" fmla="*/ 30 w 40"/>
                  <a:gd name="T5" fmla="*/ 18 h 29"/>
                  <a:gd name="T6" fmla="*/ 34 w 40"/>
                  <a:gd name="T7" fmla="*/ 17 h 29"/>
                  <a:gd name="T8" fmla="*/ 32 w 40"/>
                  <a:gd name="T9" fmla="*/ 10 h 29"/>
                  <a:gd name="T10" fmla="*/ 40 w 40"/>
                  <a:gd name="T11" fmla="*/ 7 h 29"/>
                  <a:gd name="T12" fmla="*/ 38 w 40"/>
                  <a:gd name="T13" fmla="*/ 3 h 29"/>
                  <a:gd name="T14" fmla="*/ 30 w 40"/>
                  <a:gd name="T15" fmla="*/ 5 h 29"/>
                  <a:gd name="T16" fmla="*/ 28 w 40"/>
                  <a:gd name="T17" fmla="*/ 0 h 29"/>
                  <a:gd name="T18" fmla="*/ 25 w 40"/>
                  <a:gd name="T19" fmla="*/ 1 h 29"/>
                  <a:gd name="T20" fmla="*/ 26 w 40"/>
                  <a:gd name="T21" fmla="*/ 6 h 29"/>
                  <a:gd name="T22" fmla="*/ 8 w 40"/>
                  <a:gd name="T23" fmla="*/ 13 h 29"/>
                  <a:gd name="T24" fmla="*/ 2 w 40"/>
                  <a:gd name="T25" fmla="*/ 25 h 29"/>
                  <a:gd name="T26" fmla="*/ 4 w 40"/>
                  <a:gd name="T27" fmla="*/ 29 h 29"/>
                  <a:gd name="T28" fmla="*/ 7 w 40"/>
                  <a:gd name="T29" fmla="*/ 28 h 29"/>
                  <a:gd name="T30" fmla="*/ 6 w 40"/>
                  <a:gd name="T31" fmla="*/ 24 h 29"/>
                  <a:gd name="T32" fmla="*/ 9 w 40"/>
                  <a:gd name="T33" fmla="*/ 1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" h="29">
                    <a:moveTo>
                      <a:pt x="9" y="18"/>
                    </a:moveTo>
                    <a:cubicBezTo>
                      <a:pt x="28" y="11"/>
                      <a:pt x="28" y="11"/>
                      <a:pt x="28" y="11"/>
                    </a:cubicBezTo>
                    <a:cubicBezTo>
                      <a:pt x="30" y="18"/>
                      <a:pt x="30" y="18"/>
                      <a:pt x="30" y="18"/>
                    </a:cubicBezTo>
                    <a:cubicBezTo>
                      <a:pt x="34" y="17"/>
                      <a:pt x="34" y="17"/>
                      <a:pt x="34" y="17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3"/>
                      <a:pt x="38" y="3"/>
                      <a:pt x="38" y="3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5" y="1"/>
                      <a:pt x="25" y="1"/>
                      <a:pt x="25" y="1"/>
                    </a:cubicBezTo>
                    <a:cubicBezTo>
                      <a:pt x="26" y="6"/>
                      <a:pt x="26" y="6"/>
                      <a:pt x="26" y="6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2" y="15"/>
                      <a:pt x="0" y="19"/>
                      <a:pt x="2" y="25"/>
                    </a:cubicBezTo>
                    <a:cubicBezTo>
                      <a:pt x="2" y="26"/>
                      <a:pt x="3" y="27"/>
                      <a:pt x="4" y="29"/>
                    </a:cubicBezTo>
                    <a:cubicBezTo>
                      <a:pt x="7" y="28"/>
                      <a:pt x="7" y="28"/>
                      <a:pt x="7" y="28"/>
                    </a:cubicBezTo>
                    <a:cubicBezTo>
                      <a:pt x="7" y="26"/>
                      <a:pt x="6" y="25"/>
                      <a:pt x="6" y="24"/>
                    </a:cubicBezTo>
                    <a:cubicBezTo>
                      <a:pt x="5" y="21"/>
                      <a:pt x="6" y="19"/>
                      <a:pt x="9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10" name="Freeform 101"/>
              <p:cNvSpPr>
                <a:spLocks noEditPoints="1"/>
              </p:cNvSpPr>
              <p:nvPr/>
            </p:nvSpPr>
            <p:spPr bwMode="auto">
              <a:xfrm>
                <a:off x="1079500" y="2605088"/>
                <a:ext cx="131763" cy="112713"/>
              </a:xfrm>
              <a:custGeom>
                <a:avLst/>
                <a:gdLst>
                  <a:gd name="T0" fmla="*/ 34 w 35"/>
                  <a:gd name="T1" fmla="*/ 10 h 30"/>
                  <a:gd name="T2" fmla="*/ 26 w 35"/>
                  <a:gd name="T3" fmla="*/ 1 h 30"/>
                  <a:gd name="T4" fmla="*/ 13 w 35"/>
                  <a:gd name="T5" fmla="*/ 1 h 30"/>
                  <a:gd name="T6" fmla="*/ 3 w 35"/>
                  <a:gd name="T7" fmla="*/ 9 h 30"/>
                  <a:gd name="T8" fmla="*/ 1 w 35"/>
                  <a:gd name="T9" fmla="*/ 20 h 30"/>
                  <a:gd name="T10" fmla="*/ 9 w 35"/>
                  <a:gd name="T11" fmla="*/ 29 h 30"/>
                  <a:gd name="T12" fmla="*/ 22 w 35"/>
                  <a:gd name="T13" fmla="*/ 29 h 30"/>
                  <a:gd name="T14" fmla="*/ 32 w 35"/>
                  <a:gd name="T15" fmla="*/ 21 h 30"/>
                  <a:gd name="T16" fmla="*/ 34 w 35"/>
                  <a:gd name="T17" fmla="*/ 10 h 30"/>
                  <a:gd name="T18" fmla="*/ 10 w 35"/>
                  <a:gd name="T19" fmla="*/ 24 h 30"/>
                  <a:gd name="T20" fmla="*/ 5 w 35"/>
                  <a:gd name="T21" fmla="*/ 19 h 30"/>
                  <a:gd name="T22" fmla="*/ 6 w 35"/>
                  <a:gd name="T23" fmla="*/ 12 h 30"/>
                  <a:gd name="T24" fmla="*/ 15 w 35"/>
                  <a:gd name="T25" fmla="*/ 7 h 30"/>
                  <a:gd name="T26" fmla="*/ 25 w 35"/>
                  <a:gd name="T27" fmla="*/ 6 h 30"/>
                  <a:gd name="T28" fmla="*/ 30 w 35"/>
                  <a:gd name="T29" fmla="*/ 11 h 30"/>
                  <a:gd name="T30" fmla="*/ 29 w 35"/>
                  <a:gd name="T31" fmla="*/ 18 h 30"/>
                  <a:gd name="T32" fmla="*/ 20 w 35"/>
                  <a:gd name="T33" fmla="*/ 24 h 30"/>
                  <a:gd name="T34" fmla="*/ 10 w 35"/>
                  <a:gd name="T35" fmla="*/ 2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30">
                    <a:moveTo>
                      <a:pt x="34" y="10"/>
                    </a:moveTo>
                    <a:cubicBezTo>
                      <a:pt x="32" y="6"/>
                      <a:pt x="30" y="3"/>
                      <a:pt x="26" y="1"/>
                    </a:cubicBezTo>
                    <a:cubicBezTo>
                      <a:pt x="22" y="0"/>
                      <a:pt x="18" y="0"/>
                      <a:pt x="13" y="1"/>
                    </a:cubicBezTo>
                    <a:cubicBezTo>
                      <a:pt x="8" y="3"/>
                      <a:pt x="5" y="5"/>
                      <a:pt x="3" y="9"/>
                    </a:cubicBezTo>
                    <a:cubicBezTo>
                      <a:pt x="0" y="12"/>
                      <a:pt x="0" y="16"/>
                      <a:pt x="1" y="20"/>
                    </a:cubicBezTo>
                    <a:cubicBezTo>
                      <a:pt x="3" y="24"/>
                      <a:pt x="5" y="27"/>
                      <a:pt x="9" y="29"/>
                    </a:cubicBezTo>
                    <a:cubicBezTo>
                      <a:pt x="13" y="30"/>
                      <a:pt x="17" y="30"/>
                      <a:pt x="22" y="29"/>
                    </a:cubicBezTo>
                    <a:cubicBezTo>
                      <a:pt x="27" y="27"/>
                      <a:pt x="30" y="25"/>
                      <a:pt x="32" y="21"/>
                    </a:cubicBezTo>
                    <a:cubicBezTo>
                      <a:pt x="35" y="18"/>
                      <a:pt x="35" y="14"/>
                      <a:pt x="34" y="10"/>
                    </a:cubicBezTo>
                    <a:close/>
                    <a:moveTo>
                      <a:pt x="10" y="24"/>
                    </a:moveTo>
                    <a:cubicBezTo>
                      <a:pt x="8" y="23"/>
                      <a:pt x="6" y="22"/>
                      <a:pt x="5" y="19"/>
                    </a:cubicBezTo>
                    <a:cubicBezTo>
                      <a:pt x="5" y="17"/>
                      <a:pt x="5" y="14"/>
                      <a:pt x="6" y="12"/>
                    </a:cubicBezTo>
                    <a:cubicBezTo>
                      <a:pt x="8" y="10"/>
                      <a:pt x="10" y="8"/>
                      <a:pt x="15" y="7"/>
                    </a:cubicBezTo>
                    <a:cubicBezTo>
                      <a:pt x="19" y="5"/>
                      <a:pt x="22" y="5"/>
                      <a:pt x="25" y="6"/>
                    </a:cubicBezTo>
                    <a:cubicBezTo>
                      <a:pt x="27" y="7"/>
                      <a:pt x="29" y="9"/>
                      <a:pt x="30" y="11"/>
                    </a:cubicBezTo>
                    <a:cubicBezTo>
                      <a:pt x="30" y="13"/>
                      <a:pt x="30" y="16"/>
                      <a:pt x="29" y="18"/>
                    </a:cubicBezTo>
                    <a:cubicBezTo>
                      <a:pt x="27" y="20"/>
                      <a:pt x="25" y="22"/>
                      <a:pt x="20" y="24"/>
                    </a:cubicBezTo>
                    <a:cubicBezTo>
                      <a:pt x="16" y="25"/>
                      <a:pt x="13" y="25"/>
                      <a:pt x="10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11" name="Freeform 102"/>
              <p:cNvSpPr/>
              <p:nvPr/>
            </p:nvSpPr>
            <p:spPr bwMode="auto">
              <a:xfrm>
                <a:off x="1114425" y="2722563"/>
                <a:ext cx="134938" cy="58738"/>
              </a:xfrm>
              <a:custGeom>
                <a:avLst/>
                <a:gdLst>
                  <a:gd name="T0" fmla="*/ 33 w 36"/>
                  <a:gd name="T1" fmla="*/ 9 h 16"/>
                  <a:gd name="T2" fmla="*/ 25 w 36"/>
                  <a:gd name="T3" fmla="*/ 6 h 16"/>
                  <a:gd name="T4" fmla="*/ 32 w 36"/>
                  <a:gd name="T5" fmla="*/ 4 h 16"/>
                  <a:gd name="T6" fmla="*/ 31 w 36"/>
                  <a:gd name="T7" fmla="*/ 0 h 16"/>
                  <a:gd name="T8" fmla="*/ 0 w 36"/>
                  <a:gd name="T9" fmla="*/ 10 h 16"/>
                  <a:gd name="T10" fmla="*/ 2 w 36"/>
                  <a:gd name="T11" fmla="*/ 15 h 16"/>
                  <a:gd name="T12" fmla="*/ 18 w 36"/>
                  <a:gd name="T13" fmla="*/ 9 h 16"/>
                  <a:gd name="T14" fmla="*/ 27 w 36"/>
                  <a:gd name="T15" fmla="*/ 10 h 16"/>
                  <a:gd name="T16" fmla="*/ 32 w 36"/>
                  <a:gd name="T17" fmla="*/ 15 h 16"/>
                  <a:gd name="T18" fmla="*/ 32 w 36"/>
                  <a:gd name="T19" fmla="*/ 16 h 16"/>
                  <a:gd name="T20" fmla="*/ 36 w 36"/>
                  <a:gd name="T21" fmla="*/ 15 h 16"/>
                  <a:gd name="T22" fmla="*/ 36 w 36"/>
                  <a:gd name="T23" fmla="*/ 13 h 16"/>
                  <a:gd name="T24" fmla="*/ 33 w 36"/>
                  <a:gd name="T25" fmla="*/ 9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" h="16">
                    <a:moveTo>
                      <a:pt x="33" y="9"/>
                    </a:moveTo>
                    <a:cubicBezTo>
                      <a:pt x="31" y="7"/>
                      <a:pt x="29" y="7"/>
                      <a:pt x="25" y="6"/>
                    </a:cubicBezTo>
                    <a:cubicBezTo>
                      <a:pt x="32" y="4"/>
                      <a:pt x="32" y="4"/>
                      <a:pt x="32" y="4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21" y="8"/>
                      <a:pt x="24" y="8"/>
                      <a:pt x="27" y="10"/>
                    </a:cubicBezTo>
                    <a:cubicBezTo>
                      <a:pt x="29" y="11"/>
                      <a:pt x="31" y="12"/>
                      <a:pt x="32" y="15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6" y="15"/>
                      <a:pt x="36" y="15"/>
                      <a:pt x="36" y="15"/>
                    </a:cubicBezTo>
                    <a:cubicBezTo>
                      <a:pt x="36" y="14"/>
                      <a:pt x="36" y="13"/>
                      <a:pt x="36" y="13"/>
                    </a:cubicBezTo>
                    <a:cubicBezTo>
                      <a:pt x="35" y="11"/>
                      <a:pt x="34" y="10"/>
                      <a:pt x="33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12" name="Freeform 103"/>
              <p:cNvSpPr/>
              <p:nvPr/>
            </p:nvSpPr>
            <p:spPr bwMode="auto">
              <a:xfrm>
                <a:off x="1098550" y="2789238"/>
                <a:ext cx="184150" cy="93663"/>
              </a:xfrm>
              <a:custGeom>
                <a:avLst/>
                <a:gdLst>
                  <a:gd name="T0" fmla="*/ 48 w 49"/>
                  <a:gd name="T1" fmla="*/ 21 h 25"/>
                  <a:gd name="T2" fmla="*/ 22 w 49"/>
                  <a:gd name="T3" fmla="*/ 20 h 25"/>
                  <a:gd name="T4" fmla="*/ 42 w 49"/>
                  <a:gd name="T5" fmla="*/ 4 h 25"/>
                  <a:gd name="T6" fmla="*/ 41 w 49"/>
                  <a:gd name="T7" fmla="*/ 0 h 25"/>
                  <a:gd name="T8" fmla="*/ 14 w 49"/>
                  <a:gd name="T9" fmla="*/ 20 h 25"/>
                  <a:gd name="T10" fmla="*/ 7 w 49"/>
                  <a:gd name="T11" fmla="*/ 19 h 25"/>
                  <a:gd name="T12" fmla="*/ 4 w 49"/>
                  <a:gd name="T13" fmla="*/ 16 h 25"/>
                  <a:gd name="T14" fmla="*/ 4 w 49"/>
                  <a:gd name="T15" fmla="*/ 13 h 25"/>
                  <a:gd name="T16" fmla="*/ 0 w 49"/>
                  <a:gd name="T17" fmla="*/ 14 h 25"/>
                  <a:gd name="T18" fmla="*/ 1 w 49"/>
                  <a:gd name="T19" fmla="*/ 18 h 25"/>
                  <a:gd name="T20" fmla="*/ 11 w 49"/>
                  <a:gd name="T21" fmla="*/ 24 h 25"/>
                  <a:gd name="T22" fmla="*/ 49 w 49"/>
                  <a:gd name="T23" fmla="*/ 25 h 25"/>
                  <a:gd name="T24" fmla="*/ 48 w 49"/>
                  <a:gd name="T25" fmla="*/ 2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25">
                    <a:moveTo>
                      <a:pt x="48" y="21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42" y="4"/>
                      <a:pt x="42" y="4"/>
                      <a:pt x="42" y="4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14" y="20"/>
                      <a:pt x="14" y="20"/>
                      <a:pt x="14" y="20"/>
                    </a:cubicBezTo>
                    <a:cubicBezTo>
                      <a:pt x="11" y="20"/>
                      <a:pt x="8" y="20"/>
                      <a:pt x="7" y="19"/>
                    </a:cubicBezTo>
                    <a:cubicBezTo>
                      <a:pt x="6" y="18"/>
                      <a:pt x="5" y="17"/>
                      <a:pt x="4" y="16"/>
                    </a:cubicBezTo>
                    <a:cubicBezTo>
                      <a:pt x="4" y="15"/>
                      <a:pt x="4" y="14"/>
                      <a:pt x="4" y="1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5"/>
                      <a:pt x="0" y="17"/>
                      <a:pt x="1" y="18"/>
                    </a:cubicBezTo>
                    <a:cubicBezTo>
                      <a:pt x="2" y="22"/>
                      <a:pt x="5" y="24"/>
                      <a:pt x="11" y="24"/>
                    </a:cubicBezTo>
                    <a:cubicBezTo>
                      <a:pt x="49" y="25"/>
                      <a:pt x="49" y="25"/>
                      <a:pt x="49" y="25"/>
                    </a:cubicBezTo>
                    <a:lnTo>
                      <a:pt x="48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13" name="Freeform 104"/>
              <p:cNvSpPr>
                <a:spLocks noEditPoints="1"/>
              </p:cNvSpPr>
              <p:nvPr/>
            </p:nvSpPr>
            <p:spPr bwMode="auto">
              <a:xfrm>
                <a:off x="3376613" y="2566988"/>
                <a:ext cx="104775" cy="142875"/>
              </a:xfrm>
              <a:custGeom>
                <a:avLst/>
                <a:gdLst>
                  <a:gd name="T0" fmla="*/ 19 w 28"/>
                  <a:gd name="T1" fmla="*/ 1 h 38"/>
                  <a:gd name="T2" fmla="*/ 9 w 28"/>
                  <a:gd name="T3" fmla="*/ 6 h 38"/>
                  <a:gd name="T4" fmla="*/ 10 w 28"/>
                  <a:gd name="T5" fmla="*/ 0 h 38"/>
                  <a:gd name="T6" fmla="*/ 6 w 28"/>
                  <a:gd name="T7" fmla="*/ 0 h 38"/>
                  <a:gd name="T8" fmla="*/ 0 w 28"/>
                  <a:gd name="T9" fmla="*/ 38 h 38"/>
                  <a:gd name="T10" fmla="*/ 4 w 28"/>
                  <a:gd name="T11" fmla="*/ 38 h 38"/>
                  <a:gd name="T12" fmla="*/ 6 w 28"/>
                  <a:gd name="T13" fmla="*/ 24 h 38"/>
                  <a:gd name="T14" fmla="*/ 14 w 28"/>
                  <a:gd name="T15" fmla="*/ 31 h 38"/>
                  <a:gd name="T16" fmla="*/ 23 w 28"/>
                  <a:gd name="T17" fmla="*/ 28 h 38"/>
                  <a:gd name="T18" fmla="*/ 27 w 28"/>
                  <a:gd name="T19" fmla="*/ 17 h 38"/>
                  <a:gd name="T20" fmla="*/ 26 w 28"/>
                  <a:gd name="T21" fmla="*/ 6 h 38"/>
                  <a:gd name="T22" fmla="*/ 19 w 28"/>
                  <a:gd name="T23" fmla="*/ 1 h 38"/>
                  <a:gd name="T24" fmla="*/ 19 w 28"/>
                  <a:gd name="T25" fmla="*/ 25 h 38"/>
                  <a:gd name="T26" fmla="*/ 14 w 28"/>
                  <a:gd name="T27" fmla="*/ 27 h 38"/>
                  <a:gd name="T28" fmla="*/ 9 w 28"/>
                  <a:gd name="T29" fmla="*/ 24 h 38"/>
                  <a:gd name="T30" fmla="*/ 7 w 28"/>
                  <a:gd name="T31" fmla="*/ 18 h 38"/>
                  <a:gd name="T32" fmla="*/ 8 w 28"/>
                  <a:gd name="T33" fmla="*/ 10 h 38"/>
                  <a:gd name="T34" fmla="*/ 12 w 28"/>
                  <a:gd name="T35" fmla="*/ 6 h 38"/>
                  <a:gd name="T36" fmla="*/ 17 w 28"/>
                  <a:gd name="T37" fmla="*/ 5 h 38"/>
                  <a:gd name="T38" fmla="*/ 22 w 28"/>
                  <a:gd name="T39" fmla="*/ 8 h 38"/>
                  <a:gd name="T40" fmla="*/ 23 w 28"/>
                  <a:gd name="T41" fmla="*/ 17 h 38"/>
                  <a:gd name="T42" fmla="*/ 19 w 28"/>
                  <a:gd name="T43" fmla="*/ 25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8" h="38">
                    <a:moveTo>
                      <a:pt x="19" y="1"/>
                    </a:moveTo>
                    <a:cubicBezTo>
                      <a:pt x="15" y="0"/>
                      <a:pt x="11" y="2"/>
                      <a:pt x="9" y="6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4" y="38"/>
                      <a:pt x="4" y="38"/>
                      <a:pt x="4" y="38"/>
                    </a:cubicBezTo>
                    <a:cubicBezTo>
                      <a:pt x="6" y="24"/>
                      <a:pt x="6" y="24"/>
                      <a:pt x="6" y="24"/>
                    </a:cubicBezTo>
                    <a:cubicBezTo>
                      <a:pt x="8" y="28"/>
                      <a:pt x="10" y="30"/>
                      <a:pt x="14" y="31"/>
                    </a:cubicBezTo>
                    <a:cubicBezTo>
                      <a:pt x="17" y="31"/>
                      <a:pt x="20" y="30"/>
                      <a:pt x="23" y="28"/>
                    </a:cubicBezTo>
                    <a:cubicBezTo>
                      <a:pt x="25" y="26"/>
                      <a:pt x="27" y="22"/>
                      <a:pt x="27" y="17"/>
                    </a:cubicBezTo>
                    <a:cubicBezTo>
                      <a:pt x="28" y="13"/>
                      <a:pt x="28" y="9"/>
                      <a:pt x="26" y="6"/>
                    </a:cubicBezTo>
                    <a:cubicBezTo>
                      <a:pt x="24" y="3"/>
                      <a:pt x="22" y="1"/>
                      <a:pt x="19" y="1"/>
                    </a:cubicBezTo>
                    <a:close/>
                    <a:moveTo>
                      <a:pt x="19" y="25"/>
                    </a:moveTo>
                    <a:cubicBezTo>
                      <a:pt x="17" y="27"/>
                      <a:pt x="15" y="27"/>
                      <a:pt x="14" y="27"/>
                    </a:cubicBezTo>
                    <a:cubicBezTo>
                      <a:pt x="12" y="27"/>
                      <a:pt x="10" y="26"/>
                      <a:pt x="9" y="24"/>
                    </a:cubicBezTo>
                    <a:cubicBezTo>
                      <a:pt x="8" y="22"/>
                      <a:pt x="7" y="21"/>
                      <a:pt x="7" y="18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9" y="9"/>
                      <a:pt x="10" y="7"/>
                      <a:pt x="12" y="6"/>
                    </a:cubicBezTo>
                    <a:cubicBezTo>
                      <a:pt x="14" y="5"/>
                      <a:pt x="15" y="4"/>
                      <a:pt x="17" y="5"/>
                    </a:cubicBezTo>
                    <a:cubicBezTo>
                      <a:pt x="19" y="5"/>
                      <a:pt x="21" y="6"/>
                      <a:pt x="22" y="8"/>
                    </a:cubicBezTo>
                    <a:cubicBezTo>
                      <a:pt x="23" y="10"/>
                      <a:pt x="23" y="13"/>
                      <a:pt x="23" y="17"/>
                    </a:cubicBezTo>
                    <a:cubicBezTo>
                      <a:pt x="22" y="21"/>
                      <a:pt x="21" y="24"/>
                      <a:pt x="19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14" name="Freeform 105"/>
              <p:cNvSpPr/>
              <p:nvPr/>
            </p:nvSpPr>
            <p:spPr bwMode="auto">
              <a:xfrm>
                <a:off x="3497263" y="2582863"/>
                <a:ext cx="68263" cy="109538"/>
              </a:xfrm>
              <a:custGeom>
                <a:avLst/>
                <a:gdLst>
                  <a:gd name="T0" fmla="*/ 12 w 18"/>
                  <a:gd name="T1" fmla="*/ 2 h 29"/>
                  <a:gd name="T2" fmla="*/ 7 w 18"/>
                  <a:gd name="T3" fmla="*/ 8 h 29"/>
                  <a:gd name="T4" fmla="*/ 8 w 18"/>
                  <a:gd name="T5" fmla="*/ 1 h 29"/>
                  <a:gd name="T6" fmla="*/ 4 w 18"/>
                  <a:gd name="T7" fmla="*/ 0 h 29"/>
                  <a:gd name="T8" fmla="*/ 0 w 18"/>
                  <a:gd name="T9" fmla="*/ 29 h 29"/>
                  <a:gd name="T10" fmla="*/ 4 w 18"/>
                  <a:gd name="T11" fmla="*/ 29 h 29"/>
                  <a:gd name="T12" fmla="*/ 7 w 18"/>
                  <a:gd name="T13" fmla="*/ 14 h 29"/>
                  <a:gd name="T14" fmla="*/ 10 w 18"/>
                  <a:gd name="T15" fmla="*/ 8 h 29"/>
                  <a:gd name="T16" fmla="*/ 17 w 18"/>
                  <a:gd name="T17" fmla="*/ 6 h 29"/>
                  <a:gd name="T18" fmla="*/ 18 w 18"/>
                  <a:gd name="T19" fmla="*/ 6 h 29"/>
                  <a:gd name="T20" fmla="*/ 18 w 18"/>
                  <a:gd name="T21" fmla="*/ 2 h 29"/>
                  <a:gd name="T22" fmla="*/ 17 w 18"/>
                  <a:gd name="T23" fmla="*/ 1 h 29"/>
                  <a:gd name="T24" fmla="*/ 12 w 18"/>
                  <a:gd name="T25" fmla="*/ 2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" h="29">
                    <a:moveTo>
                      <a:pt x="12" y="2"/>
                    </a:moveTo>
                    <a:cubicBezTo>
                      <a:pt x="11" y="3"/>
                      <a:pt x="9" y="5"/>
                      <a:pt x="7" y="8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4" y="29"/>
                      <a:pt x="4" y="29"/>
                      <a:pt x="4" y="29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7" y="11"/>
                      <a:pt x="8" y="9"/>
                      <a:pt x="10" y="8"/>
                    </a:cubicBezTo>
                    <a:cubicBezTo>
                      <a:pt x="12" y="6"/>
                      <a:pt x="14" y="5"/>
                      <a:pt x="17" y="6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8" y="2"/>
                      <a:pt x="17" y="1"/>
                      <a:pt x="17" y="1"/>
                    </a:cubicBezTo>
                    <a:cubicBezTo>
                      <a:pt x="15" y="1"/>
                      <a:pt x="14" y="1"/>
                      <a:pt x="12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15" name="Freeform 106"/>
              <p:cNvSpPr>
                <a:spLocks noEditPoints="1"/>
              </p:cNvSpPr>
              <p:nvPr/>
            </p:nvSpPr>
            <p:spPr bwMode="auto">
              <a:xfrm>
                <a:off x="3560763" y="2593976"/>
                <a:ext cx="101600" cy="115888"/>
              </a:xfrm>
              <a:custGeom>
                <a:avLst/>
                <a:gdLst>
                  <a:gd name="T0" fmla="*/ 16 w 27"/>
                  <a:gd name="T1" fmla="*/ 1 h 31"/>
                  <a:gd name="T2" fmla="*/ 6 w 27"/>
                  <a:gd name="T3" fmla="*/ 4 h 31"/>
                  <a:gd name="T4" fmla="*/ 1 w 27"/>
                  <a:gd name="T5" fmla="*/ 14 h 31"/>
                  <a:gd name="T6" fmla="*/ 2 w 27"/>
                  <a:gd name="T7" fmla="*/ 25 h 31"/>
                  <a:gd name="T8" fmla="*/ 11 w 27"/>
                  <a:gd name="T9" fmla="*/ 31 h 31"/>
                  <a:gd name="T10" fmla="*/ 21 w 27"/>
                  <a:gd name="T11" fmla="*/ 28 h 31"/>
                  <a:gd name="T12" fmla="*/ 26 w 27"/>
                  <a:gd name="T13" fmla="*/ 18 h 31"/>
                  <a:gd name="T14" fmla="*/ 24 w 27"/>
                  <a:gd name="T15" fmla="*/ 7 h 31"/>
                  <a:gd name="T16" fmla="*/ 16 w 27"/>
                  <a:gd name="T17" fmla="*/ 1 h 31"/>
                  <a:gd name="T18" fmla="*/ 18 w 27"/>
                  <a:gd name="T19" fmla="*/ 25 h 31"/>
                  <a:gd name="T20" fmla="*/ 12 w 27"/>
                  <a:gd name="T21" fmla="*/ 27 h 31"/>
                  <a:gd name="T22" fmla="*/ 6 w 27"/>
                  <a:gd name="T23" fmla="*/ 24 h 31"/>
                  <a:gd name="T24" fmla="*/ 6 w 27"/>
                  <a:gd name="T25" fmla="*/ 15 h 31"/>
                  <a:gd name="T26" fmla="*/ 9 w 27"/>
                  <a:gd name="T27" fmla="*/ 6 h 31"/>
                  <a:gd name="T28" fmla="*/ 15 w 27"/>
                  <a:gd name="T29" fmla="*/ 5 h 31"/>
                  <a:gd name="T30" fmla="*/ 20 w 27"/>
                  <a:gd name="T31" fmla="*/ 8 h 31"/>
                  <a:gd name="T32" fmla="*/ 21 w 27"/>
                  <a:gd name="T33" fmla="*/ 17 h 31"/>
                  <a:gd name="T34" fmla="*/ 18 w 27"/>
                  <a:gd name="T35" fmla="*/ 2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" h="31">
                    <a:moveTo>
                      <a:pt x="16" y="1"/>
                    </a:moveTo>
                    <a:cubicBezTo>
                      <a:pt x="12" y="0"/>
                      <a:pt x="9" y="1"/>
                      <a:pt x="6" y="4"/>
                    </a:cubicBezTo>
                    <a:cubicBezTo>
                      <a:pt x="3" y="6"/>
                      <a:pt x="1" y="9"/>
                      <a:pt x="1" y="14"/>
                    </a:cubicBezTo>
                    <a:cubicBezTo>
                      <a:pt x="0" y="18"/>
                      <a:pt x="1" y="22"/>
                      <a:pt x="2" y="25"/>
                    </a:cubicBezTo>
                    <a:cubicBezTo>
                      <a:pt x="4" y="28"/>
                      <a:pt x="7" y="30"/>
                      <a:pt x="11" y="31"/>
                    </a:cubicBezTo>
                    <a:cubicBezTo>
                      <a:pt x="15" y="31"/>
                      <a:pt x="18" y="31"/>
                      <a:pt x="21" y="28"/>
                    </a:cubicBezTo>
                    <a:cubicBezTo>
                      <a:pt x="24" y="26"/>
                      <a:pt x="26" y="22"/>
                      <a:pt x="26" y="18"/>
                    </a:cubicBezTo>
                    <a:cubicBezTo>
                      <a:pt x="27" y="14"/>
                      <a:pt x="26" y="10"/>
                      <a:pt x="24" y="7"/>
                    </a:cubicBezTo>
                    <a:cubicBezTo>
                      <a:pt x="23" y="3"/>
                      <a:pt x="20" y="2"/>
                      <a:pt x="16" y="1"/>
                    </a:cubicBezTo>
                    <a:close/>
                    <a:moveTo>
                      <a:pt x="18" y="25"/>
                    </a:moveTo>
                    <a:cubicBezTo>
                      <a:pt x="16" y="27"/>
                      <a:pt x="14" y="28"/>
                      <a:pt x="12" y="27"/>
                    </a:cubicBezTo>
                    <a:cubicBezTo>
                      <a:pt x="9" y="27"/>
                      <a:pt x="8" y="26"/>
                      <a:pt x="6" y="24"/>
                    </a:cubicBezTo>
                    <a:cubicBezTo>
                      <a:pt x="5" y="22"/>
                      <a:pt x="5" y="19"/>
                      <a:pt x="6" y="15"/>
                    </a:cubicBezTo>
                    <a:cubicBezTo>
                      <a:pt x="6" y="11"/>
                      <a:pt x="7" y="8"/>
                      <a:pt x="9" y="6"/>
                    </a:cubicBezTo>
                    <a:cubicBezTo>
                      <a:pt x="11" y="5"/>
                      <a:pt x="13" y="4"/>
                      <a:pt x="15" y="5"/>
                    </a:cubicBezTo>
                    <a:cubicBezTo>
                      <a:pt x="17" y="5"/>
                      <a:pt x="19" y="6"/>
                      <a:pt x="20" y="8"/>
                    </a:cubicBezTo>
                    <a:cubicBezTo>
                      <a:pt x="22" y="10"/>
                      <a:pt x="22" y="13"/>
                      <a:pt x="21" y="17"/>
                    </a:cubicBezTo>
                    <a:cubicBezTo>
                      <a:pt x="21" y="21"/>
                      <a:pt x="20" y="24"/>
                      <a:pt x="18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16" name="Freeform 107"/>
              <p:cNvSpPr/>
              <p:nvPr/>
            </p:nvSpPr>
            <p:spPr bwMode="auto">
              <a:xfrm>
                <a:off x="3673475" y="2609851"/>
                <a:ext cx="93663" cy="115888"/>
              </a:xfrm>
              <a:custGeom>
                <a:avLst/>
                <a:gdLst>
                  <a:gd name="T0" fmla="*/ 24 w 59"/>
                  <a:gd name="T1" fmla="*/ 59 h 73"/>
                  <a:gd name="T2" fmla="*/ 12 w 59"/>
                  <a:gd name="T3" fmla="*/ 2 h 73"/>
                  <a:gd name="T4" fmla="*/ 0 w 59"/>
                  <a:gd name="T5" fmla="*/ 0 h 73"/>
                  <a:gd name="T6" fmla="*/ 14 w 59"/>
                  <a:gd name="T7" fmla="*/ 71 h 73"/>
                  <a:gd name="T8" fmla="*/ 26 w 59"/>
                  <a:gd name="T9" fmla="*/ 73 h 73"/>
                  <a:gd name="T10" fmla="*/ 59 w 59"/>
                  <a:gd name="T11" fmla="*/ 9 h 73"/>
                  <a:gd name="T12" fmla="*/ 50 w 59"/>
                  <a:gd name="T13" fmla="*/ 7 h 73"/>
                  <a:gd name="T14" fmla="*/ 24 w 59"/>
                  <a:gd name="T15" fmla="*/ 59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9" h="73">
                    <a:moveTo>
                      <a:pt x="24" y="59"/>
                    </a:moveTo>
                    <a:lnTo>
                      <a:pt x="12" y="2"/>
                    </a:lnTo>
                    <a:lnTo>
                      <a:pt x="0" y="0"/>
                    </a:lnTo>
                    <a:lnTo>
                      <a:pt x="14" y="71"/>
                    </a:lnTo>
                    <a:lnTo>
                      <a:pt x="26" y="73"/>
                    </a:lnTo>
                    <a:lnTo>
                      <a:pt x="59" y="9"/>
                    </a:lnTo>
                    <a:lnTo>
                      <a:pt x="50" y="7"/>
                    </a:lnTo>
                    <a:lnTo>
                      <a:pt x="24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17" name="Freeform 108"/>
              <p:cNvSpPr>
                <a:spLocks noEditPoints="1"/>
              </p:cNvSpPr>
              <p:nvPr/>
            </p:nvSpPr>
            <p:spPr bwMode="auto">
              <a:xfrm>
                <a:off x="3763963" y="2627313"/>
                <a:ext cx="101600" cy="117475"/>
              </a:xfrm>
              <a:custGeom>
                <a:avLst/>
                <a:gdLst>
                  <a:gd name="T0" fmla="*/ 12 w 27"/>
                  <a:gd name="T1" fmla="*/ 27 h 31"/>
                  <a:gd name="T2" fmla="*/ 7 w 27"/>
                  <a:gd name="T3" fmla="*/ 24 h 31"/>
                  <a:gd name="T4" fmla="*/ 5 w 27"/>
                  <a:gd name="T5" fmla="*/ 14 h 31"/>
                  <a:gd name="T6" fmla="*/ 26 w 27"/>
                  <a:gd name="T7" fmla="*/ 18 h 31"/>
                  <a:gd name="T8" fmla="*/ 24 w 27"/>
                  <a:gd name="T9" fmla="*/ 6 h 31"/>
                  <a:gd name="T10" fmla="*/ 16 w 27"/>
                  <a:gd name="T11" fmla="*/ 0 h 31"/>
                  <a:gd name="T12" fmla="*/ 6 w 27"/>
                  <a:gd name="T13" fmla="*/ 3 h 31"/>
                  <a:gd name="T14" fmla="*/ 1 w 27"/>
                  <a:gd name="T15" fmla="*/ 13 h 31"/>
                  <a:gd name="T16" fmla="*/ 3 w 27"/>
                  <a:gd name="T17" fmla="*/ 25 h 31"/>
                  <a:gd name="T18" fmla="*/ 11 w 27"/>
                  <a:gd name="T19" fmla="*/ 30 h 31"/>
                  <a:gd name="T20" fmla="*/ 19 w 27"/>
                  <a:gd name="T21" fmla="*/ 29 h 31"/>
                  <a:gd name="T22" fmla="*/ 25 w 27"/>
                  <a:gd name="T23" fmla="*/ 24 h 31"/>
                  <a:gd name="T24" fmla="*/ 21 w 27"/>
                  <a:gd name="T25" fmla="*/ 22 h 31"/>
                  <a:gd name="T26" fmla="*/ 12 w 27"/>
                  <a:gd name="T27" fmla="*/ 27 h 31"/>
                  <a:gd name="T28" fmla="*/ 10 w 27"/>
                  <a:gd name="T29" fmla="*/ 5 h 31"/>
                  <a:gd name="T30" fmla="*/ 16 w 27"/>
                  <a:gd name="T31" fmla="*/ 4 h 31"/>
                  <a:gd name="T32" fmla="*/ 20 w 27"/>
                  <a:gd name="T33" fmla="*/ 6 h 31"/>
                  <a:gd name="T34" fmla="*/ 22 w 27"/>
                  <a:gd name="T35" fmla="*/ 9 h 31"/>
                  <a:gd name="T36" fmla="*/ 22 w 27"/>
                  <a:gd name="T37" fmla="*/ 14 h 31"/>
                  <a:gd name="T38" fmla="*/ 6 w 27"/>
                  <a:gd name="T39" fmla="*/ 11 h 31"/>
                  <a:gd name="T40" fmla="*/ 10 w 27"/>
                  <a:gd name="T41" fmla="*/ 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7" h="31">
                    <a:moveTo>
                      <a:pt x="12" y="27"/>
                    </a:moveTo>
                    <a:cubicBezTo>
                      <a:pt x="10" y="26"/>
                      <a:pt x="8" y="25"/>
                      <a:pt x="7" y="24"/>
                    </a:cubicBezTo>
                    <a:cubicBezTo>
                      <a:pt x="5" y="22"/>
                      <a:pt x="5" y="19"/>
                      <a:pt x="5" y="14"/>
                    </a:cubicBezTo>
                    <a:cubicBezTo>
                      <a:pt x="26" y="18"/>
                      <a:pt x="26" y="18"/>
                      <a:pt x="26" y="18"/>
                    </a:cubicBezTo>
                    <a:cubicBezTo>
                      <a:pt x="27" y="13"/>
                      <a:pt x="26" y="8"/>
                      <a:pt x="24" y="6"/>
                    </a:cubicBezTo>
                    <a:cubicBezTo>
                      <a:pt x="23" y="3"/>
                      <a:pt x="20" y="1"/>
                      <a:pt x="16" y="0"/>
                    </a:cubicBezTo>
                    <a:cubicBezTo>
                      <a:pt x="12" y="0"/>
                      <a:pt x="9" y="1"/>
                      <a:pt x="6" y="3"/>
                    </a:cubicBezTo>
                    <a:cubicBezTo>
                      <a:pt x="3" y="5"/>
                      <a:pt x="1" y="9"/>
                      <a:pt x="1" y="13"/>
                    </a:cubicBezTo>
                    <a:cubicBezTo>
                      <a:pt x="0" y="18"/>
                      <a:pt x="1" y="22"/>
                      <a:pt x="3" y="25"/>
                    </a:cubicBezTo>
                    <a:cubicBezTo>
                      <a:pt x="5" y="28"/>
                      <a:pt x="7" y="30"/>
                      <a:pt x="11" y="30"/>
                    </a:cubicBezTo>
                    <a:cubicBezTo>
                      <a:pt x="14" y="31"/>
                      <a:pt x="17" y="30"/>
                      <a:pt x="19" y="29"/>
                    </a:cubicBezTo>
                    <a:cubicBezTo>
                      <a:pt x="22" y="28"/>
                      <a:pt x="24" y="26"/>
                      <a:pt x="25" y="24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19" y="26"/>
                      <a:pt x="16" y="27"/>
                      <a:pt x="12" y="27"/>
                    </a:cubicBezTo>
                    <a:close/>
                    <a:moveTo>
                      <a:pt x="10" y="5"/>
                    </a:moveTo>
                    <a:cubicBezTo>
                      <a:pt x="11" y="4"/>
                      <a:pt x="13" y="3"/>
                      <a:pt x="16" y="4"/>
                    </a:cubicBezTo>
                    <a:cubicBezTo>
                      <a:pt x="17" y="4"/>
                      <a:pt x="19" y="5"/>
                      <a:pt x="20" y="6"/>
                    </a:cubicBezTo>
                    <a:cubicBezTo>
                      <a:pt x="21" y="7"/>
                      <a:pt x="21" y="8"/>
                      <a:pt x="22" y="9"/>
                    </a:cubicBezTo>
                    <a:cubicBezTo>
                      <a:pt x="22" y="11"/>
                      <a:pt x="22" y="12"/>
                      <a:pt x="22" y="14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7" y="9"/>
                      <a:pt x="8" y="7"/>
                      <a:pt x="1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18" name="Freeform 109"/>
              <p:cNvSpPr/>
              <p:nvPr/>
            </p:nvSpPr>
            <p:spPr bwMode="auto">
              <a:xfrm>
                <a:off x="1887538" y="4495801"/>
                <a:ext cx="120650" cy="146050"/>
              </a:xfrm>
              <a:custGeom>
                <a:avLst/>
                <a:gdLst>
                  <a:gd name="T0" fmla="*/ 12 w 32"/>
                  <a:gd name="T1" fmla="*/ 6 h 39"/>
                  <a:gd name="T2" fmla="*/ 23 w 32"/>
                  <a:gd name="T3" fmla="*/ 12 h 39"/>
                  <a:gd name="T4" fmla="*/ 28 w 32"/>
                  <a:gd name="T5" fmla="*/ 10 h 39"/>
                  <a:gd name="T6" fmla="*/ 21 w 32"/>
                  <a:gd name="T7" fmla="*/ 2 h 39"/>
                  <a:gd name="T8" fmla="*/ 11 w 32"/>
                  <a:gd name="T9" fmla="*/ 1 h 39"/>
                  <a:gd name="T10" fmla="*/ 1 w 32"/>
                  <a:gd name="T11" fmla="*/ 10 h 39"/>
                  <a:gd name="T12" fmla="*/ 1 w 32"/>
                  <a:gd name="T13" fmla="*/ 24 h 39"/>
                  <a:gd name="T14" fmla="*/ 9 w 32"/>
                  <a:gd name="T15" fmla="*/ 36 h 39"/>
                  <a:gd name="T16" fmla="*/ 21 w 32"/>
                  <a:gd name="T17" fmla="*/ 38 h 39"/>
                  <a:gd name="T18" fmla="*/ 29 w 32"/>
                  <a:gd name="T19" fmla="*/ 32 h 39"/>
                  <a:gd name="T20" fmla="*/ 31 w 32"/>
                  <a:gd name="T21" fmla="*/ 22 h 39"/>
                  <a:gd name="T22" fmla="*/ 26 w 32"/>
                  <a:gd name="T23" fmla="*/ 22 h 39"/>
                  <a:gd name="T24" fmla="*/ 20 w 32"/>
                  <a:gd name="T25" fmla="*/ 34 h 39"/>
                  <a:gd name="T26" fmla="*/ 12 w 32"/>
                  <a:gd name="T27" fmla="*/ 32 h 39"/>
                  <a:gd name="T28" fmla="*/ 7 w 32"/>
                  <a:gd name="T29" fmla="*/ 22 h 39"/>
                  <a:gd name="T30" fmla="*/ 6 w 32"/>
                  <a:gd name="T31" fmla="*/ 11 h 39"/>
                  <a:gd name="T32" fmla="*/ 12 w 32"/>
                  <a:gd name="T33" fmla="*/ 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2" h="39">
                    <a:moveTo>
                      <a:pt x="12" y="6"/>
                    </a:moveTo>
                    <a:cubicBezTo>
                      <a:pt x="17" y="4"/>
                      <a:pt x="20" y="6"/>
                      <a:pt x="23" y="12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26" y="6"/>
                      <a:pt x="24" y="4"/>
                      <a:pt x="21" y="2"/>
                    </a:cubicBezTo>
                    <a:cubicBezTo>
                      <a:pt x="18" y="0"/>
                      <a:pt x="15" y="0"/>
                      <a:pt x="11" y="1"/>
                    </a:cubicBezTo>
                    <a:cubicBezTo>
                      <a:pt x="6" y="2"/>
                      <a:pt x="3" y="5"/>
                      <a:pt x="1" y="10"/>
                    </a:cubicBezTo>
                    <a:cubicBezTo>
                      <a:pt x="0" y="14"/>
                      <a:pt x="0" y="19"/>
                      <a:pt x="1" y="24"/>
                    </a:cubicBezTo>
                    <a:cubicBezTo>
                      <a:pt x="3" y="29"/>
                      <a:pt x="5" y="33"/>
                      <a:pt x="9" y="36"/>
                    </a:cubicBezTo>
                    <a:cubicBezTo>
                      <a:pt x="12" y="39"/>
                      <a:pt x="16" y="39"/>
                      <a:pt x="21" y="38"/>
                    </a:cubicBezTo>
                    <a:cubicBezTo>
                      <a:pt x="25" y="37"/>
                      <a:pt x="27" y="35"/>
                      <a:pt x="29" y="32"/>
                    </a:cubicBezTo>
                    <a:cubicBezTo>
                      <a:pt x="31" y="29"/>
                      <a:pt x="32" y="26"/>
                      <a:pt x="31" y="22"/>
                    </a:cubicBezTo>
                    <a:cubicBezTo>
                      <a:pt x="26" y="22"/>
                      <a:pt x="26" y="22"/>
                      <a:pt x="26" y="22"/>
                    </a:cubicBezTo>
                    <a:cubicBezTo>
                      <a:pt x="26" y="29"/>
                      <a:pt x="24" y="32"/>
                      <a:pt x="20" y="34"/>
                    </a:cubicBezTo>
                    <a:cubicBezTo>
                      <a:pt x="17" y="34"/>
                      <a:pt x="14" y="34"/>
                      <a:pt x="12" y="32"/>
                    </a:cubicBezTo>
                    <a:cubicBezTo>
                      <a:pt x="10" y="30"/>
                      <a:pt x="8" y="26"/>
                      <a:pt x="7" y="22"/>
                    </a:cubicBezTo>
                    <a:cubicBezTo>
                      <a:pt x="6" y="18"/>
                      <a:pt x="5" y="14"/>
                      <a:pt x="6" y="11"/>
                    </a:cubicBezTo>
                    <a:cubicBezTo>
                      <a:pt x="7" y="8"/>
                      <a:pt x="9" y="6"/>
                      <a:pt x="1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19" name="Freeform 110"/>
              <p:cNvSpPr>
                <a:spLocks noEditPoints="1"/>
              </p:cNvSpPr>
              <p:nvPr/>
            </p:nvSpPr>
            <p:spPr bwMode="auto">
              <a:xfrm>
                <a:off x="2008188" y="4457701"/>
                <a:ext cx="131763" cy="150813"/>
              </a:xfrm>
              <a:custGeom>
                <a:avLst/>
                <a:gdLst>
                  <a:gd name="T0" fmla="*/ 13 w 35"/>
                  <a:gd name="T1" fmla="*/ 1 h 40"/>
                  <a:gd name="T2" fmla="*/ 3 w 35"/>
                  <a:gd name="T3" fmla="*/ 10 h 40"/>
                  <a:gd name="T4" fmla="*/ 2 w 35"/>
                  <a:gd name="T5" fmla="*/ 24 h 40"/>
                  <a:gd name="T6" fmla="*/ 10 w 35"/>
                  <a:gd name="T7" fmla="*/ 36 h 40"/>
                  <a:gd name="T8" fmla="*/ 23 w 35"/>
                  <a:gd name="T9" fmla="*/ 39 h 40"/>
                  <a:gd name="T10" fmla="*/ 33 w 35"/>
                  <a:gd name="T11" fmla="*/ 30 h 40"/>
                  <a:gd name="T12" fmla="*/ 33 w 35"/>
                  <a:gd name="T13" fmla="*/ 15 h 40"/>
                  <a:gd name="T14" fmla="*/ 26 w 35"/>
                  <a:gd name="T15" fmla="*/ 3 h 40"/>
                  <a:gd name="T16" fmla="*/ 13 w 35"/>
                  <a:gd name="T17" fmla="*/ 1 h 40"/>
                  <a:gd name="T18" fmla="*/ 28 w 35"/>
                  <a:gd name="T19" fmla="*/ 29 h 40"/>
                  <a:gd name="T20" fmla="*/ 22 w 35"/>
                  <a:gd name="T21" fmla="*/ 34 h 40"/>
                  <a:gd name="T22" fmla="*/ 14 w 35"/>
                  <a:gd name="T23" fmla="*/ 33 h 40"/>
                  <a:gd name="T24" fmla="*/ 8 w 35"/>
                  <a:gd name="T25" fmla="*/ 23 h 40"/>
                  <a:gd name="T26" fmla="*/ 8 w 35"/>
                  <a:gd name="T27" fmla="*/ 11 h 40"/>
                  <a:gd name="T28" fmla="*/ 14 w 35"/>
                  <a:gd name="T29" fmla="*/ 6 h 40"/>
                  <a:gd name="T30" fmla="*/ 22 w 35"/>
                  <a:gd name="T31" fmla="*/ 7 h 40"/>
                  <a:gd name="T32" fmla="*/ 28 w 35"/>
                  <a:gd name="T33" fmla="*/ 17 h 40"/>
                  <a:gd name="T34" fmla="*/ 28 w 35"/>
                  <a:gd name="T35" fmla="*/ 2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40">
                    <a:moveTo>
                      <a:pt x="13" y="1"/>
                    </a:moveTo>
                    <a:cubicBezTo>
                      <a:pt x="8" y="3"/>
                      <a:pt x="5" y="5"/>
                      <a:pt x="3" y="10"/>
                    </a:cubicBezTo>
                    <a:cubicBezTo>
                      <a:pt x="1" y="14"/>
                      <a:pt x="0" y="19"/>
                      <a:pt x="2" y="24"/>
                    </a:cubicBezTo>
                    <a:cubicBezTo>
                      <a:pt x="4" y="30"/>
                      <a:pt x="6" y="34"/>
                      <a:pt x="10" y="36"/>
                    </a:cubicBezTo>
                    <a:cubicBezTo>
                      <a:pt x="14" y="39"/>
                      <a:pt x="18" y="40"/>
                      <a:pt x="23" y="39"/>
                    </a:cubicBezTo>
                    <a:cubicBezTo>
                      <a:pt x="27" y="37"/>
                      <a:pt x="31" y="34"/>
                      <a:pt x="33" y="30"/>
                    </a:cubicBezTo>
                    <a:cubicBezTo>
                      <a:pt x="35" y="26"/>
                      <a:pt x="35" y="21"/>
                      <a:pt x="33" y="15"/>
                    </a:cubicBezTo>
                    <a:cubicBezTo>
                      <a:pt x="32" y="10"/>
                      <a:pt x="29" y="6"/>
                      <a:pt x="26" y="3"/>
                    </a:cubicBezTo>
                    <a:cubicBezTo>
                      <a:pt x="22" y="1"/>
                      <a:pt x="18" y="0"/>
                      <a:pt x="13" y="1"/>
                    </a:cubicBezTo>
                    <a:close/>
                    <a:moveTo>
                      <a:pt x="28" y="29"/>
                    </a:moveTo>
                    <a:cubicBezTo>
                      <a:pt x="27" y="31"/>
                      <a:pt x="25" y="33"/>
                      <a:pt x="22" y="34"/>
                    </a:cubicBezTo>
                    <a:cubicBezTo>
                      <a:pt x="19" y="35"/>
                      <a:pt x="16" y="34"/>
                      <a:pt x="14" y="33"/>
                    </a:cubicBezTo>
                    <a:cubicBezTo>
                      <a:pt x="11" y="31"/>
                      <a:pt x="9" y="28"/>
                      <a:pt x="8" y="23"/>
                    </a:cubicBezTo>
                    <a:cubicBezTo>
                      <a:pt x="7" y="18"/>
                      <a:pt x="7" y="14"/>
                      <a:pt x="8" y="11"/>
                    </a:cubicBezTo>
                    <a:cubicBezTo>
                      <a:pt x="9" y="9"/>
                      <a:pt x="11" y="7"/>
                      <a:pt x="14" y="6"/>
                    </a:cubicBezTo>
                    <a:cubicBezTo>
                      <a:pt x="16" y="5"/>
                      <a:pt x="19" y="6"/>
                      <a:pt x="22" y="7"/>
                    </a:cubicBezTo>
                    <a:cubicBezTo>
                      <a:pt x="24" y="9"/>
                      <a:pt x="26" y="12"/>
                      <a:pt x="28" y="17"/>
                    </a:cubicBezTo>
                    <a:cubicBezTo>
                      <a:pt x="29" y="22"/>
                      <a:pt x="29" y="26"/>
                      <a:pt x="28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20" name="Freeform 111"/>
              <p:cNvSpPr/>
              <p:nvPr/>
            </p:nvSpPr>
            <p:spPr bwMode="auto">
              <a:xfrm>
                <a:off x="2132013" y="4389438"/>
                <a:ext cx="30163" cy="30163"/>
              </a:xfrm>
              <a:custGeom>
                <a:avLst/>
                <a:gdLst>
                  <a:gd name="T0" fmla="*/ 5 w 19"/>
                  <a:gd name="T1" fmla="*/ 19 h 19"/>
                  <a:gd name="T2" fmla="*/ 19 w 19"/>
                  <a:gd name="T3" fmla="*/ 14 h 19"/>
                  <a:gd name="T4" fmla="*/ 15 w 19"/>
                  <a:gd name="T5" fmla="*/ 0 h 19"/>
                  <a:gd name="T6" fmla="*/ 0 w 19"/>
                  <a:gd name="T7" fmla="*/ 3 h 19"/>
                  <a:gd name="T8" fmla="*/ 5 w 19"/>
                  <a:gd name="T9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19">
                    <a:moveTo>
                      <a:pt x="5" y="19"/>
                    </a:moveTo>
                    <a:lnTo>
                      <a:pt x="19" y="14"/>
                    </a:lnTo>
                    <a:lnTo>
                      <a:pt x="15" y="0"/>
                    </a:lnTo>
                    <a:lnTo>
                      <a:pt x="0" y="3"/>
                    </a:lnTo>
                    <a:lnTo>
                      <a:pt x="5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21" name="Freeform 112"/>
              <p:cNvSpPr/>
              <p:nvPr/>
            </p:nvSpPr>
            <p:spPr bwMode="auto">
              <a:xfrm>
                <a:off x="2147888" y="4435476"/>
                <a:ext cx="55563" cy="138113"/>
              </a:xfrm>
              <a:custGeom>
                <a:avLst/>
                <a:gdLst>
                  <a:gd name="T0" fmla="*/ 23 w 35"/>
                  <a:gd name="T1" fmla="*/ 87 h 87"/>
                  <a:gd name="T2" fmla="*/ 35 w 35"/>
                  <a:gd name="T3" fmla="*/ 82 h 87"/>
                  <a:gd name="T4" fmla="*/ 12 w 35"/>
                  <a:gd name="T5" fmla="*/ 0 h 87"/>
                  <a:gd name="T6" fmla="*/ 0 w 35"/>
                  <a:gd name="T7" fmla="*/ 4 h 87"/>
                  <a:gd name="T8" fmla="*/ 23 w 35"/>
                  <a:gd name="T9" fmla="*/ 8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87">
                    <a:moveTo>
                      <a:pt x="23" y="87"/>
                    </a:moveTo>
                    <a:lnTo>
                      <a:pt x="35" y="82"/>
                    </a:lnTo>
                    <a:lnTo>
                      <a:pt x="12" y="0"/>
                    </a:lnTo>
                    <a:lnTo>
                      <a:pt x="0" y="4"/>
                    </a:lnTo>
                    <a:lnTo>
                      <a:pt x="23" y="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22" name="Freeform 113"/>
              <p:cNvSpPr/>
              <p:nvPr/>
            </p:nvSpPr>
            <p:spPr bwMode="auto">
              <a:xfrm>
                <a:off x="2208213" y="4400551"/>
                <a:ext cx="142875" cy="153988"/>
              </a:xfrm>
              <a:custGeom>
                <a:avLst/>
                <a:gdLst>
                  <a:gd name="T0" fmla="*/ 28 w 38"/>
                  <a:gd name="T1" fmla="*/ 4 h 41"/>
                  <a:gd name="T2" fmla="*/ 23 w 38"/>
                  <a:gd name="T3" fmla="*/ 1 h 41"/>
                  <a:gd name="T4" fmla="*/ 16 w 38"/>
                  <a:gd name="T5" fmla="*/ 0 h 41"/>
                  <a:gd name="T6" fmla="*/ 7 w 38"/>
                  <a:gd name="T7" fmla="*/ 11 h 41"/>
                  <a:gd name="T8" fmla="*/ 5 w 38"/>
                  <a:gd name="T9" fmla="*/ 5 h 41"/>
                  <a:gd name="T10" fmla="*/ 0 w 38"/>
                  <a:gd name="T11" fmla="*/ 6 h 41"/>
                  <a:gd name="T12" fmla="*/ 10 w 38"/>
                  <a:gd name="T13" fmla="*/ 41 h 41"/>
                  <a:gd name="T14" fmla="*/ 15 w 38"/>
                  <a:gd name="T15" fmla="*/ 39 h 41"/>
                  <a:gd name="T16" fmla="*/ 10 w 38"/>
                  <a:gd name="T17" fmla="*/ 20 h 41"/>
                  <a:gd name="T18" fmla="*/ 10 w 38"/>
                  <a:gd name="T19" fmla="*/ 11 h 41"/>
                  <a:gd name="T20" fmla="*/ 16 w 38"/>
                  <a:gd name="T21" fmla="*/ 5 h 41"/>
                  <a:gd name="T22" fmla="*/ 22 w 38"/>
                  <a:gd name="T23" fmla="*/ 6 h 41"/>
                  <a:gd name="T24" fmla="*/ 26 w 38"/>
                  <a:gd name="T25" fmla="*/ 12 h 41"/>
                  <a:gd name="T26" fmla="*/ 32 w 38"/>
                  <a:gd name="T27" fmla="*/ 35 h 41"/>
                  <a:gd name="T28" fmla="*/ 38 w 38"/>
                  <a:gd name="T29" fmla="*/ 33 h 41"/>
                  <a:gd name="T30" fmla="*/ 32 w 38"/>
                  <a:gd name="T31" fmla="*/ 13 h 41"/>
                  <a:gd name="T32" fmla="*/ 28 w 38"/>
                  <a:gd name="T33" fmla="*/ 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8" h="41">
                    <a:moveTo>
                      <a:pt x="28" y="4"/>
                    </a:moveTo>
                    <a:cubicBezTo>
                      <a:pt x="27" y="3"/>
                      <a:pt x="25" y="1"/>
                      <a:pt x="23" y="1"/>
                    </a:cubicBezTo>
                    <a:cubicBezTo>
                      <a:pt x="21" y="0"/>
                      <a:pt x="18" y="0"/>
                      <a:pt x="16" y="0"/>
                    </a:cubicBezTo>
                    <a:cubicBezTo>
                      <a:pt x="11" y="2"/>
                      <a:pt x="8" y="5"/>
                      <a:pt x="7" y="11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15" y="39"/>
                      <a:pt x="15" y="39"/>
                      <a:pt x="15" y="39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9" y="17"/>
                      <a:pt x="9" y="13"/>
                      <a:pt x="10" y="11"/>
                    </a:cubicBezTo>
                    <a:cubicBezTo>
                      <a:pt x="12" y="8"/>
                      <a:pt x="14" y="6"/>
                      <a:pt x="16" y="5"/>
                    </a:cubicBezTo>
                    <a:cubicBezTo>
                      <a:pt x="18" y="5"/>
                      <a:pt x="20" y="5"/>
                      <a:pt x="22" y="6"/>
                    </a:cubicBezTo>
                    <a:cubicBezTo>
                      <a:pt x="24" y="7"/>
                      <a:pt x="25" y="9"/>
                      <a:pt x="26" y="12"/>
                    </a:cubicBezTo>
                    <a:cubicBezTo>
                      <a:pt x="32" y="35"/>
                      <a:pt x="32" y="35"/>
                      <a:pt x="32" y="35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0" y="9"/>
                      <a:pt x="29" y="6"/>
                      <a:pt x="2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23" name="Freeform 114"/>
              <p:cNvSpPr>
                <a:spLocks noEditPoints="1"/>
              </p:cNvSpPr>
              <p:nvPr/>
            </p:nvSpPr>
            <p:spPr bwMode="auto">
              <a:xfrm>
                <a:off x="3613150" y="3935413"/>
                <a:ext cx="207963" cy="203200"/>
              </a:xfrm>
              <a:custGeom>
                <a:avLst/>
                <a:gdLst>
                  <a:gd name="T0" fmla="*/ 37 w 55"/>
                  <a:gd name="T1" fmla="*/ 23 h 54"/>
                  <a:gd name="T2" fmla="*/ 32 w 55"/>
                  <a:gd name="T3" fmla="*/ 31 h 54"/>
                  <a:gd name="T4" fmla="*/ 27 w 55"/>
                  <a:gd name="T5" fmla="*/ 39 h 54"/>
                  <a:gd name="T6" fmla="*/ 24 w 55"/>
                  <a:gd name="T7" fmla="*/ 39 h 54"/>
                  <a:gd name="T8" fmla="*/ 22 w 55"/>
                  <a:gd name="T9" fmla="*/ 37 h 54"/>
                  <a:gd name="T10" fmla="*/ 22 w 55"/>
                  <a:gd name="T11" fmla="*/ 34 h 54"/>
                  <a:gd name="T12" fmla="*/ 24 w 55"/>
                  <a:gd name="T13" fmla="*/ 32 h 54"/>
                  <a:gd name="T14" fmla="*/ 25 w 55"/>
                  <a:gd name="T15" fmla="*/ 30 h 54"/>
                  <a:gd name="T16" fmla="*/ 27 w 55"/>
                  <a:gd name="T17" fmla="*/ 19 h 54"/>
                  <a:gd name="T18" fmla="*/ 21 w 55"/>
                  <a:gd name="T19" fmla="*/ 12 h 54"/>
                  <a:gd name="T20" fmla="*/ 11 w 55"/>
                  <a:gd name="T21" fmla="*/ 11 h 54"/>
                  <a:gd name="T22" fmla="*/ 9 w 55"/>
                  <a:gd name="T23" fmla="*/ 8 h 54"/>
                  <a:gd name="T24" fmla="*/ 10 w 55"/>
                  <a:gd name="T25" fmla="*/ 3 h 54"/>
                  <a:gd name="T26" fmla="*/ 6 w 55"/>
                  <a:gd name="T27" fmla="*/ 0 h 54"/>
                  <a:gd name="T28" fmla="*/ 6 w 55"/>
                  <a:gd name="T29" fmla="*/ 2 h 54"/>
                  <a:gd name="T30" fmla="*/ 4 w 55"/>
                  <a:gd name="T31" fmla="*/ 8 h 54"/>
                  <a:gd name="T32" fmla="*/ 7 w 55"/>
                  <a:gd name="T33" fmla="*/ 12 h 54"/>
                  <a:gd name="T34" fmla="*/ 3 w 55"/>
                  <a:gd name="T35" fmla="*/ 18 h 54"/>
                  <a:gd name="T36" fmla="*/ 1 w 55"/>
                  <a:gd name="T37" fmla="*/ 29 h 54"/>
                  <a:gd name="T38" fmla="*/ 7 w 55"/>
                  <a:gd name="T39" fmla="*/ 37 h 54"/>
                  <a:gd name="T40" fmla="*/ 18 w 55"/>
                  <a:gd name="T41" fmla="*/ 37 h 54"/>
                  <a:gd name="T42" fmla="*/ 22 w 55"/>
                  <a:gd name="T43" fmla="*/ 44 h 54"/>
                  <a:gd name="T44" fmla="*/ 29 w 55"/>
                  <a:gd name="T45" fmla="*/ 44 h 54"/>
                  <a:gd name="T46" fmla="*/ 33 w 55"/>
                  <a:gd name="T47" fmla="*/ 52 h 54"/>
                  <a:gd name="T48" fmla="*/ 41 w 55"/>
                  <a:gd name="T49" fmla="*/ 52 h 54"/>
                  <a:gd name="T50" fmla="*/ 49 w 55"/>
                  <a:gd name="T51" fmla="*/ 42 h 54"/>
                  <a:gd name="T52" fmla="*/ 48 w 55"/>
                  <a:gd name="T53" fmla="*/ 20 h 54"/>
                  <a:gd name="T54" fmla="*/ 42 w 55"/>
                  <a:gd name="T55" fmla="*/ 20 h 54"/>
                  <a:gd name="T56" fmla="*/ 37 w 55"/>
                  <a:gd name="T57" fmla="*/ 23 h 54"/>
                  <a:gd name="T58" fmla="*/ 6 w 55"/>
                  <a:gd name="T59" fmla="*/ 26 h 54"/>
                  <a:gd name="T60" fmla="*/ 7 w 55"/>
                  <a:gd name="T61" fmla="*/ 20 h 54"/>
                  <a:gd name="T62" fmla="*/ 11 w 55"/>
                  <a:gd name="T63" fmla="*/ 16 h 54"/>
                  <a:gd name="T64" fmla="*/ 18 w 55"/>
                  <a:gd name="T65" fmla="*/ 17 h 54"/>
                  <a:gd name="T66" fmla="*/ 22 w 55"/>
                  <a:gd name="T67" fmla="*/ 22 h 54"/>
                  <a:gd name="T68" fmla="*/ 21 w 55"/>
                  <a:gd name="T69" fmla="*/ 28 h 54"/>
                  <a:gd name="T70" fmla="*/ 16 w 55"/>
                  <a:gd name="T71" fmla="*/ 32 h 54"/>
                  <a:gd name="T72" fmla="*/ 10 w 55"/>
                  <a:gd name="T73" fmla="*/ 32 h 54"/>
                  <a:gd name="T74" fmla="*/ 6 w 55"/>
                  <a:gd name="T75" fmla="*/ 26 h 54"/>
                  <a:gd name="T76" fmla="*/ 48 w 55"/>
                  <a:gd name="T77" fmla="*/ 31 h 54"/>
                  <a:gd name="T78" fmla="*/ 45 w 55"/>
                  <a:gd name="T79" fmla="*/ 39 h 54"/>
                  <a:gd name="T80" fmla="*/ 40 w 55"/>
                  <a:gd name="T81" fmla="*/ 46 h 54"/>
                  <a:gd name="T82" fmla="*/ 35 w 55"/>
                  <a:gd name="T83" fmla="*/ 47 h 54"/>
                  <a:gd name="T84" fmla="*/ 32 w 55"/>
                  <a:gd name="T85" fmla="*/ 41 h 54"/>
                  <a:gd name="T86" fmla="*/ 37 w 55"/>
                  <a:gd name="T87" fmla="*/ 33 h 54"/>
                  <a:gd name="T88" fmla="*/ 40 w 55"/>
                  <a:gd name="T89" fmla="*/ 27 h 54"/>
                  <a:gd name="T90" fmla="*/ 43 w 55"/>
                  <a:gd name="T91" fmla="*/ 25 h 54"/>
                  <a:gd name="T92" fmla="*/ 46 w 55"/>
                  <a:gd name="T93" fmla="*/ 25 h 54"/>
                  <a:gd name="T94" fmla="*/ 48 w 55"/>
                  <a:gd name="T95" fmla="*/ 3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5" h="54">
                    <a:moveTo>
                      <a:pt x="37" y="23"/>
                    </a:moveTo>
                    <a:cubicBezTo>
                      <a:pt x="36" y="24"/>
                      <a:pt x="34" y="27"/>
                      <a:pt x="32" y="31"/>
                    </a:cubicBezTo>
                    <a:cubicBezTo>
                      <a:pt x="30" y="35"/>
                      <a:pt x="28" y="38"/>
                      <a:pt x="27" y="39"/>
                    </a:cubicBezTo>
                    <a:cubicBezTo>
                      <a:pt x="26" y="40"/>
                      <a:pt x="25" y="40"/>
                      <a:pt x="24" y="39"/>
                    </a:cubicBezTo>
                    <a:cubicBezTo>
                      <a:pt x="23" y="39"/>
                      <a:pt x="22" y="38"/>
                      <a:pt x="22" y="37"/>
                    </a:cubicBezTo>
                    <a:cubicBezTo>
                      <a:pt x="22" y="36"/>
                      <a:pt x="22" y="35"/>
                      <a:pt x="22" y="34"/>
                    </a:cubicBezTo>
                    <a:cubicBezTo>
                      <a:pt x="22" y="34"/>
                      <a:pt x="23" y="33"/>
                      <a:pt x="24" y="32"/>
                    </a:cubicBezTo>
                    <a:cubicBezTo>
                      <a:pt x="24" y="32"/>
                      <a:pt x="25" y="31"/>
                      <a:pt x="25" y="30"/>
                    </a:cubicBezTo>
                    <a:cubicBezTo>
                      <a:pt x="27" y="26"/>
                      <a:pt x="28" y="23"/>
                      <a:pt x="27" y="19"/>
                    </a:cubicBezTo>
                    <a:cubicBezTo>
                      <a:pt x="26" y="16"/>
                      <a:pt x="24" y="13"/>
                      <a:pt x="21" y="12"/>
                    </a:cubicBezTo>
                    <a:cubicBezTo>
                      <a:pt x="18" y="10"/>
                      <a:pt x="15" y="10"/>
                      <a:pt x="11" y="11"/>
                    </a:cubicBezTo>
                    <a:cubicBezTo>
                      <a:pt x="10" y="10"/>
                      <a:pt x="9" y="9"/>
                      <a:pt x="9" y="8"/>
                    </a:cubicBezTo>
                    <a:cubicBezTo>
                      <a:pt x="9" y="7"/>
                      <a:pt x="9" y="5"/>
                      <a:pt x="10" y="3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1"/>
                      <a:pt x="6" y="1"/>
                      <a:pt x="6" y="2"/>
                    </a:cubicBezTo>
                    <a:cubicBezTo>
                      <a:pt x="4" y="4"/>
                      <a:pt x="4" y="6"/>
                      <a:pt x="4" y="8"/>
                    </a:cubicBezTo>
                    <a:cubicBezTo>
                      <a:pt x="4" y="9"/>
                      <a:pt x="5" y="11"/>
                      <a:pt x="7" y="12"/>
                    </a:cubicBezTo>
                    <a:cubicBezTo>
                      <a:pt x="5" y="14"/>
                      <a:pt x="4" y="16"/>
                      <a:pt x="3" y="18"/>
                    </a:cubicBezTo>
                    <a:cubicBezTo>
                      <a:pt x="1" y="22"/>
                      <a:pt x="0" y="25"/>
                      <a:pt x="1" y="29"/>
                    </a:cubicBezTo>
                    <a:cubicBezTo>
                      <a:pt x="2" y="32"/>
                      <a:pt x="4" y="35"/>
                      <a:pt x="7" y="37"/>
                    </a:cubicBezTo>
                    <a:cubicBezTo>
                      <a:pt x="11" y="39"/>
                      <a:pt x="14" y="39"/>
                      <a:pt x="18" y="37"/>
                    </a:cubicBezTo>
                    <a:cubicBezTo>
                      <a:pt x="18" y="41"/>
                      <a:pt x="19" y="43"/>
                      <a:pt x="22" y="44"/>
                    </a:cubicBezTo>
                    <a:cubicBezTo>
                      <a:pt x="24" y="46"/>
                      <a:pt x="26" y="45"/>
                      <a:pt x="29" y="44"/>
                    </a:cubicBezTo>
                    <a:cubicBezTo>
                      <a:pt x="28" y="48"/>
                      <a:pt x="30" y="51"/>
                      <a:pt x="33" y="52"/>
                    </a:cubicBezTo>
                    <a:cubicBezTo>
                      <a:pt x="35" y="54"/>
                      <a:pt x="38" y="54"/>
                      <a:pt x="41" y="52"/>
                    </a:cubicBezTo>
                    <a:cubicBezTo>
                      <a:pt x="44" y="50"/>
                      <a:pt x="46" y="47"/>
                      <a:pt x="49" y="42"/>
                    </a:cubicBezTo>
                    <a:cubicBezTo>
                      <a:pt x="55" y="31"/>
                      <a:pt x="55" y="24"/>
                      <a:pt x="48" y="20"/>
                    </a:cubicBezTo>
                    <a:cubicBezTo>
                      <a:pt x="46" y="19"/>
                      <a:pt x="44" y="19"/>
                      <a:pt x="42" y="20"/>
                    </a:cubicBezTo>
                    <a:cubicBezTo>
                      <a:pt x="40" y="20"/>
                      <a:pt x="39" y="21"/>
                      <a:pt x="37" y="23"/>
                    </a:cubicBezTo>
                    <a:close/>
                    <a:moveTo>
                      <a:pt x="6" y="26"/>
                    </a:moveTo>
                    <a:cubicBezTo>
                      <a:pt x="5" y="24"/>
                      <a:pt x="6" y="22"/>
                      <a:pt x="7" y="20"/>
                    </a:cubicBezTo>
                    <a:cubicBezTo>
                      <a:pt x="8" y="18"/>
                      <a:pt x="9" y="17"/>
                      <a:pt x="11" y="16"/>
                    </a:cubicBezTo>
                    <a:cubicBezTo>
                      <a:pt x="13" y="15"/>
                      <a:pt x="16" y="16"/>
                      <a:pt x="18" y="17"/>
                    </a:cubicBezTo>
                    <a:cubicBezTo>
                      <a:pt x="20" y="18"/>
                      <a:pt x="21" y="19"/>
                      <a:pt x="22" y="22"/>
                    </a:cubicBezTo>
                    <a:cubicBezTo>
                      <a:pt x="23" y="24"/>
                      <a:pt x="22" y="26"/>
                      <a:pt x="21" y="28"/>
                    </a:cubicBezTo>
                    <a:cubicBezTo>
                      <a:pt x="20" y="30"/>
                      <a:pt x="19" y="32"/>
                      <a:pt x="16" y="32"/>
                    </a:cubicBezTo>
                    <a:cubicBezTo>
                      <a:pt x="14" y="33"/>
                      <a:pt x="12" y="33"/>
                      <a:pt x="10" y="32"/>
                    </a:cubicBezTo>
                    <a:cubicBezTo>
                      <a:pt x="8" y="30"/>
                      <a:pt x="6" y="29"/>
                      <a:pt x="6" y="26"/>
                    </a:cubicBezTo>
                    <a:close/>
                    <a:moveTo>
                      <a:pt x="48" y="31"/>
                    </a:moveTo>
                    <a:cubicBezTo>
                      <a:pt x="48" y="34"/>
                      <a:pt x="47" y="37"/>
                      <a:pt x="45" y="39"/>
                    </a:cubicBezTo>
                    <a:cubicBezTo>
                      <a:pt x="44" y="42"/>
                      <a:pt x="42" y="45"/>
                      <a:pt x="40" y="46"/>
                    </a:cubicBezTo>
                    <a:cubicBezTo>
                      <a:pt x="38" y="48"/>
                      <a:pt x="36" y="48"/>
                      <a:pt x="35" y="47"/>
                    </a:cubicBezTo>
                    <a:cubicBezTo>
                      <a:pt x="33" y="46"/>
                      <a:pt x="32" y="44"/>
                      <a:pt x="32" y="41"/>
                    </a:cubicBezTo>
                    <a:cubicBezTo>
                      <a:pt x="33" y="40"/>
                      <a:pt x="35" y="37"/>
                      <a:pt x="37" y="33"/>
                    </a:cubicBezTo>
                    <a:cubicBezTo>
                      <a:pt x="38" y="31"/>
                      <a:pt x="39" y="28"/>
                      <a:pt x="40" y="27"/>
                    </a:cubicBezTo>
                    <a:cubicBezTo>
                      <a:pt x="41" y="26"/>
                      <a:pt x="42" y="25"/>
                      <a:pt x="43" y="25"/>
                    </a:cubicBezTo>
                    <a:cubicBezTo>
                      <a:pt x="44" y="25"/>
                      <a:pt x="45" y="25"/>
                      <a:pt x="46" y="25"/>
                    </a:cubicBezTo>
                    <a:cubicBezTo>
                      <a:pt x="48" y="26"/>
                      <a:pt x="49" y="28"/>
                      <a:pt x="48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24" name="Freeform 115"/>
              <p:cNvSpPr>
                <a:spLocks noEditPoints="1"/>
              </p:cNvSpPr>
              <p:nvPr/>
            </p:nvSpPr>
            <p:spPr bwMode="auto">
              <a:xfrm>
                <a:off x="3681413" y="3841751"/>
                <a:ext cx="146050" cy="138113"/>
              </a:xfrm>
              <a:custGeom>
                <a:avLst/>
                <a:gdLst>
                  <a:gd name="T0" fmla="*/ 2 w 39"/>
                  <a:gd name="T1" fmla="*/ 9 h 37"/>
                  <a:gd name="T2" fmla="*/ 1 w 39"/>
                  <a:gd name="T3" fmla="*/ 22 h 37"/>
                  <a:gd name="T4" fmla="*/ 12 w 39"/>
                  <a:gd name="T5" fmla="*/ 33 h 37"/>
                  <a:gd name="T6" fmla="*/ 26 w 39"/>
                  <a:gd name="T7" fmla="*/ 36 h 37"/>
                  <a:gd name="T8" fmla="*/ 37 w 39"/>
                  <a:gd name="T9" fmla="*/ 28 h 37"/>
                  <a:gd name="T10" fmla="*/ 37 w 39"/>
                  <a:gd name="T11" fmla="*/ 14 h 37"/>
                  <a:gd name="T12" fmla="*/ 27 w 39"/>
                  <a:gd name="T13" fmla="*/ 4 h 37"/>
                  <a:gd name="T14" fmla="*/ 13 w 39"/>
                  <a:gd name="T15" fmla="*/ 1 h 37"/>
                  <a:gd name="T16" fmla="*/ 2 w 39"/>
                  <a:gd name="T17" fmla="*/ 9 h 37"/>
                  <a:gd name="T18" fmla="*/ 33 w 39"/>
                  <a:gd name="T19" fmla="*/ 17 h 37"/>
                  <a:gd name="T20" fmla="*/ 33 w 39"/>
                  <a:gd name="T21" fmla="*/ 25 h 37"/>
                  <a:gd name="T22" fmla="*/ 26 w 39"/>
                  <a:gd name="T23" fmla="*/ 30 h 37"/>
                  <a:gd name="T24" fmla="*/ 14 w 39"/>
                  <a:gd name="T25" fmla="*/ 28 h 37"/>
                  <a:gd name="T26" fmla="*/ 6 w 39"/>
                  <a:gd name="T27" fmla="*/ 20 h 37"/>
                  <a:gd name="T28" fmla="*/ 6 w 39"/>
                  <a:gd name="T29" fmla="*/ 12 h 37"/>
                  <a:gd name="T30" fmla="*/ 13 w 39"/>
                  <a:gd name="T31" fmla="*/ 7 h 37"/>
                  <a:gd name="T32" fmla="*/ 24 w 39"/>
                  <a:gd name="T33" fmla="*/ 9 h 37"/>
                  <a:gd name="T34" fmla="*/ 33 w 39"/>
                  <a:gd name="T35" fmla="*/ 1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" h="37">
                    <a:moveTo>
                      <a:pt x="2" y="9"/>
                    </a:moveTo>
                    <a:cubicBezTo>
                      <a:pt x="0" y="14"/>
                      <a:pt x="0" y="18"/>
                      <a:pt x="1" y="22"/>
                    </a:cubicBezTo>
                    <a:cubicBezTo>
                      <a:pt x="3" y="27"/>
                      <a:pt x="6" y="30"/>
                      <a:pt x="12" y="33"/>
                    </a:cubicBezTo>
                    <a:cubicBezTo>
                      <a:pt x="17" y="36"/>
                      <a:pt x="21" y="37"/>
                      <a:pt x="26" y="36"/>
                    </a:cubicBezTo>
                    <a:cubicBezTo>
                      <a:pt x="31" y="35"/>
                      <a:pt x="34" y="32"/>
                      <a:pt x="37" y="28"/>
                    </a:cubicBezTo>
                    <a:cubicBezTo>
                      <a:pt x="39" y="23"/>
                      <a:pt x="39" y="19"/>
                      <a:pt x="37" y="14"/>
                    </a:cubicBezTo>
                    <a:cubicBezTo>
                      <a:pt x="36" y="10"/>
                      <a:pt x="32" y="6"/>
                      <a:pt x="27" y="4"/>
                    </a:cubicBezTo>
                    <a:cubicBezTo>
                      <a:pt x="22" y="1"/>
                      <a:pt x="17" y="0"/>
                      <a:pt x="13" y="1"/>
                    </a:cubicBezTo>
                    <a:cubicBezTo>
                      <a:pt x="8" y="2"/>
                      <a:pt x="4" y="5"/>
                      <a:pt x="2" y="9"/>
                    </a:cubicBezTo>
                    <a:close/>
                    <a:moveTo>
                      <a:pt x="33" y="17"/>
                    </a:moveTo>
                    <a:cubicBezTo>
                      <a:pt x="34" y="20"/>
                      <a:pt x="34" y="23"/>
                      <a:pt x="33" y="25"/>
                    </a:cubicBezTo>
                    <a:cubicBezTo>
                      <a:pt x="31" y="28"/>
                      <a:pt x="29" y="29"/>
                      <a:pt x="26" y="30"/>
                    </a:cubicBezTo>
                    <a:cubicBezTo>
                      <a:pt x="23" y="31"/>
                      <a:pt x="19" y="30"/>
                      <a:pt x="14" y="28"/>
                    </a:cubicBezTo>
                    <a:cubicBezTo>
                      <a:pt x="10" y="25"/>
                      <a:pt x="7" y="23"/>
                      <a:pt x="6" y="20"/>
                    </a:cubicBezTo>
                    <a:cubicBezTo>
                      <a:pt x="5" y="17"/>
                      <a:pt x="5" y="14"/>
                      <a:pt x="6" y="12"/>
                    </a:cubicBezTo>
                    <a:cubicBezTo>
                      <a:pt x="7" y="9"/>
                      <a:pt x="10" y="8"/>
                      <a:pt x="13" y="7"/>
                    </a:cubicBezTo>
                    <a:cubicBezTo>
                      <a:pt x="16" y="6"/>
                      <a:pt x="19" y="7"/>
                      <a:pt x="24" y="9"/>
                    </a:cubicBezTo>
                    <a:cubicBezTo>
                      <a:pt x="29" y="11"/>
                      <a:pt x="31" y="14"/>
                      <a:pt x="33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25" name="Freeform 116"/>
              <p:cNvSpPr/>
              <p:nvPr/>
            </p:nvSpPr>
            <p:spPr bwMode="auto">
              <a:xfrm>
                <a:off x="3692525" y="3751263"/>
                <a:ext cx="176213" cy="104775"/>
              </a:xfrm>
              <a:custGeom>
                <a:avLst/>
                <a:gdLst>
                  <a:gd name="T0" fmla="*/ 104 w 111"/>
                  <a:gd name="T1" fmla="*/ 66 h 66"/>
                  <a:gd name="T2" fmla="*/ 111 w 111"/>
                  <a:gd name="T3" fmla="*/ 54 h 66"/>
                  <a:gd name="T4" fmla="*/ 5 w 111"/>
                  <a:gd name="T5" fmla="*/ 0 h 66"/>
                  <a:gd name="T6" fmla="*/ 0 w 111"/>
                  <a:gd name="T7" fmla="*/ 12 h 66"/>
                  <a:gd name="T8" fmla="*/ 104 w 111"/>
                  <a:gd name="T9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66">
                    <a:moveTo>
                      <a:pt x="104" y="66"/>
                    </a:moveTo>
                    <a:lnTo>
                      <a:pt x="111" y="54"/>
                    </a:lnTo>
                    <a:lnTo>
                      <a:pt x="5" y="0"/>
                    </a:lnTo>
                    <a:lnTo>
                      <a:pt x="0" y="12"/>
                    </a:lnTo>
                    <a:lnTo>
                      <a:pt x="104" y="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26" name="Freeform 117"/>
              <p:cNvSpPr>
                <a:spLocks noEditPoints="1"/>
              </p:cNvSpPr>
              <p:nvPr/>
            </p:nvSpPr>
            <p:spPr bwMode="auto">
              <a:xfrm>
                <a:off x="3760788" y="3616326"/>
                <a:ext cx="179388" cy="176213"/>
              </a:xfrm>
              <a:custGeom>
                <a:avLst/>
                <a:gdLst>
                  <a:gd name="T0" fmla="*/ 0 w 48"/>
                  <a:gd name="T1" fmla="*/ 5 h 47"/>
                  <a:gd name="T2" fmla="*/ 16 w 48"/>
                  <a:gd name="T3" fmla="*/ 14 h 47"/>
                  <a:gd name="T4" fmla="*/ 6 w 48"/>
                  <a:gd name="T5" fmla="*/ 21 h 47"/>
                  <a:gd name="T6" fmla="*/ 6 w 48"/>
                  <a:gd name="T7" fmla="*/ 33 h 47"/>
                  <a:gd name="T8" fmla="*/ 17 w 48"/>
                  <a:gd name="T9" fmla="*/ 43 h 47"/>
                  <a:gd name="T10" fmla="*/ 31 w 48"/>
                  <a:gd name="T11" fmla="*/ 46 h 47"/>
                  <a:gd name="T12" fmla="*/ 41 w 48"/>
                  <a:gd name="T13" fmla="*/ 39 h 47"/>
                  <a:gd name="T14" fmla="*/ 40 w 48"/>
                  <a:gd name="T15" fmla="*/ 25 h 47"/>
                  <a:gd name="T16" fmla="*/ 45 w 48"/>
                  <a:gd name="T17" fmla="*/ 28 h 47"/>
                  <a:gd name="T18" fmla="*/ 48 w 48"/>
                  <a:gd name="T19" fmla="*/ 23 h 47"/>
                  <a:gd name="T20" fmla="*/ 3 w 48"/>
                  <a:gd name="T21" fmla="*/ 0 h 47"/>
                  <a:gd name="T22" fmla="*/ 0 w 48"/>
                  <a:gd name="T23" fmla="*/ 5 h 47"/>
                  <a:gd name="T24" fmla="*/ 32 w 48"/>
                  <a:gd name="T25" fmla="*/ 21 h 47"/>
                  <a:gd name="T26" fmla="*/ 37 w 48"/>
                  <a:gd name="T27" fmla="*/ 28 h 47"/>
                  <a:gd name="T28" fmla="*/ 37 w 48"/>
                  <a:gd name="T29" fmla="*/ 36 h 47"/>
                  <a:gd name="T30" fmla="*/ 30 w 48"/>
                  <a:gd name="T31" fmla="*/ 40 h 47"/>
                  <a:gd name="T32" fmla="*/ 19 w 48"/>
                  <a:gd name="T33" fmla="*/ 37 h 47"/>
                  <a:gd name="T34" fmla="*/ 11 w 48"/>
                  <a:gd name="T35" fmla="*/ 30 h 47"/>
                  <a:gd name="T36" fmla="*/ 11 w 48"/>
                  <a:gd name="T37" fmla="*/ 22 h 47"/>
                  <a:gd name="T38" fmla="*/ 16 w 48"/>
                  <a:gd name="T39" fmla="*/ 17 h 47"/>
                  <a:gd name="T40" fmla="*/ 25 w 48"/>
                  <a:gd name="T41" fmla="*/ 18 h 47"/>
                  <a:gd name="T42" fmla="*/ 32 w 48"/>
                  <a:gd name="T43" fmla="*/ 2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8" h="47">
                    <a:moveTo>
                      <a:pt x="0" y="5"/>
                    </a:moveTo>
                    <a:cubicBezTo>
                      <a:pt x="16" y="14"/>
                      <a:pt x="16" y="14"/>
                      <a:pt x="16" y="14"/>
                    </a:cubicBezTo>
                    <a:cubicBezTo>
                      <a:pt x="12" y="14"/>
                      <a:pt x="8" y="17"/>
                      <a:pt x="6" y="21"/>
                    </a:cubicBezTo>
                    <a:cubicBezTo>
                      <a:pt x="4" y="25"/>
                      <a:pt x="4" y="29"/>
                      <a:pt x="6" y="33"/>
                    </a:cubicBezTo>
                    <a:cubicBezTo>
                      <a:pt x="8" y="37"/>
                      <a:pt x="12" y="41"/>
                      <a:pt x="17" y="43"/>
                    </a:cubicBezTo>
                    <a:cubicBezTo>
                      <a:pt x="22" y="46"/>
                      <a:pt x="27" y="47"/>
                      <a:pt x="31" y="46"/>
                    </a:cubicBezTo>
                    <a:cubicBezTo>
                      <a:pt x="36" y="45"/>
                      <a:pt x="39" y="43"/>
                      <a:pt x="41" y="39"/>
                    </a:cubicBezTo>
                    <a:cubicBezTo>
                      <a:pt x="43" y="34"/>
                      <a:pt x="43" y="29"/>
                      <a:pt x="40" y="25"/>
                    </a:cubicBezTo>
                    <a:cubicBezTo>
                      <a:pt x="45" y="28"/>
                      <a:pt x="45" y="28"/>
                      <a:pt x="45" y="28"/>
                    </a:cubicBezTo>
                    <a:cubicBezTo>
                      <a:pt x="48" y="23"/>
                      <a:pt x="48" y="23"/>
                      <a:pt x="48" y="23"/>
                    </a:cubicBezTo>
                    <a:cubicBezTo>
                      <a:pt x="3" y="0"/>
                      <a:pt x="3" y="0"/>
                      <a:pt x="3" y="0"/>
                    </a:cubicBezTo>
                    <a:lnTo>
                      <a:pt x="0" y="5"/>
                    </a:lnTo>
                    <a:close/>
                    <a:moveTo>
                      <a:pt x="32" y="21"/>
                    </a:moveTo>
                    <a:cubicBezTo>
                      <a:pt x="34" y="23"/>
                      <a:pt x="36" y="25"/>
                      <a:pt x="37" y="28"/>
                    </a:cubicBezTo>
                    <a:cubicBezTo>
                      <a:pt x="38" y="31"/>
                      <a:pt x="38" y="33"/>
                      <a:pt x="37" y="36"/>
                    </a:cubicBezTo>
                    <a:cubicBezTo>
                      <a:pt x="36" y="38"/>
                      <a:pt x="33" y="40"/>
                      <a:pt x="30" y="40"/>
                    </a:cubicBezTo>
                    <a:cubicBezTo>
                      <a:pt x="27" y="40"/>
                      <a:pt x="23" y="39"/>
                      <a:pt x="19" y="37"/>
                    </a:cubicBezTo>
                    <a:cubicBezTo>
                      <a:pt x="15" y="35"/>
                      <a:pt x="12" y="33"/>
                      <a:pt x="11" y="30"/>
                    </a:cubicBezTo>
                    <a:cubicBezTo>
                      <a:pt x="9" y="27"/>
                      <a:pt x="9" y="24"/>
                      <a:pt x="11" y="22"/>
                    </a:cubicBezTo>
                    <a:cubicBezTo>
                      <a:pt x="12" y="19"/>
                      <a:pt x="14" y="18"/>
                      <a:pt x="16" y="17"/>
                    </a:cubicBezTo>
                    <a:cubicBezTo>
                      <a:pt x="19" y="16"/>
                      <a:pt x="22" y="16"/>
                      <a:pt x="25" y="18"/>
                    </a:cubicBezTo>
                    <a:lnTo>
                      <a:pt x="32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27" name="Freeform 118"/>
              <p:cNvSpPr>
                <a:spLocks noEditPoints="1"/>
              </p:cNvSpPr>
              <p:nvPr/>
            </p:nvSpPr>
            <p:spPr bwMode="auto">
              <a:xfrm>
                <a:off x="2632075" y="2312988"/>
                <a:ext cx="71438" cy="82550"/>
              </a:xfrm>
              <a:custGeom>
                <a:avLst/>
                <a:gdLst>
                  <a:gd name="T0" fmla="*/ 16 w 19"/>
                  <a:gd name="T1" fmla="*/ 3 h 22"/>
                  <a:gd name="T2" fmla="*/ 10 w 19"/>
                  <a:gd name="T3" fmla="*/ 0 h 22"/>
                  <a:gd name="T4" fmla="*/ 3 w 19"/>
                  <a:gd name="T5" fmla="*/ 3 h 22"/>
                  <a:gd name="T6" fmla="*/ 0 w 19"/>
                  <a:gd name="T7" fmla="*/ 11 h 22"/>
                  <a:gd name="T8" fmla="*/ 3 w 19"/>
                  <a:gd name="T9" fmla="*/ 19 h 22"/>
                  <a:gd name="T10" fmla="*/ 10 w 19"/>
                  <a:gd name="T11" fmla="*/ 22 h 22"/>
                  <a:gd name="T12" fmla="*/ 15 w 19"/>
                  <a:gd name="T13" fmla="*/ 20 h 22"/>
                  <a:gd name="T14" fmla="*/ 18 w 19"/>
                  <a:gd name="T15" fmla="*/ 16 h 22"/>
                  <a:gd name="T16" fmla="*/ 15 w 19"/>
                  <a:gd name="T17" fmla="*/ 15 h 22"/>
                  <a:gd name="T18" fmla="*/ 10 w 19"/>
                  <a:gd name="T19" fmla="*/ 19 h 22"/>
                  <a:gd name="T20" fmla="*/ 6 w 19"/>
                  <a:gd name="T21" fmla="*/ 18 h 22"/>
                  <a:gd name="T22" fmla="*/ 4 w 19"/>
                  <a:gd name="T23" fmla="*/ 11 h 22"/>
                  <a:gd name="T24" fmla="*/ 19 w 19"/>
                  <a:gd name="T25" fmla="*/ 11 h 22"/>
                  <a:gd name="T26" fmla="*/ 16 w 19"/>
                  <a:gd name="T27" fmla="*/ 3 h 22"/>
                  <a:gd name="T28" fmla="*/ 4 w 19"/>
                  <a:gd name="T29" fmla="*/ 9 h 22"/>
                  <a:gd name="T30" fmla="*/ 6 w 19"/>
                  <a:gd name="T31" fmla="*/ 4 h 22"/>
                  <a:gd name="T32" fmla="*/ 10 w 19"/>
                  <a:gd name="T33" fmla="*/ 2 h 22"/>
                  <a:gd name="T34" fmla="*/ 13 w 19"/>
                  <a:gd name="T35" fmla="*/ 3 h 22"/>
                  <a:gd name="T36" fmla="*/ 15 w 19"/>
                  <a:gd name="T37" fmla="*/ 6 h 22"/>
                  <a:gd name="T38" fmla="*/ 15 w 19"/>
                  <a:gd name="T39" fmla="*/ 9 h 22"/>
                  <a:gd name="T40" fmla="*/ 4 w 19"/>
                  <a:gd name="T41" fmla="*/ 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9" h="22">
                    <a:moveTo>
                      <a:pt x="16" y="3"/>
                    </a:moveTo>
                    <a:cubicBezTo>
                      <a:pt x="15" y="1"/>
                      <a:pt x="12" y="0"/>
                      <a:pt x="10" y="0"/>
                    </a:cubicBezTo>
                    <a:cubicBezTo>
                      <a:pt x="7" y="0"/>
                      <a:pt x="5" y="1"/>
                      <a:pt x="3" y="3"/>
                    </a:cubicBezTo>
                    <a:cubicBezTo>
                      <a:pt x="1" y="5"/>
                      <a:pt x="0" y="8"/>
                      <a:pt x="0" y="11"/>
                    </a:cubicBezTo>
                    <a:cubicBezTo>
                      <a:pt x="0" y="14"/>
                      <a:pt x="1" y="17"/>
                      <a:pt x="3" y="19"/>
                    </a:cubicBezTo>
                    <a:cubicBezTo>
                      <a:pt x="4" y="21"/>
                      <a:pt x="7" y="22"/>
                      <a:pt x="10" y="22"/>
                    </a:cubicBezTo>
                    <a:cubicBezTo>
                      <a:pt x="12" y="22"/>
                      <a:pt x="14" y="21"/>
                      <a:pt x="15" y="20"/>
                    </a:cubicBezTo>
                    <a:cubicBezTo>
                      <a:pt x="17" y="19"/>
                      <a:pt x="18" y="18"/>
                      <a:pt x="18" y="16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4" y="18"/>
                      <a:pt x="12" y="19"/>
                      <a:pt x="10" y="19"/>
                    </a:cubicBezTo>
                    <a:cubicBezTo>
                      <a:pt x="8" y="19"/>
                      <a:pt x="7" y="19"/>
                      <a:pt x="6" y="18"/>
                    </a:cubicBezTo>
                    <a:cubicBezTo>
                      <a:pt x="4" y="16"/>
                      <a:pt x="4" y="14"/>
                      <a:pt x="4" y="11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7"/>
                      <a:pt x="18" y="5"/>
                      <a:pt x="16" y="3"/>
                    </a:cubicBezTo>
                    <a:close/>
                    <a:moveTo>
                      <a:pt x="4" y="9"/>
                    </a:moveTo>
                    <a:cubicBezTo>
                      <a:pt x="4" y="7"/>
                      <a:pt x="4" y="5"/>
                      <a:pt x="6" y="4"/>
                    </a:cubicBezTo>
                    <a:cubicBezTo>
                      <a:pt x="7" y="3"/>
                      <a:pt x="8" y="2"/>
                      <a:pt x="10" y="2"/>
                    </a:cubicBezTo>
                    <a:cubicBezTo>
                      <a:pt x="11" y="2"/>
                      <a:pt x="12" y="3"/>
                      <a:pt x="13" y="3"/>
                    </a:cubicBezTo>
                    <a:cubicBezTo>
                      <a:pt x="14" y="4"/>
                      <a:pt x="14" y="5"/>
                      <a:pt x="15" y="6"/>
                    </a:cubicBezTo>
                    <a:cubicBezTo>
                      <a:pt x="15" y="7"/>
                      <a:pt x="15" y="8"/>
                      <a:pt x="15" y="9"/>
                    </a:cubicBezTo>
                    <a:lnTo>
                      <a:pt x="4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28" name="Freeform 119"/>
              <p:cNvSpPr/>
              <p:nvPr/>
            </p:nvSpPr>
            <p:spPr bwMode="auto">
              <a:xfrm>
                <a:off x="2708275" y="2312988"/>
                <a:ext cx="63500" cy="77788"/>
              </a:xfrm>
              <a:custGeom>
                <a:avLst/>
                <a:gdLst>
                  <a:gd name="T0" fmla="*/ 38 w 40"/>
                  <a:gd name="T1" fmla="*/ 0 h 49"/>
                  <a:gd name="T2" fmla="*/ 30 w 40"/>
                  <a:gd name="T3" fmla="*/ 0 h 49"/>
                  <a:gd name="T4" fmla="*/ 21 w 40"/>
                  <a:gd name="T5" fmla="*/ 18 h 49"/>
                  <a:gd name="T6" fmla="*/ 9 w 40"/>
                  <a:gd name="T7" fmla="*/ 0 h 49"/>
                  <a:gd name="T8" fmla="*/ 0 w 40"/>
                  <a:gd name="T9" fmla="*/ 0 h 49"/>
                  <a:gd name="T10" fmla="*/ 16 w 40"/>
                  <a:gd name="T11" fmla="*/ 23 h 49"/>
                  <a:gd name="T12" fmla="*/ 0 w 40"/>
                  <a:gd name="T13" fmla="*/ 49 h 49"/>
                  <a:gd name="T14" fmla="*/ 7 w 40"/>
                  <a:gd name="T15" fmla="*/ 49 h 49"/>
                  <a:gd name="T16" fmla="*/ 19 w 40"/>
                  <a:gd name="T17" fmla="*/ 30 h 49"/>
                  <a:gd name="T18" fmla="*/ 33 w 40"/>
                  <a:gd name="T19" fmla="*/ 49 h 49"/>
                  <a:gd name="T20" fmla="*/ 40 w 40"/>
                  <a:gd name="T21" fmla="*/ 49 h 49"/>
                  <a:gd name="T22" fmla="*/ 23 w 40"/>
                  <a:gd name="T23" fmla="*/ 23 h 49"/>
                  <a:gd name="T24" fmla="*/ 38 w 40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0" h="49">
                    <a:moveTo>
                      <a:pt x="38" y="0"/>
                    </a:moveTo>
                    <a:lnTo>
                      <a:pt x="30" y="0"/>
                    </a:lnTo>
                    <a:lnTo>
                      <a:pt x="21" y="18"/>
                    </a:lnTo>
                    <a:lnTo>
                      <a:pt x="9" y="0"/>
                    </a:lnTo>
                    <a:lnTo>
                      <a:pt x="0" y="0"/>
                    </a:lnTo>
                    <a:lnTo>
                      <a:pt x="16" y="23"/>
                    </a:lnTo>
                    <a:lnTo>
                      <a:pt x="0" y="49"/>
                    </a:lnTo>
                    <a:lnTo>
                      <a:pt x="7" y="49"/>
                    </a:lnTo>
                    <a:lnTo>
                      <a:pt x="19" y="30"/>
                    </a:lnTo>
                    <a:lnTo>
                      <a:pt x="33" y="49"/>
                    </a:lnTo>
                    <a:lnTo>
                      <a:pt x="40" y="49"/>
                    </a:lnTo>
                    <a:lnTo>
                      <a:pt x="23" y="23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29" name="Freeform 120"/>
              <p:cNvSpPr/>
              <p:nvPr/>
            </p:nvSpPr>
            <p:spPr bwMode="auto">
              <a:xfrm>
                <a:off x="2774950" y="2312988"/>
                <a:ext cx="65088" cy="82550"/>
              </a:xfrm>
              <a:custGeom>
                <a:avLst/>
                <a:gdLst>
                  <a:gd name="T0" fmla="*/ 9 w 17"/>
                  <a:gd name="T1" fmla="*/ 3 h 22"/>
                  <a:gd name="T2" fmla="*/ 14 w 17"/>
                  <a:gd name="T3" fmla="*/ 8 h 22"/>
                  <a:gd name="T4" fmla="*/ 17 w 17"/>
                  <a:gd name="T5" fmla="*/ 7 h 22"/>
                  <a:gd name="T6" fmla="*/ 15 w 17"/>
                  <a:gd name="T7" fmla="*/ 2 h 22"/>
                  <a:gd name="T8" fmla="*/ 9 w 17"/>
                  <a:gd name="T9" fmla="*/ 0 h 22"/>
                  <a:gd name="T10" fmla="*/ 3 w 17"/>
                  <a:gd name="T11" fmla="*/ 3 h 22"/>
                  <a:gd name="T12" fmla="*/ 0 w 17"/>
                  <a:gd name="T13" fmla="*/ 11 h 22"/>
                  <a:gd name="T14" fmla="*/ 3 w 17"/>
                  <a:gd name="T15" fmla="*/ 19 h 22"/>
                  <a:gd name="T16" fmla="*/ 9 w 17"/>
                  <a:gd name="T17" fmla="*/ 22 h 22"/>
                  <a:gd name="T18" fmla="*/ 15 w 17"/>
                  <a:gd name="T19" fmla="*/ 20 h 22"/>
                  <a:gd name="T20" fmla="*/ 17 w 17"/>
                  <a:gd name="T21" fmla="*/ 15 h 22"/>
                  <a:gd name="T22" fmla="*/ 14 w 17"/>
                  <a:gd name="T23" fmla="*/ 14 h 22"/>
                  <a:gd name="T24" fmla="*/ 9 w 17"/>
                  <a:gd name="T25" fmla="*/ 19 h 22"/>
                  <a:gd name="T26" fmla="*/ 5 w 17"/>
                  <a:gd name="T27" fmla="*/ 17 h 22"/>
                  <a:gd name="T28" fmla="*/ 4 w 17"/>
                  <a:gd name="T29" fmla="*/ 11 h 22"/>
                  <a:gd name="T30" fmla="*/ 5 w 17"/>
                  <a:gd name="T31" fmla="*/ 5 h 22"/>
                  <a:gd name="T32" fmla="*/ 9 w 17"/>
                  <a:gd name="T33" fmla="*/ 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" h="22">
                    <a:moveTo>
                      <a:pt x="9" y="3"/>
                    </a:moveTo>
                    <a:cubicBezTo>
                      <a:pt x="12" y="3"/>
                      <a:pt x="14" y="4"/>
                      <a:pt x="14" y="8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5"/>
                      <a:pt x="16" y="3"/>
                      <a:pt x="15" y="2"/>
                    </a:cubicBezTo>
                    <a:cubicBezTo>
                      <a:pt x="13" y="1"/>
                      <a:pt x="12" y="0"/>
                      <a:pt x="9" y="0"/>
                    </a:cubicBezTo>
                    <a:cubicBezTo>
                      <a:pt x="7" y="0"/>
                      <a:pt x="4" y="1"/>
                      <a:pt x="3" y="3"/>
                    </a:cubicBezTo>
                    <a:cubicBezTo>
                      <a:pt x="1" y="5"/>
                      <a:pt x="0" y="8"/>
                      <a:pt x="0" y="11"/>
                    </a:cubicBezTo>
                    <a:cubicBezTo>
                      <a:pt x="0" y="14"/>
                      <a:pt x="1" y="17"/>
                      <a:pt x="3" y="19"/>
                    </a:cubicBezTo>
                    <a:cubicBezTo>
                      <a:pt x="4" y="21"/>
                      <a:pt x="6" y="22"/>
                      <a:pt x="9" y="22"/>
                    </a:cubicBezTo>
                    <a:cubicBezTo>
                      <a:pt x="11" y="22"/>
                      <a:pt x="13" y="21"/>
                      <a:pt x="15" y="20"/>
                    </a:cubicBezTo>
                    <a:cubicBezTo>
                      <a:pt x="16" y="19"/>
                      <a:pt x="17" y="17"/>
                      <a:pt x="17" y="15"/>
                    </a:cubicBezTo>
                    <a:cubicBezTo>
                      <a:pt x="14" y="14"/>
                      <a:pt x="14" y="14"/>
                      <a:pt x="14" y="14"/>
                    </a:cubicBezTo>
                    <a:cubicBezTo>
                      <a:pt x="14" y="17"/>
                      <a:pt x="12" y="19"/>
                      <a:pt x="9" y="19"/>
                    </a:cubicBezTo>
                    <a:cubicBezTo>
                      <a:pt x="8" y="19"/>
                      <a:pt x="6" y="18"/>
                      <a:pt x="5" y="17"/>
                    </a:cubicBezTo>
                    <a:cubicBezTo>
                      <a:pt x="4" y="16"/>
                      <a:pt x="4" y="13"/>
                      <a:pt x="4" y="11"/>
                    </a:cubicBezTo>
                    <a:cubicBezTo>
                      <a:pt x="4" y="8"/>
                      <a:pt x="4" y="6"/>
                      <a:pt x="5" y="5"/>
                    </a:cubicBezTo>
                    <a:cubicBezTo>
                      <a:pt x="6" y="3"/>
                      <a:pt x="8" y="3"/>
                      <a:pt x="9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30" name="Freeform 121"/>
              <p:cNvSpPr/>
              <p:nvPr/>
            </p:nvSpPr>
            <p:spPr bwMode="auto">
              <a:xfrm>
                <a:off x="2857500" y="2286001"/>
                <a:ext cx="60325" cy="104775"/>
              </a:xfrm>
              <a:custGeom>
                <a:avLst/>
                <a:gdLst>
                  <a:gd name="T0" fmla="*/ 15 w 16"/>
                  <a:gd name="T1" fmla="*/ 10 h 28"/>
                  <a:gd name="T2" fmla="*/ 13 w 16"/>
                  <a:gd name="T3" fmla="*/ 8 h 28"/>
                  <a:gd name="T4" fmla="*/ 9 w 16"/>
                  <a:gd name="T5" fmla="*/ 7 h 28"/>
                  <a:gd name="T6" fmla="*/ 3 w 16"/>
                  <a:gd name="T7" fmla="*/ 11 h 28"/>
                  <a:gd name="T8" fmla="*/ 3 w 16"/>
                  <a:gd name="T9" fmla="*/ 0 h 28"/>
                  <a:gd name="T10" fmla="*/ 0 w 16"/>
                  <a:gd name="T11" fmla="*/ 0 h 28"/>
                  <a:gd name="T12" fmla="*/ 0 w 16"/>
                  <a:gd name="T13" fmla="*/ 28 h 28"/>
                  <a:gd name="T14" fmla="*/ 3 w 16"/>
                  <a:gd name="T15" fmla="*/ 28 h 28"/>
                  <a:gd name="T16" fmla="*/ 3 w 16"/>
                  <a:gd name="T17" fmla="*/ 17 h 28"/>
                  <a:gd name="T18" fmla="*/ 5 w 16"/>
                  <a:gd name="T19" fmla="*/ 12 h 28"/>
                  <a:gd name="T20" fmla="*/ 9 w 16"/>
                  <a:gd name="T21" fmla="*/ 10 h 28"/>
                  <a:gd name="T22" fmla="*/ 11 w 16"/>
                  <a:gd name="T23" fmla="*/ 10 h 28"/>
                  <a:gd name="T24" fmla="*/ 13 w 16"/>
                  <a:gd name="T25" fmla="*/ 12 h 28"/>
                  <a:gd name="T26" fmla="*/ 13 w 16"/>
                  <a:gd name="T27" fmla="*/ 16 h 28"/>
                  <a:gd name="T28" fmla="*/ 13 w 16"/>
                  <a:gd name="T29" fmla="*/ 28 h 28"/>
                  <a:gd name="T30" fmla="*/ 16 w 16"/>
                  <a:gd name="T31" fmla="*/ 28 h 28"/>
                  <a:gd name="T32" fmla="*/ 16 w 16"/>
                  <a:gd name="T33" fmla="*/ 16 h 28"/>
                  <a:gd name="T34" fmla="*/ 16 w 16"/>
                  <a:gd name="T35" fmla="*/ 12 h 28"/>
                  <a:gd name="T36" fmla="*/ 15 w 16"/>
                  <a:gd name="T37" fmla="*/ 1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6" h="28">
                    <a:moveTo>
                      <a:pt x="15" y="10"/>
                    </a:moveTo>
                    <a:cubicBezTo>
                      <a:pt x="14" y="9"/>
                      <a:pt x="14" y="8"/>
                      <a:pt x="13" y="8"/>
                    </a:cubicBezTo>
                    <a:cubicBezTo>
                      <a:pt x="12" y="7"/>
                      <a:pt x="11" y="7"/>
                      <a:pt x="9" y="7"/>
                    </a:cubicBezTo>
                    <a:cubicBezTo>
                      <a:pt x="7" y="7"/>
                      <a:pt x="5" y="8"/>
                      <a:pt x="3" y="1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3" y="28"/>
                      <a:pt x="3" y="28"/>
                      <a:pt x="3" y="28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3" y="15"/>
                      <a:pt x="4" y="13"/>
                      <a:pt x="5" y="12"/>
                    </a:cubicBezTo>
                    <a:cubicBezTo>
                      <a:pt x="6" y="10"/>
                      <a:pt x="7" y="10"/>
                      <a:pt x="9" y="10"/>
                    </a:cubicBezTo>
                    <a:cubicBezTo>
                      <a:pt x="10" y="10"/>
                      <a:pt x="11" y="10"/>
                      <a:pt x="11" y="10"/>
                    </a:cubicBezTo>
                    <a:cubicBezTo>
                      <a:pt x="12" y="11"/>
                      <a:pt x="12" y="12"/>
                      <a:pt x="13" y="12"/>
                    </a:cubicBezTo>
                    <a:cubicBezTo>
                      <a:pt x="13" y="13"/>
                      <a:pt x="13" y="14"/>
                      <a:pt x="13" y="16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6" y="14"/>
                      <a:pt x="16" y="13"/>
                      <a:pt x="16" y="12"/>
                    </a:cubicBezTo>
                    <a:cubicBezTo>
                      <a:pt x="16" y="11"/>
                      <a:pt x="15" y="10"/>
                      <a:pt x="15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31" name="Freeform 122"/>
              <p:cNvSpPr>
                <a:spLocks noEditPoints="1"/>
              </p:cNvSpPr>
              <p:nvPr/>
            </p:nvSpPr>
            <p:spPr bwMode="auto">
              <a:xfrm>
                <a:off x="2936875" y="2312988"/>
                <a:ext cx="68263" cy="82550"/>
              </a:xfrm>
              <a:custGeom>
                <a:avLst/>
                <a:gdLst>
                  <a:gd name="T0" fmla="*/ 17 w 18"/>
                  <a:gd name="T1" fmla="*/ 8 h 22"/>
                  <a:gd name="T2" fmla="*/ 16 w 18"/>
                  <a:gd name="T3" fmla="*/ 2 h 22"/>
                  <a:gd name="T4" fmla="*/ 10 w 18"/>
                  <a:gd name="T5" fmla="*/ 0 h 22"/>
                  <a:gd name="T6" fmla="*/ 0 w 18"/>
                  <a:gd name="T7" fmla="*/ 6 h 22"/>
                  <a:gd name="T8" fmla="*/ 3 w 18"/>
                  <a:gd name="T9" fmla="*/ 6 h 22"/>
                  <a:gd name="T10" fmla="*/ 9 w 18"/>
                  <a:gd name="T11" fmla="*/ 2 h 22"/>
                  <a:gd name="T12" fmla="*/ 12 w 18"/>
                  <a:gd name="T13" fmla="*/ 3 h 22"/>
                  <a:gd name="T14" fmla="*/ 14 w 18"/>
                  <a:gd name="T15" fmla="*/ 5 h 22"/>
                  <a:gd name="T16" fmla="*/ 14 w 18"/>
                  <a:gd name="T17" fmla="*/ 8 h 22"/>
                  <a:gd name="T18" fmla="*/ 12 w 18"/>
                  <a:gd name="T19" fmla="*/ 8 h 22"/>
                  <a:gd name="T20" fmla="*/ 2 w 18"/>
                  <a:gd name="T21" fmla="*/ 10 h 22"/>
                  <a:gd name="T22" fmla="*/ 0 w 18"/>
                  <a:gd name="T23" fmla="*/ 16 h 22"/>
                  <a:gd name="T24" fmla="*/ 2 w 18"/>
                  <a:gd name="T25" fmla="*/ 20 h 22"/>
                  <a:gd name="T26" fmla="*/ 7 w 18"/>
                  <a:gd name="T27" fmla="*/ 22 h 22"/>
                  <a:gd name="T28" fmla="*/ 14 w 18"/>
                  <a:gd name="T29" fmla="*/ 18 h 22"/>
                  <a:gd name="T30" fmla="*/ 15 w 18"/>
                  <a:gd name="T31" fmla="*/ 21 h 22"/>
                  <a:gd name="T32" fmla="*/ 18 w 18"/>
                  <a:gd name="T33" fmla="*/ 21 h 22"/>
                  <a:gd name="T34" fmla="*/ 17 w 18"/>
                  <a:gd name="T35" fmla="*/ 17 h 22"/>
                  <a:gd name="T36" fmla="*/ 17 w 18"/>
                  <a:gd name="T37" fmla="*/ 8 h 22"/>
                  <a:gd name="T38" fmla="*/ 13 w 18"/>
                  <a:gd name="T39" fmla="*/ 17 h 22"/>
                  <a:gd name="T40" fmla="*/ 8 w 18"/>
                  <a:gd name="T41" fmla="*/ 19 h 22"/>
                  <a:gd name="T42" fmla="*/ 4 w 18"/>
                  <a:gd name="T43" fmla="*/ 18 h 22"/>
                  <a:gd name="T44" fmla="*/ 3 w 18"/>
                  <a:gd name="T45" fmla="*/ 16 h 22"/>
                  <a:gd name="T46" fmla="*/ 5 w 18"/>
                  <a:gd name="T47" fmla="*/ 12 h 22"/>
                  <a:gd name="T48" fmla="*/ 11 w 18"/>
                  <a:gd name="T49" fmla="*/ 11 h 22"/>
                  <a:gd name="T50" fmla="*/ 14 w 18"/>
                  <a:gd name="T51" fmla="*/ 11 h 22"/>
                  <a:gd name="T52" fmla="*/ 14 w 18"/>
                  <a:gd name="T53" fmla="*/ 12 h 22"/>
                  <a:gd name="T54" fmla="*/ 13 w 18"/>
                  <a:gd name="T55" fmla="*/ 17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8" h="22">
                    <a:moveTo>
                      <a:pt x="17" y="8"/>
                    </a:moveTo>
                    <a:cubicBezTo>
                      <a:pt x="17" y="5"/>
                      <a:pt x="17" y="3"/>
                      <a:pt x="16" y="2"/>
                    </a:cubicBezTo>
                    <a:cubicBezTo>
                      <a:pt x="14" y="1"/>
                      <a:pt x="12" y="0"/>
                      <a:pt x="10" y="0"/>
                    </a:cubicBezTo>
                    <a:cubicBezTo>
                      <a:pt x="4" y="0"/>
                      <a:pt x="1" y="2"/>
                      <a:pt x="0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4" y="4"/>
                      <a:pt x="6" y="2"/>
                      <a:pt x="9" y="2"/>
                    </a:cubicBezTo>
                    <a:cubicBezTo>
                      <a:pt x="10" y="2"/>
                      <a:pt x="12" y="3"/>
                      <a:pt x="12" y="3"/>
                    </a:cubicBezTo>
                    <a:cubicBezTo>
                      <a:pt x="13" y="4"/>
                      <a:pt x="14" y="4"/>
                      <a:pt x="14" y="5"/>
                    </a:cubicBezTo>
                    <a:cubicBezTo>
                      <a:pt x="14" y="6"/>
                      <a:pt x="14" y="7"/>
                      <a:pt x="14" y="8"/>
                    </a:cubicBezTo>
                    <a:cubicBezTo>
                      <a:pt x="13" y="8"/>
                      <a:pt x="12" y="8"/>
                      <a:pt x="12" y="8"/>
                    </a:cubicBezTo>
                    <a:cubicBezTo>
                      <a:pt x="7" y="8"/>
                      <a:pt x="4" y="9"/>
                      <a:pt x="2" y="10"/>
                    </a:cubicBezTo>
                    <a:cubicBezTo>
                      <a:pt x="1" y="12"/>
                      <a:pt x="0" y="13"/>
                      <a:pt x="0" y="16"/>
                    </a:cubicBezTo>
                    <a:cubicBezTo>
                      <a:pt x="0" y="17"/>
                      <a:pt x="0" y="19"/>
                      <a:pt x="2" y="20"/>
                    </a:cubicBezTo>
                    <a:cubicBezTo>
                      <a:pt x="3" y="21"/>
                      <a:pt x="5" y="22"/>
                      <a:pt x="7" y="22"/>
                    </a:cubicBezTo>
                    <a:cubicBezTo>
                      <a:pt x="10" y="22"/>
                      <a:pt x="13" y="20"/>
                      <a:pt x="14" y="18"/>
                    </a:cubicBezTo>
                    <a:cubicBezTo>
                      <a:pt x="14" y="19"/>
                      <a:pt x="15" y="21"/>
                      <a:pt x="15" y="21"/>
                    </a:cubicBezTo>
                    <a:cubicBezTo>
                      <a:pt x="18" y="21"/>
                      <a:pt x="18" y="21"/>
                      <a:pt x="18" y="21"/>
                    </a:cubicBezTo>
                    <a:cubicBezTo>
                      <a:pt x="18" y="20"/>
                      <a:pt x="17" y="19"/>
                      <a:pt x="17" y="17"/>
                    </a:cubicBezTo>
                    <a:lnTo>
                      <a:pt x="17" y="8"/>
                    </a:lnTo>
                    <a:close/>
                    <a:moveTo>
                      <a:pt x="13" y="17"/>
                    </a:moveTo>
                    <a:cubicBezTo>
                      <a:pt x="11" y="19"/>
                      <a:pt x="10" y="19"/>
                      <a:pt x="8" y="19"/>
                    </a:cubicBezTo>
                    <a:cubicBezTo>
                      <a:pt x="6" y="19"/>
                      <a:pt x="5" y="19"/>
                      <a:pt x="4" y="18"/>
                    </a:cubicBezTo>
                    <a:cubicBezTo>
                      <a:pt x="4" y="18"/>
                      <a:pt x="3" y="17"/>
                      <a:pt x="3" y="16"/>
                    </a:cubicBezTo>
                    <a:cubicBezTo>
                      <a:pt x="3" y="14"/>
                      <a:pt x="4" y="13"/>
                      <a:pt x="5" y="12"/>
                    </a:cubicBezTo>
                    <a:cubicBezTo>
                      <a:pt x="7" y="11"/>
                      <a:pt x="9" y="11"/>
                      <a:pt x="11" y="11"/>
                    </a:cubicBezTo>
                    <a:cubicBezTo>
                      <a:pt x="12" y="11"/>
                      <a:pt x="13" y="11"/>
                      <a:pt x="14" y="11"/>
                    </a:cubicBezTo>
                    <a:cubicBezTo>
                      <a:pt x="14" y="11"/>
                      <a:pt x="14" y="12"/>
                      <a:pt x="14" y="12"/>
                    </a:cubicBezTo>
                    <a:cubicBezTo>
                      <a:pt x="14" y="14"/>
                      <a:pt x="14" y="16"/>
                      <a:pt x="13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32" name="Freeform 123"/>
              <p:cNvSpPr/>
              <p:nvPr/>
            </p:nvSpPr>
            <p:spPr bwMode="auto">
              <a:xfrm>
                <a:off x="3027363" y="2312988"/>
                <a:ext cx="60325" cy="77788"/>
              </a:xfrm>
              <a:custGeom>
                <a:avLst/>
                <a:gdLst>
                  <a:gd name="T0" fmla="*/ 14 w 16"/>
                  <a:gd name="T1" fmla="*/ 1 h 21"/>
                  <a:gd name="T2" fmla="*/ 10 w 16"/>
                  <a:gd name="T3" fmla="*/ 0 h 21"/>
                  <a:gd name="T4" fmla="*/ 3 w 16"/>
                  <a:gd name="T5" fmla="*/ 4 h 21"/>
                  <a:gd name="T6" fmla="*/ 3 w 16"/>
                  <a:gd name="T7" fmla="*/ 0 h 21"/>
                  <a:gd name="T8" fmla="*/ 0 w 16"/>
                  <a:gd name="T9" fmla="*/ 0 h 21"/>
                  <a:gd name="T10" fmla="*/ 0 w 16"/>
                  <a:gd name="T11" fmla="*/ 21 h 21"/>
                  <a:gd name="T12" fmla="*/ 3 w 16"/>
                  <a:gd name="T13" fmla="*/ 21 h 21"/>
                  <a:gd name="T14" fmla="*/ 3 w 16"/>
                  <a:gd name="T15" fmla="*/ 10 h 21"/>
                  <a:gd name="T16" fmla="*/ 5 w 16"/>
                  <a:gd name="T17" fmla="*/ 5 h 21"/>
                  <a:gd name="T18" fmla="*/ 9 w 16"/>
                  <a:gd name="T19" fmla="*/ 3 h 21"/>
                  <a:gd name="T20" fmla="*/ 12 w 16"/>
                  <a:gd name="T21" fmla="*/ 4 h 21"/>
                  <a:gd name="T22" fmla="*/ 13 w 16"/>
                  <a:gd name="T23" fmla="*/ 8 h 21"/>
                  <a:gd name="T24" fmla="*/ 13 w 16"/>
                  <a:gd name="T25" fmla="*/ 21 h 21"/>
                  <a:gd name="T26" fmla="*/ 16 w 16"/>
                  <a:gd name="T27" fmla="*/ 21 h 21"/>
                  <a:gd name="T28" fmla="*/ 16 w 16"/>
                  <a:gd name="T29" fmla="*/ 9 h 21"/>
                  <a:gd name="T30" fmla="*/ 16 w 16"/>
                  <a:gd name="T31" fmla="*/ 4 h 21"/>
                  <a:gd name="T32" fmla="*/ 14 w 16"/>
                  <a:gd name="T33" fmla="*/ 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" h="21">
                    <a:moveTo>
                      <a:pt x="14" y="1"/>
                    </a:moveTo>
                    <a:cubicBezTo>
                      <a:pt x="12" y="0"/>
                      <a:pt x="11" y="0"/>
                      <a:pt x="10" y="0"/>
                    </a:cubicBezTo>
                    <a:cubicBezTo>
                      <a:pt x="7" y="0"/>
                      <a:pt x="5" y="1"/>
                      <a:pt x="3" y="4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8"/>
                      <a:pt x="4" y="6"/>
                      <a:pt x="5" y="5"/>
                    </a:cubicBezTo>
                    <a:cubicBezTo>
                      <a:pt x="6" y="3"/>
                      <a:pt x="7" y="3"/>
                      <a:pt x="9" y="3"/>
                    </a:cubicBezTo>
                    <a:cubicBezTo>
                      <a:pt x="10" y="3"/>
                      <a:pt x="11" y="3"/>
                      <a:pt x="12" y="4"/>
                    </a:cubicBezTo>
                    <a:cubicBezTo>
                      <a:pt x="13" y="5"/>
                      <a:pt x="13" y="6"/>
                      <a:pt x="13" y="8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6" y="7"/>
                      <a:pt x="16" y="5"/>
                      <a:pt x="16" y="4"/>
                    </a:cubicBezTo>
                    <a:cubicBezTo>
                      <a:pt x="15" y="3"/>
                      <a:pt x="15" y="2"/>
                      <a:pt x="1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33" name="Freeform 124"/>
              <p:cNvSpPr>
                <a:spLocks noEditPoints="1"/>
              </p:cNvSpPr>
              <p:nvPr/>
            </p:nvSpPr>
            <p:spPr bwMode="auto">
              <a:xfrm>
                <a:off x="3106738" y="2300288"/>
                <a:ext cx="74613" cy="120650"/>
              </a:xfrm>
              <a:custGeom>
                <a:avLst/>
                <a:gdLst>
                  <a:gd name="T0" fmla="*/ 16 w 20"/>
                  <a:gd name="T1" fmla="*/ 21 h 32"/>
                  <a:gd name="T2" fmla="*/ 10 w 20"/>
                  <a:gd name="T3" fmla="*/ 21 h 32"/>
                  <a:gd name="T4" fmla="*/ 5 w 20"/>
                  <a:gd name="T5" fmla="*/ 20 h 32"/>
                  <a:gd name="T6" fmla="*/ 4 w 20"/>
                  <a:gd name="T7" fmla="*/ 19 h 32"/>
                  <a:gd name="T8" fmla="*/ 5 w 20"/>
                  <a:gd name="T9" fmla="*/ 17 h 32"/>
                  <a:gd name="T10" fmla="*/ 6 w 20"/>
                  <a:gd name="T11" fmla="*/ 17 h 32"/>
                  <a:gd name="T12" fmla="*/ 7 w 20"/>
                  <a:gd name="T13" fmla="*/ 17 h 32"/>
                  <a:gd name="T14" fmla="*/ 9 w 20"/>
                  <a:gd name="T15" fmla="*/ 17 h 32"/>
                  <a:gd name="T16" fmla="*/ 15 w 20"/>
                  <a:gd name="T17" fmla="*/ 15 h 32"/>
                  <a:gd name="T18" fmla="*/ 17 w 20"/>
                  <a:gd name="T19" fmla="*/ 10 h 32"/>
                  <a:gd name="T20" fmla="*/ 15 w 20"/>
                  <a:gd name="T21" fmla="*/ 5 h 32"/>
                  <a:gd name="T22" fmla="*/ 16 w 20"/>
                  <a:gd name="T23" fmla="*/ 3 h 32"/>
                  <a:gd name="T24" fmla="*/ 19 w 20"/>
                  <a:gd name="T25" fmla="*/ 3 h 32"/>
                  <a:gd name="T26" fmla="*/ 19 w 20"/>
                  <a:gd name="T27" fmla="*/ 0 h 32"/>
                  <a:gd name="T28" fmla="*/ 18 w 20"/>
                  <a:gd name="T29" fmla="*/ 0 h 32"/>
                  <a:gd name="T30" fmla="*/ 15 w 20"/>
                  <a:gd name="T31" fmla="*/ 1 h 32"/>
                  <a:gd name="T32" fmla="*/ 13 w 20"/>
                  <a:gd name="T33" fmla="*/ 4 h 32"/>
                  <a:gd name="T34" fmla="*/ 9 w 20"/>
                  <a:gd name="T35" fmla="*/ 3 h 32"/>
                  <a:gd name="T36" fmla="*/ 3 w 20"/>
                  <a:gd name="T37" fmla="*/ 5 h 32"/>
                  <a:gd name="T38" fmla="*/ 1 w 20"/>
                  <a:gd name="T39" fmla="*/ 10 h 32"/>
                  <a:gd name="T40" fmla="*/ 4 w 20"/>
                  <a:gd name="T41" fmla="*/ 15 h 32"/>
                  <a:gd name="T42" fmla="*/ 1 w 20"/>
                  <a:gd name="T43" fmla="*/ 19 h 32"/>
                  <a:gd name="T44" fmla="*/ 3 w 20"/>
                  <a:gd name="T45" fmla="*/ 23 h 32"/>
                  <a:gd name="T46" fmla="*/ 0 w 20"/>
                  <a:gd name="T47" fmla="*/ 27 h 32"/>
                  <a:gd name="T48" fmla="*/ 2 w 20"/>
                  <a:gd name="T49" fmla="*/ 31 h 32"/>
                  <a:gd name="T50" fmla="*/ 9 w 20"/>
                  <a:gd name="T51" fmla="*/ 32 h 32"/>
                  <a:gd name="T52" fmla="*/ 20 w 20"/>
                  <a:gd name="T53" fmla="*/ 26 h 32"/>
                  <a:gd name="T54" fmla="*/ 19 w 20"/>
                  <a:gd name="T55" fmla="*/ 23 h 32"/>
                  <a:gd name="T56" fmla="*/ 16 w 20"/>
                  <a:gd name="T57" fmla="*/ 21 h 32"/>
                  <a:gd name="T58" fmla="*/ 6 w 20"/>
                  <a:gd name="T59" fmla="*/ 7 h 32"/>
                  <a:gd name="T60" fmla="*/ 9 w 20"/>
                  <a:gd name="T61" fmla="*/ 5 h 32"/>
                  <a:gd name="T62" fmla="*/ 12 w 20"/>
                  <a:gd name="T63" fmla="*/ 7 h 32"/>
                  <a:gd name="T64" fmla="*/ 14 w 20"/>
                  <a:gd name="T65" fmla="*/ 10 h 32"/>
                  <a:gd name="T66" fmla="*/ 12 w 20"/>
                  <a:gd name="T67" fmla="*/ 13 h 32"/>
                  <a:gd name="T68" fmla="*/ 9 w 20"/>
                  <a:gd name="T69" fmla="*/ 15 h 32"/>
                  <a:gd name="T70" fmla="*/ 6 w 20"/>
                  <a:gd name="T71" fmla="*/ 13 h 32"/>
                  <a:gd name="T72" fmla="*/ 4 w 20"/>
                  <a:gd name="T73" fmla="*/ 10 h 32"/>
                  <a:gd name="T74" fmla="*/ 6 w 20"/>
                  <a:gd name="T75" fmla="*/ 7 h 32"/>
                  <a:gd name="T76" fmla="*/ 14 w 20"/>
                  <a:gd name="T77" fmla="*/ 29 h 32"/>
                  <a:gd name="T78" fmla="*/ 9 w 20"/>
                  <a:gd name="T79" fmla="*/ 30 h 32"/>
                  <a:gd name="T80" fmla="*/ 5 w 20"/>
                  <a:gd name="T81" fmla="*/ 29 h 32"/>
                  <a:gd name="T82" fmla="*/ 3 w 20"/>
                  <a:gd name="T83" fmla="*/ 26 h 32"/>
                  <a:gd name="T84" fmla="*/ 5 w 20"/>
                  <a:gd name="T85" fmla="*/ 23 h 32"/>
                  <a:gd name="T86" fmla="*/ 10 w 20"/>
                  <a:gd name="T87" fmla="*/ 24 h 32"/>
                  <a:gd name="T88" fmla="*/ 14 w 20"/>
                  <a:gd name="T89" fmla="*/ 24 h 32"/>
                  <a:gd name="T90" fmla="*/ 16 w 20"/>
                  <a:gd name="T91" fmla="*/ 25 h 32"/>
                  <a:gd name="T92" fmla="*/ 17 w 20"/>
                  <a:gd name="T93" fmla="*/ 26 h 32"/>
                  <a:gd name="T94" fmla="*/ 14 w 20"/>
                  <a:gd name="T95" fmla="*/ 2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" h="32">
                    <a:moveTo>
                      <a:pt x="16" y="21"/>
                    </a:moveTo>
                    <a:cubicBezTo>
                      <a:pt x="15" y="21"/>
                      <a:pt x="13" y="21"/>
                      <a:pt x="10" y="21"/>
                    </a:cubicBezTo>
                    <a:cubicBezTo>
                      <a:pt x="8" y="21"/>
                      <a:pt x="6" y="21"/>
                      <a:pt x="5" y="20"/>
                    </a:cubicBezTo>
                    <a:cubicBezTo>
                      <a:pt x="4" y="20"/>
                      <a:pt x="4" y="20"/>
                      <a:pt x="4" y="19"/>
                    </a:cubicBezTo>
                    <a:cubicBezTo>
                      <a:pt x="4" y="18"/>
                      <a:pt x="4" y="18"/>
                      <a:pt x="5" y="17"/>
                    </a:cubicBezTo>
                    <a:cubicBezTo>
                      <a:pt x="5" y="17"/>
                      <a:pt x="6" y="17"/>
                      <a:pt x="6" y="17"/>
                    </a:cubicBezTo>
                    <a:cubicBezTo>
                      <a:pt x="6" y="17"/>
                      <a:pt x="7" y="17"/>
                      <a:pt x="7" y="17"/>
                    </a:cubicBezTo>
                    <a:cubicBezTo>
                      <a:pt x="8" y="17"/>
                      <a:pt x="8" y="17"/>
                      <a:pt x="9" y="17"/>
                    </a:cubicBezTo>
                    <a:cubicBezTo>
                      <a:pt x="11" y="17"/>
                      <a:pt x="13" y="16"/>
                      <a:pt x="15" y="15"/>
                    </a:cubicBezTo>
                    <a:cubicBezTo>
                      <a:pt x="16" y="14"/>
                      <a:pt x="17" y="12"/>
                      <a:pt x="17" y="10"/>
                    </a:cubicBezTo>
                    <a:cubicBezTo>
                      <a:pt x="17" y="8"/>
                      <a:pt x="16" y="7"/>
                      <a:pt x="15" y="5"/>
                    </a:cubicBezTo>
                    <a:cubicBezTo>
                      <a:pt x="15" y="4"/>
                      <a:pt x="15" y="4"/>
                      <a:pt x="16" y="3"/>
                    </a:cubicBezTo>
                    <a:cubicBezTo>
                      <a:pt x="16" y="3"/>
                      <a:pt x="17" y="3"/>
                      <a:pt x="19" y="3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8" y="0"/>
                      <a:pt x="18" y="0"/>
                    </a:cubicBezTo>
                    <a:cubicBezTo>
                      <a:pt x="17" y="0"/>
                      <a:pt x="15" y="0"/>
                      <a:pt x="15" y="1"/>
                    </a:cubicBezTo>
                    <a:cubicBezTo>
                      <a:pt x="14" y="1"/>
                      <a:pt x="13" y="2"/>
                      <a:pt x="13" y="4"/>
                    </a:cubicBezTo>
                    <a:cubicBezTo>
                      <a:pt x="12" y="3"/>
                      <a:pt x="11" y="3"/>
                      <a:pt x="9" y="3"/>
                    </a:cubicBezTo>
                    <a:cubicBezTo>
                      <a:pt x="7" y="3"/>
                      <a:pt x="5" y="4"/>
                      <a:pt x="3" y="5"/>
                    </a:cubicBezTo>
                    <a:cubicBezTo>
                      <a:pt x="2" y="6"/>
                      <a:pt x="1" y="8"/>
                      <a:pt x="1" y="10"/>
                    </a:cubicBezTo>
                    <a:cubicBezTo>
                      <a:pt x="1" y="12"/>
                      <a:pt x="2" y="14"/>
                      <a:pt x="4" y="15"/>
                    </a:cubicBezTo>
                    <a:cubicBezTo>
                      <a:pt x="2" y="16"/>
                      <a:pt x="1" y="18"/>
                      <a:pt x="1" y="19"/>
                    </a:cubicBezTo>
                    <a:cubicBezTo>
                      <a:pt x="1" y="21"/>
                      <a:pt x="2" y="22"/>
                      <a:pt x="3" y="23"/>
                    </a:cubicBezTo>
                    <a:cubicBezTo>
                      <a:pt x="1" y="23"/>
                      <a:pt x="0" y="25"/>
                      <a:pt x="0" y="27"/>
                    </a:cubicBezTo>
                    <a:cubicBezTo>
                      <a:pt x="0" y="28"/>
                      <a:pt x="0" y="30"/>
                      <a:pt x="2" y="31"/>
                    </a:cubicBezTo>
                    <a:cubicBezTo>
                      <a:pt x="4" y="32"/>
                      <a:pt x="6" y="32"/>
                      <a:pt x="9" y="32"/>
                    </a:cubicBezTo>
                    <a:cubicBezTo>
                      <a:pt x="16" y="32"/>
                      <a:pt x="20" y="30"/>
                      <a:pt x="20" y="26"/>
                    </a:cubicBezTo>
                    <a:cubicBezTo>
                      <a:pt x="20" y="25"/>
                      <a:pt x="19" y="24"/>
                      <a:pt x="19" y="23"/>
                    </a:cubicBezTo>
                    <a:cubicBezTo>
                      <a:pt x="18" y="22"/>
                      <a:pt x="17" y="22"/>
                      <a:pt x="16" y="21"/>
                    </a:cubicBezTo>
                    <a:close/>
                    <a:moveTo>
                      <a:pt x="6" y="7"/>
                    </a:moveTo>
                    <a:cubicBezTo>
                      <a:pt x="7" y="6"/>
                      <a:pt x="8" y="5"/>
                      <a:pt x="9" y="5"/>
                    </a:cubicBezTo>
                    <a:cubicBezTo>
                      <a:pt x="10" y="5"/>
                      <a:pt x="11" y="6"/>
                      <a:pt x="12" y="7"/>
                    </a:cubicBezTo>
                    <a:cubicBezTo>
                      <a:pt x="13" y="8"/>
                      <a:pt x="14" y="9"/>
                      <a:pt x="14" y="10"/>
                    </a:cubicBezTo>
                    <a:cubicBezTo>
                      <a:pt x="14" y="11"/>
                      <a:pt x="13" y="13"/>
                      <a:pt x="12" y="13"/>
                    </a:cubicBezTo>
                    <a:cubicBezTo>
                      <a:pt x="11" y="14"/>
                      <a:pt x="10" y="15"/>
                      <a:pt x="9" y="15"/>
                    </a:cubicBezTo>
                    <a:cubicBezTo>
                      <a:pt x="8" y="15"/>
                      <a:pt x="6" y="14"/>
                      <a:pt x="6" y="13"/>
                    </a:cubicBezTo>
                    <a:cubicBezTo>
                      <a:pt x="5" y="13"/>
                      <a:pt x="4" y="12"/>
                      <a:pt x="4" y="10"/>
                    </a:cubicBezTo>
                    <a:cubicBezTo>
                      <a:pt x="4" y="9"/>
                      <a:pt x="5" y="7"/>
                      <a:pt x="6" y="7"/>
                    </a:cubicBezTo>
                    <a:close/>
                    <a:moveTo>
                      <a:pt x="14" y="29"/>
                    </a:moveTo>
                    <a:cubicBezTo>
                      <a:pt x="13" y="29"/>
                      <a:pt x="11" y="30"/>
                      <a:pt x="9" y="30"/>
                    </a:cubicBezTo>
                    <a:cubicBezTo>
                      <a:pt x="8" y="30"/>
                      <a:pt x="6" y="29"/>
                      <a:pt x="5" y="29"/>
                    </a:cubicBezTo>
                    <a:cubicBezTo>
                      <a:pt x="3" y="28"/>
                      <a:pt x="3" y="27"/>
                      <a:pt x="3" y="26"/>
                    </a:cubicBezTo>
                    <a:cubicBezTo>
                      <a:pt x="3" y="25"/>
                      <a:pt x="4" y="24"/>
                      <a:pt x="5" y="23"/>
                    </a:cubicBezTo>
                    <a:cubicBezTo>
                      <a:pt x="6" y="24"/>
                      <a:pt x="8" y="24"/>
                      <a:pt x="10" y="24"/>
                    </a:cubicBezTo>
                    <a:cubicBezTo>
                      <a:pt x="12" y="24"/>
                      <a:pt x="13" y="24"/>
                      <a:pt x="14" y="24"/>
                    </a:cubicBezTo>
                    <a:cubicBezTo>
                      <a:pt x="15" y="24"/>
                      <a:pt x="16" y="24"/>
                      <a:pt x="16" y="25"/>
                    </a:cubicBezTo>
                    <a:cubicBezTo>
                      <a:pt x="16" y="25"/>
                      <a:pt x="17" y="26"/>
                      <a:pt x="17" y="26"/>
                    </a:cubicBezTo>
                    <a:cubicBezTo>
                      <a:pt x="17" y="28"/>
                      <a:pt x="16" y="28"/>
                      <a:pt x="14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34" name="Freeform 125"/>
              <p:cNvSpPr>
                <a:spLocks noEditPoints="1"/>
              </p:cNvSpPr>
              <p:nvPr/>
            </p:nvSpPr>
            <p:spPr bwMode="auto">
              <a:xfrm>
                <a:off x="3184525" y="2312988"/>
                <a:ext cx="71438" cy="82550"/>
              </a:xfrm>
              <a:custGeom>
                <a:avLst/>
                <a:gdLst>
                  <a:gd name="T0" fmla="*/ 10 w 19"/>
                  <a:gd name="T1" fmla="*/ 19 h 22"/>
                  <a:gd name="T2" fmla="*/ 6 w 19"/>
                  <a:gd name="T3" fmla="*/ 18 h 22"/>
                  <a:gd name="T4" fmla="*/ 4 w 19"/>
                  <a:gd name="T5" fmla="*/ 11 h 22"/>
                  <a:gd name="T6" fmla="*/ 19 w 19"/>
                  <a:gd name="T7" fmla="*/ 11 h 22"/>
                  <a:gd name="T8" fmla="*/ 16 w 19"/>
                  <a:gd name="T9" fmla="*/ 3 h 22"/>
                  <a:gd name="T10" fmla="*/ 10 w 19"/>
                  <a:gd name="T11" fmla="*/ 0 h 22"/>
                  <a:gd name="T12" fmla="*/ 3 w 19"/>
                  <a:gd name="T13" fmla="*/ 3 h 22"/>
                  <a:gd name="T14" fmla="*/ 0 w 19"/>
                  <a:gd name="T15" fmla="*/ 11 h 22"/>
                  <a:gd name="T16" fmla="*/ 3 w 19"/>
                  <a:gd name="T17" fmla="*/ 19 h 22"/>
                  <a:gd name="T18" fmla="*/ 10 w 19"/>
                  <a:gd name="T19" fmla="*/ 22 h 22"/>
                  <a:gd name="T20" fmla="*/ 15 w 19"/>
                  <a:gd name="T21" fmla="*/ 20 h 22"/>
                  <a:gd name="T22" fmla="*/ 18 w 19"/>
                  <a:gd name="T23" fmla="*/ 16 h 22"/>
                  <a:gd name="T24" fmla="*/ 15 w 19"/>
                  <a:gd name="T25" fmla="*/ 15 h 22"/>
                  <a:gd name="T26" fmla="*/ 10 w 19"/>
                  <a:gd name="T27" fmla="*/ 19 h 22"/>
                  <a:gd name="T28" fmla="*/ 6 w 19"/>
                  <a:gd name="T29" fmla="*/ 4 h 22"/>
                  <a:gd name="T30" fmla="*/ 10 w 19"/>
                  <a:gd name="T31" fmla="*/ 2 h 22"/>
                  <a:gd name="T32" fmla="*/ 13 w 19"/>
                  <a:gd name="T33" fmla="*/ 3 h 22"/>
                  <a:gd name="T34" fmla="*/ 15 w 19"/>
                  <a:gd name="T35" fmla="*/ 6 h 22"/>
                  <a:gd name="T36" fmla="*/ 15 w 19"/>
                  <a:gd name="T37" fmla="*/ 9 h 22"/>
                  <a:gd name="T38" fmla="*/ 4 w 19"/>
                  <a:gd name="T39" fmla="*/ 9 h 22"/>
                  <a:gd name="T40" fmla="*/ 6 w 19"/>
                  <a:gd name="T41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9" h="22">
                    <a:moveTo>
                      <a:pt x="10" y="19"/>
                    </a:moveTo>
                    <a:cubicBezTo>
                      <a:pt x="8" y="19"/>
                      <a:pt x="7" y="19"/>
                      <a:pt x="6" y="18"/>
                    </a:cubicBezTo>
                    <a:cubicBezTo>
                      <a:pt x="4" y="16"/>
                      <a:pt x="4" y="14"/>
                      <a:pt x="4" y="11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7"/>
                      <a:pt x="18" y="5"/>
                      <a:pt x="16" y="3"/>
                    </a:cubicBezTo>
                    <a:cubicBezTo>
                      <a:pt x="15" y="1"/>
                      <a:pt x="12" y="0"/>
                      <a:pt x="10" y="0"/>
                    </a:cubicBezTo>
                    <a:cubicBezTo>
                      <a:pt x="7" y="0"/>
                      <a:pt x="5" y="1"/>
                      <a:pt x="3" y="3"/>
                    </a:cubicBezTo>
                    <a:cubicBezTo>
                      <a:pt x="1" y="5"/>
                      <a:pt x="0" y="8"/>
                      <a:pt x="0" y="11"/>
                    </a:cubicBezTo>
                    <a:cubicBezTo>
                      <a:pt x="0" y="14"/>
                      <a:pt x="1" y="17"/>
                      <a:pt x="3" y="19"/>
                    </a:cubicBezTo>
                    <a:cubicBezTo>
                      <a:pt x="4" y="21"/>
                      <a:pt x="7" y="22"/>
                      <a:pt x="10" y="22"/>
                    </a:cubicBezTo>
                    <a:cubicBezTo>
                      <a:pt x="12" y="22"/>
                      <a:pt x="14" y="21"/>
                      <a:pt x="15" y="20"/>
                    </a:cubicBezTo>
                    <a:cubicBezTo>
                      <a:pt x="17" y="19"/>
                      <a:pt x="18" y="18"/>
                      <a:pt x="18" y="16"/>
                    </a:cubicBezTo>
                    <a:cubicBezTo>
                      <a:pt x="15" y="15"/>
                      <a:pt x="15" y="15"/>
                      <a:pt x="15" y="15"/>
                    </a:cubicBezTo>
                    <a:cubicBezTo>
                      <a:pt x="14" y="18"/>
                      <a:pt x="12" y="19"/>
                      <a:pt x="10" y="19"/>
                    </a:cubicBezTo>
                    <a:close/>
                    <a:moveTo>
                      <a:pt x="6" y="4"/>
                    </a:moveTo>
                    <a:cubicBezTo>
                      <a:pt x="7" y="3"/>
                      <a:pt x="8" y="2"/>
                      <a:pt x="10" y="2"/>
                    </a:cubicBezTo>
                    <a:cubicBezTo>
                      <a:pt x="11" y="2"/>
                      <a:pt x="12" y="3"/>
                      <a:pt x="13" y="3"/>
                    </a:cubicBezTo>
                    <a:cubicBezTo>
                      <a:pt x="14" y="4"/>
                      <a:pt x="14" y="5"/>
                      <a:pt x="15" y="6"/>
                    </a:cubicBezTo>
                    <a:cubicBezTo>
                      <a:pt x="15" y="7"/>
                      <a:pt x="15" y="8"/>
                      <a:pt x="1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7"/>
                      <a:pt x="5" y="5"/>
                      <a:pt x="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35" name="Rectangle 126"/>
              <p:cNvSpPr>
                <a:spLocks noChangeArrowheads="1"/>
              </p:cNvSpPr>
              <p:nvPr/>
            </p:nvSpPr>
            <p:spPr bwMode="auto">
              <a:xfrm>
                <a:off x="1900238" y="3671888"/>
                <a:ext cx="33338" cy="2968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36" name="Rectangle 127"/>
              <p:cNvSpPr>
                <a:spLocks noChangeArrowheads="1"/>
              </p:cNvSpPr>
              <p:nvPr/>
            </p:nvSpPr>
            <p:spPr bwMode="auto">
              <a:xfrm>
                <a:off x="2000250" y="3748088"/>
                <a:ext cx="38100" cy="2206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37" name="Rectangle 128"/>
              <p:cNvSpPr>
                <a:spLocks noChangeArrowheads="1"/>
              </p:cNvSpPr>
              <p:nvPr/>
            </p:nvSpPr>
            <p:spPr bwMode="auto">
              <a:xfrm>
                <a:off x="2000250" y="3671888"/>
                <a:ext cx="38100" cy="381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38" name="Freeform 129"/>
              <p:cNvSpPr/>
              <p:nvPr/>
            </p:nvSpPr>
            <p:spPr bwMode="auto">
              <a:xfrm>
                <a:off x="2071688" y="3665538"/>
                <a:ext cx="136525" cy="303213"/>
              </a:xfrm>
              <a:custGeom>
                <a:avLst/>
                <a:gdLst>
                  <a:gd name="T0" fmla="*/ 15 w 36"/>
                  <a:gd name="T1" fmla="*/ 4 h 81"/>
                  <a:gd name="T2" fmla="*/ 10 w 36"/>
                  <a:gd name="T3" fmla="*/ 22 h 81"/>
                  <a:gd name="T4" fmla="*/ 0 w 36"/>
                  <a:gd name="T5" fmla="*/ 22 h 81"/>
                  <a:gd name="T6" fmla="*/ 0 w 36"/>
                  <a:gd name="T7" fmla="*/ 29 h 81"/>
                  <a:gd name="T8" fmla="*/ 10 w 36"/>
                  <a:gd name="T9" fmla="*/ 29 h 81"/>
                  <a:gd name="T10" fmla="*/ 10 w 36"/>
                  <a:gd name="T11" fmla="*/ 81 h 81"/>
                  <a:gd name="T12" fmla="*/ 19 w 36"/>
                  <a:gd name="T13" fmla="*/ 81 h 81"/>
                  <a:gd name="T14" fmla="*/ 19 w 36"/>
                  <a:gd name="T15" fmla="*/ 29 h 81"/>
                  <a:gd name="T16" fmla="*/ 33 w 36"/>
                  <a:gd name="T17" fmla="*/ 29 h 81"/>
                  <a:gd name="T18" fmla="*/ 33 w 36"/>
                  <a:gd name="T19" fmla="*/ 22 h 81"/>
                  <a:gd name="T20" fmla="*/ 19 w 36"/>
                  <a:gd name="T21" fmla="*/ 22 h 81"/>
                  <a:gd name="T22" fmla="*/ 19 w 36"/>
                  <a:gd name="T23" fmla="*/ 20 h 81"/>
                  <a:gd name="T24" fmla="*/ 22 w 36"/>
                  <a:gd name="T25" fmla="*/ 10 h 81"/>
                  <a:gd name="T26" fmla="*/ 31 w 36"/>
                  <a:gd name="T27" fmla="*/ 7 h 81"/>
                  <a:gd name="T28" fmla="*/ 36 w 36"/>
                  <a:gd name="T29" fmla="*/ 8 h 81"/>
                  <a:gd name="T30" fmla="*/ 36 w 36"/>
                  <a:gd name="T31" fmla="*/ 1 h 81"/>
                  <a:gd name="T32" fmla="*/ 28 w 36"/>
                  <a:gd name="T33" fmla="*/ 0 h 81"/>
                  <a:gd name="T34" fmla="*/ 15 w 36"/>
                  <a:gd name="T35" fmla="*/ 4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6" h="81">
                    <a:moveTo>
                      <a:pt x="15" y="4"/>
                    </a:moveTo>
                    <a:cubicBezTo>
                      <a:pt x="12" y="7"/>
                      <a:pt x="10" y="13"/>
                      <a:pt x="1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10" y="81"/>
                      <a:pt x="10" y="81"/>
                      <a:pt x="10" y="81"/>
                    </a:cubicBezTo>
                    <a:cubicBezTo>
                      <a:pt x="19" y="81"/>
                      <a:pt x="19" y="81"/>
                      <a:pt x="19" y="81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33" y="29"/>
                      <a:pt x="33" y="29"/>
                      <a:pt x="33" y="29"/>
                    </a:cubicBezTo>
                    <a:cubicBezTo>
                      <a:pt x="33" y="22"/>
                      <a:pt x="33" y="22"/>
                      <a:pt x="33" y="22"/>
                    </a:cubicBezTo>
                    <a:cubicBezTo>
                      <a:pt x="19" y="22"/>
                      <a:pt x="19" y="22"/>
                      <a:pt x="19" y="22"/>
                    </a:cubicBezTo>
                    <a:cubicBezTo>
                      <a:pt x="19" y="20"/>
                      <a:pt x="19" y="20"/>
                      <a:pt x="19" y="20"/>
                    </a:cubicBezTo>
                    <a:cubicBezTo>
                      <a:pt x="19" y="15"/>
                      <a:pt x="20" y="12"/>
                      <a:pt x="22" y="10"/>
                    </a:cubicBezTo>
                    <a:cubicBezTo>
                      <a:pt x="24" y="8"/>
                      <a:pt x="27" y="7"/>
                      <a:pt x="31" y="7"/>
                    </a:cubicBezTo>
                    <a:cubicBezTo>
                      <a:pt x="33" y="7"/>
                      <a:pt x="34" y="8"/>
                      <a:pt x="36" y="8"/>
                    </a:cubicBezTo>
                    <a:cubicBezTo>
                      <a:pt x="36" y="1"/>
                      <a:pt x="36" y="1"/>
                      <a:pt x="36" y="1"/>
                    </a:cubicBezTo>
                    <a:cubicBezTo>
                      <a:pt x="33" y="0"/>
                      <a:pt x="30" y="0"/>
                      <a:pt x="28" y="0"/>
                    </a:cubicBezTo>
                    <a:cubicBezTo>
                      <a:pt x="23" y="0"/>
                      <a:pt x="19" y="1"/>
                      <a:pt x="1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39" name="Freeform 130"/>
              <p:cNvSpPr>
                <a:spLocks noEditPoints="1"/>
              </p:cNvSpPr>
              <p:nvPr/>
            </p:nvSpPr>
            <p:spPr bwMode="auto">
              <a:xfrm>
                <a:off x="2211388" y="3743326"/>
                <a:ext cx="195263" cy="230188"/>
              </a:xfrm>
              <a:custGeom>
                <a:avLst/>
                <a:gdLst>
                  <a:gd name="T0" fmla="*/ 27 w 52"/>
                  <a:gd name="T1" fmla="*/ 54 h 61"/>
                  <a:gd name="T2" fmla="*/ 15 w 52"/>
                  <a:gd name="T3" fmla="*/ 49 h 61"/>
                  <a:gd name="T4" fmla="*/ 10 w 52"/>
                  <a:gd name="T5" fmla="*/ 31 h 61"/>
                  <a:gd name="T6" fmla="*/ 52 w 52"/>
                  <a:gd name="T7" fmla="*/ 31 h 61"/>
                  <a:gd name="T8" fmla="*/ 45 w 52"/>
                  <a:gd name="T9" fmla="*/ 8 h 61"/>
                  <a:gd name="T10" fmla="*/ 27 w 52"/>
                  <a:gd name="T11" fmla="*/ 0 h 61"/>
                  <a:gd name="T12" fmla="*/ 7 w 52"/>
                  <a:gd name="T13" fmla="*/ 8 h 61"/>
                  <a:gd name="T14" fmla="*/ 0 w 52"/>
                  <a:gd name="T15" fmla="*/ 31 h 61"/>
                  <a:gd name="T16" fmla="*/ 7 w 52"/>
                  <a:gd name="T17" fmla="*/ 53 h 61"/>
                  <a:gd name="T18" fmla="*/ 27 w 52"/>
                  <a:gd name="T19" fmla="*/ 61 h 61"/>
                  <a:gd name="T20" fmla="*/ 42 w 52"/>
                  <a:gd name="T21" fmla="*/ 56 h 61"/>
                  <a:gd name="T22" fmla="*/ 51 w 52"/>
                  <a:gd name="T23" fmla="*/ 44 h 61"/>
                  <a:gd name="T24" fmla="*/ 43 w 52"/>
                  <a:gd name="T25" fmla="*/ 42 h 61"/>
                  <a:gd name="T26" fmla="*/ 27 w 52"/>
                  <a:gd name="T27" fmla="*/ 54 h 61"/>
                  <a:gd name="T28" fmla="*/ 16 w 52"/>
                  <a:gd name="T29" fmla="*/ 11 h 61"/>
                  <a:gd name="T30" fmla="*/ 27 w 52"/>
                  <a:gd name="T31" fmla="*/ 7 h 61"/>
                  <a:gd name="T32" fmla="*/ 36 w 52"/>
                  <a:gd name="T33" fmla="*/ 9 h 61"/>
                  <a:gd name="T34" fmla="*/ 41 w 52"/>
                  <a:gd name="T35" fmla="*/ 16 h 61"/>
                  <a:gd name="T36" fmla="*/ 42 w 52"/>
                  <a:gd name="T37" fmla="*/ 25 h 61"/>
                  <a:gd name="T38" fmla="*/ 10 w 52"/>
                  <a:gd name="T39" fmla="*/ 25 h 61"/>
                  <a:gd name="T40" fmla="*/ 16 w 52"/>
                  <a:gd name="T41" fmla="*/ 1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2" h="61">
                    <a:moveTo>
                      <a:pt x="27" y="54"/>
                    </a:moveTo>
                    <a:cubicBezTo>
                      <a:pt x="23" y="54"/>
                      <a:pt x="19" y="52"/>
                      <a:pt x="15" y="49"/>
                    </a:cubicBezTo>
                    <a:cubicBezTo>
                      <a:pt x="12" y="46"/>
                      <a:pt x="10" y="40"/>
                      <a:pt x="10" y="31"/>
                    </a:cubicBezTo>
                    <a:cubicBezTo>
                      <a:pt x="52" y="31"/>
                      <a:pt x="52" y="31"/>
                      <a:pt x="52" y="31"/>
                    </a:cubicBezTo>
                    <a:cubicBezTo>
                      <a:pt x="52" y="21"/>
                      <a:pt x="50" y="13"/>
                      <a:pt x="45" y="8"/>
                    </a:cubicBezTo>
                    <a:cubicBezTo>
                      <a:pt x="41" y="2"/>
                      <a:pt x="34" y="0"/>
                      <a:pt x="27" y="0"/>
                    </a:cubicBezTo>
                    <a:cubicBezTo>
                      <a:pt x="19" y="0"/>
                      <a:pt x="13" y="2"/>
                      <a:pt x="7" y="8"/>
                    </a:cubicBezTo>
                    <a:cubicBezTo>
                      <a:pt x="2" y="14"/>
                      <a:pt x="0" y="21"/>
                      <a:pt x="0" y="31"/>
                    </a:cubicBezTo>
                    <a:cubicBezTo>
                      <a:pt x="0" y="40"/>
                      <a:pt x="2" y="47"/>
                      <a:pt x="7" y="53"/>
                    </a:cubicBezTo>
                    <a:cubicBezTo>
                      <a:pt x="12" y="59"/>
                      <a:pt x="19" y="61"/>
                      <a:pt x="27" y="61"/>
                    </a:cubicBezTo>
                    <a:cubicBezTo>
                      <a:pt x="33" y="61"/>
                      <a:pt x="38" y="60"/>
                      <a:pt x="42" y="56"/>
                    </a:cubicBezTo>
                    <a:cubicBezTo>
                      <a:pt x="47" y="53"/>
                      <a:pt x="50" y="49"/>
                      <a:pt x="51" y="44"/>
                    </a:cubicBezTo>
                    <a:cubicBezTo>
                      <a:pt x="43" y="42"/>
                      <a:pt x="43" y="42"/>
                      <a:pt x="43" y="42"/>
                    </a:cubicBezTo>
                    <a:cubicBezTo>
                      <a:pt x="40" y="50"/>
                      <a:pt x="35" y="54"/>
                      <a:pt x="27" y="54"/>
                    </a:cubicBezTo>
                    <a:close/>
                    <a:moveTo>
                      <a:pt x="16" y="11"/>
                    </a:moveTo>
                    <a:cubicBezTo>
                      <a:pt x="19" y="8"/>
                      <a:pt x="23" y="7"/>
                      <a:pt x="27" y="7"/>
                    </a:cubicBezTo>
                    <a:cubicBezTo>
                      <a:pt x="30" y="7"/>
                      <a:pt x="33" y="7"/>
                      <a:pt x="36" y="9"/>
                    </a:cubicBezTo>
                    <a:cubicBezTo>
                      <a:pt x="38" y="11"/>
                      <a:pt x="40" y="13"/>
                      <a:pt x="41" y="16"/>
                    </a:cubicBezTo>
                    <a:cubicBezTo>
                      <a:pt x="42" y="18"/>
                      <a:pt x="42" y="21"/>
                      <a:pt x="42" y="25"/>
                    </a:cubicBezTo>
                    <a:cubicBezTo>
                      <a:pt x="10" y="25"/>
                      <a:pt x="10" y="25"/>
                      <a:pt x="10" y="25"/>
                    </a:cubicBezTo>
                    <a:cubicBezTo>
                      <a:pt x="11" y="19"/>
                      <a:pt x="12" y="15"/>
                      <a:pt x="16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40" name="Freeform 131"/>
              <p:cNvSpPr/>
              <p:nvPr/>
            </p:nvSpPr>
            <p:spPr bwMode="auto">
              <a:xfrm>
                <a:off x="1820863" y="4773613"/>
                <a:ext cx="60325" cy="123825"/>
              </a:xfrm>
              <a:custGeom>
                <a:avLst/>
                <a:gdLst>
                  <a:gd name="T0" fmla="*/ 7 w 16"/>
                  <a:gd name="T1" fmla="*/ 2 h 33"/>
                  <a:gd name="T2" fmla="*/ 4 w 16"/>
                  <a:gd name="T3" fmla="*/ 9 h 33"/>
                  <a:gd name="T4" fmla="*/ 0 w 16"/>
                  <a:gd name="T5" fmla="*/ 9 h 33"/>
                  <a:gd name="T6" fmla="*/ 0 w 16"/>
                  <a:gd name="T7" fmla="*/ 12 h 33"/>
                  <a:gd name="T8" fmla="*/ 4 w 16"/>
                  <a:gd name="T9" fmla="*/ 12 h 33"/>
                  <a:gd name="T10" fmla="*/ 2 w 16"/>
                  <a:gd name="T11" fmla="*/ 33 h 33"/>
                  <a:gd name="T12" fmla="*/ 6 w 16"/>
                  <a:gd name="T13" fmla="*/ 33 h 33"/>
                  <a:gd name="T14" fmla="*/ 8 w 16"/>
                  <a:gd name="T15" fmla="*/ 12 h 33"/>
                  <a:gd name="T16" fmla="*/ 13 w 16"/>
                  <a:gd name="T17" fmla="*/ 13 h 33"/>
                  <a:gd name="T18" fmla="*/ 13 w 16"/>
                  <a:gd name="T19" fmla="*/ 10 h 33"/>
                  <a:gd name="T20" fmla="*/ 8 w 16"/>
                  <a:gd name="T21" fmla="*/ 9 h 33"/>
                  <a:gd name="T22" fmla="*/ 8 w 16"/>
                  <a:gd name="T23" fmla="*/ 8 h 33"/>
                  <a:gd name="T24" fmla="*/ 9 w 16"/>
                  <a:gd name="T25" fmla="*/ 4 h 33"/>
                  <a:gd name="T26" fmla="*/ 13 w 16"/>
                  <a:gd name="T27" fmla="*/ 4 h 33"/>
                  <a:gd name="T28" fmla="*/ 15 w 16"/>
                  <a:gd name="T29" fmla="*/ 4 h 33"/>
                  <a:gd name="T30" fmla="*/ 16 w 16"/>
                  <a:gd name="T31" fmla="*/ 1 h 33"/>
                  <a:gd name="T32" fmla="*/ 12 w 16"/>
                  <a:gd name="T33" fmla="*/ 1 h 33"/>
                  <a:gd name="T34" fmla="*/ 7 w 16"/>
                  <a:gd name="T35" fmla="*/ 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" h="33">
                    <a:moveTo>
                      <a:pt x="7" y="2"/>
                    </a:moveTo>
                    <a:cubicBezTo>
                      <a:pt x="5" y="3"/>
                      <a:pt x="4" y="5"/>
                      <a:pt x="4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2" y="33"/>
                      <a:pt x="2" y="33"/>
                      <a:pt x="2" y="33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8" y="6"/>
                      <a:pt x="9" y="5"/>
                      <a:pt x="9" y="4"/>
                    </a:cubicBezTo>
                    <a:cubicBezTo>
                      <a:pt x="10" y="4"/>
                      <a:pt x="11" y="4"/>
                      <a:pt x="13" y="4"/>
                    </a:cubicBezTo>
                    <a:cubicBezTo>
                      <a:pt x="14" y="4"/>
                      <a:pt x="15" y="4"/>
                      <a:pt x="15" y="4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4" y="1"/>
                      <a:pt x="13" y="1"/>
                      <a:pt x="12" y="1"/>
                    </a:cubicBezTo>
                    <a:cubicBezTo>
                      <a:pt x="10" y="0"/>
                      <a:pt x="8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41" name="Freeform 132"/>
              <p:cNvSpPr>
                <a:spLocks noEditPoints="1"/>
              </p:cNvSpPr>
              <p:nvPr/>
            </p:nvSpPr>
            <p:spPr bwMode="auto">
              <a:xfrm>
                <a:off x="1873250" y="4810126"/>
                <a:ext cx="79375" cy="98425"/>
              </a:xfrm>
              <a:custGeom>
                <a:avLst/>
                <a:gdLst>
                  <a:gd name="T0" fmla="*/ 21 w 21"/>
                  <a:gd name="T1" fmla="*/ 11 h 26"/>
                  <a:gd name="T2" fmla="*/ 20 w 21"/>
                  <a:gd name="T3" fmla="*/ 3 h 26"/>
                  <a:gd name="T4" fmla="*/ 13 w 21"/>
                  <a:gd name="T5" fmla="*/ 0 h 26"/>
                  <a:gd name="T6" fmla="*/ 2 w 21"/>
                  <a:gd name="T7" fmla="*/ 6 h 26"/>
                  <a:gd name="T8" fmla="*/ 5 w 21"/>
                  <a:gd name="T9" fmla="*/ 7 h 26"/>
                  <a:gd name="T10" fmla="*/ 12 w 21"/>
                  <a:gd name="T11" fmla="*/ 3 h 26"/>
                  <a:gd name="T12" fmla="*/ 16 w 21"/>
                  <a:gd name="T13" fmla="*/ 4 h 26"/>
                  <a:gd name="T14" fmla="*/ 17 w 21"/>
                  <a:gd name="T15" fmla="*/ 6 h 26"/>
                  <a:gd name="T16" fmla="*/ 17 w 21"/>
                  <a:gd name="T17" fmla="*/ 11 h 26"/>
                  <a:gd name="T18" fmla="*/ 14 w 21"/>
                  <a:gd name="T19" fmla="*/ 10 h 26"/>
                  <a:gd name="T20" fmla="*/ 4 w 21"/>
                  <a:gd name="T21" fmla="*/ 12 h 26"/>
                  <a:gd name="T22" fmla="*/ 0 w 21"/>
                  <a:gd name="T23" fmla="*/ 17 h 26"/>
                  <a:gd name="T24" fmla="*/ 2 w 21"/>
                  <a:gd name="T25" fmla="*/ 23 h 26"/>
                  <a:gd name="T26" fmla="*/ 8 w 21"/>
                  <a:gd name="T27" fmla="*/ 25 h 26"/>
                  <a:gd name="T28" fmla="*/ 16 w 21"/>
                  <a:gd name="T29" fmla="*/ 21 h 26"/>
                  <a:gd name="T30" fmla="*/ 17 w 21"/>
                  <a:gd name="T31" fmla="*/ 25 h 26"/>
                  <a:gd name="T32" fmla="*/ 20 w 21"/>
                  <a:gd name="T33" fmla="*/ 26 h 26"/>
                  <a:gd name="T34" fmla="*/ 20 w 21"/>
                  <a:gd name="T35" fmla="*/ 21 h 26"/>
                  <a:gd name="T36" fmla="*/ 21 w 21"/>
                  <a:gd name="T37" fmla="*/ 11 h 26"/>
                  <a:gd name="T38" fmla="*/ 14 w 21"/>
                  <a:gd name="T39" fmla="*/ 20 h 26"/>
                  <a:gd name="T40" fmla="*/ 9 w 21"/>
                  <a:gd name="T41" fmla="*/ 22 h 26"/>
                  <a:gd name="T42" fmla="*/ 5 w 21"/>
                  <a:gd name="T43" fmla="*/ 21 h 26"/>
                  <a:gd name="T44" fmla="*/ 4 w 21"/>
                  <a:gd name="T45" fmla="*/ 18 h 26"/>
                  <a:gd name="T46" fmla="*/ 7 w 21"/>
                  <a:gd name="T47" fmla="*/ 14 h 26"/>
                  <a:gd name="T48" fmla="*/ 14 w 21"/>
                  <a:gd name="T49" fmla="*/ 13 h 26"/>
                  <a:gd name="T50" fmla="*/ 17 w 21"/>
                  <a:gd name="T51" fmla="*/ 13 h 26"/>
                  <a:gd name="T52" fmla="*/ 17 w 21"/>
                  <a:gd name="T53" fmla="*/ 15 h 26"/>
                  <a:gd name="T54" fmla="*/ 14 w 21"/>
                  <a:gd name="T55" fmla="*/ 2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1" h="26">
                    <a:moveTo>
                      <a:pt x="21" y="11"/>
                    </a:moveTo>
                    <a:cubicBezTo>
                      <a:pt x="21" y="7"/>
                      <a:pt x="21" y="5"/>
                      <a:pt x="20" y="3"/>
                    </a:cubicBezTo>
                    <a:cubicBezTo>
                      <a:pt x="18" y="2"/>
                      <a:pt x="16" y="1"/>
                      <a:pt x="13" y="0"/>
                    </a:cubicBezTo>
                    <a:cubicBezTo>
                      <a:pt x="7" y="0"/>
                      <a:pt x="3" y="2"/>
                      <a:pt x="2" y="6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6" y="4"/>
                      <a:pt x="8" y="3"/>
                      <a:pt x="12" y="3"/>
                    </a:cubicBezTo>
                    <a:cubicBezTo>
                      <a:pt x="13" y="3"/>
                      <a:pt x="15" y="4"/>
                      <a:pt x="16" y="4"/>
                    </a:cubicBezTo>
                    <a:cubicBezTo>
                      <a:pt x="17" y="5"/>
                      <a:pt x="17" y="6"/>
                      <a:pt x="17" y="6"/>
                    </a:cubicBezTo>
                    <a:cubicBezTo>
                      <a:pt x="17" y="7"/>
                      <a:pt x="18" y="9"/>
                      <a:pt x="17" y="11"/>
                    </a:cubicBezTo>
                    <a:cubicBezTo>
                      <a:pt x="16" y="10"/>
                      <a:pt x="15" y="10"/>
                      <a:pt x="14" y="10"/>
                    </a:cubicBezTo>
                    <a:cubicBezTo>
                      <a:pt x="9" y="10"/>
                      <a:pt x="6" y="10"/>
                      <a:pt x="4" y="12"/>
                    </a:cubicBezTo>
                    <a:cubicBezTo>
                      <a:pt x="1" y="13"/>
                      <a:pt x="0" y="15"/>
                      <a:pt x="0" y="17"/>
                    </a:cubicBezTo>
                    <a:cubicBezTo>
                      <a:pt x="0" y="19"/>
                      <a:pt x="0" y="21"/>
                      <a:pt x="2" y="23"/>
                    </a:cubicBezTo>
                    <a:cubicBezTo>
                      <a:pt x="3" y="24"/>
                      <a:pt x="5" y="25"/>
                      <a:pt x="8" y="25"/>
                    </a:cubicBezTo>
                    <a:cubicBezTo>
                      <a:pt x="12" y="26"/>
                      <a:pt x="15" y="24"/>
                      <a:pt x="16" y="21"/>
                    </a:cubicBezTo>
                    <a:cubicBezTo>
                      <a:pt x="16" y="23"/>
                      <a:pt x="16" y="25"/>
                      <a:pt x="17" y="25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20" y="24"/>
                      <a:pt x="20" y="23"/>
                      <a:pt x="20" y="21"/>
                    </a:cubicBezTo>
                    <a:lnTo>
                      <a:pt x="21" y="11"/>
                    </a:lnTo>
                    <a:close/>
                    <a:moveTo>
                      <a:pt x="14" y="20"/>
                    </a:moveTo>
                    <a:cubicBezTo>
                      <a:pt x="13" y="22"/>
                      <a:pt x="11" y="23"/>
                      <a:pt x="9" y="22"/>
                    </a:cubicBezTo>
                    <a:cubicBezTo>
                      <a:pt x="7" y="22"/>
                      <a:pt x="6" y="22"/>
                      <a:pt x="5" y="21"/>
                    </a:cubicBezTo>
                    <a:cubicBezTo>
                      <a:pt x="4" y="20"/>
                      <a:pt x="4" y="19"/>
                      <a:pt x="4" y="18"/>
                    </a:cubicBezTo>
                    <a:cubicBezTo>
                      <a:pt x="4" y="16"/>
                      <a:pt x="5" y="15"/>
                      <a:pt x="7" y="14"/>
                    </a:cubicBezTo>
                    <a:cubicBezTo>
                      <a:pt x="8" y="13"/>
                      <a:pt x="11" y="13"/>
                      <a:pt x="14" y="13"/>
                    </a:cubicBezTo>
                    <a:cubicBezTo>
                      <a:pt x="14" y="13"/>
                      <a:pt x="16" y="13"/>
                      <a:pt x="17" y="13"/>
                    </a:cubicBezTo>
                    <a:cubicBezTo>
                      <a:pt x="17" y="14"/>
                      <a:pt x="17" y="14"/>
                      <a:pt x="17" y="15"/>
                    </a:cubicBezTo>
                    <a:cubicBezTo>
                      <a:pt x="17" y="17"/>
                      <a:pt x="16" y="19"/>
                      <a:pt x="14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42" name="Freeform 133"/>
              <p:cNvSpPr/>
              <p:nvPr/>
            </p:nvSpPr>
            <p:spPr bwMode="auto">
              <a:xfrm>
                <a:off x="1966913" y="4818063"/>
                <a:ext cx="76200" cy="93663"/>
              </a:xfrm>
              <a:custGeom>
                <a:avLst/>
                <a:gdLst>
                  <a:gd name="T0" fmla="*/ 21 w 48"/>
                  <a:gd name="T1" fmla="*/ 47 h 59"/>
                  <a:gd name="T2" fmla="*/ 10 w 48"/>
                  <a:gd name="T3" fmla="*/ 0 h 59"/>
                  <a:gd name="T4" fmla="*/ 0 w 48"/>
                  <a:gd name="T5" fmla="*/ 0 h 59"/>
                  <a:gd name="T6" fmla="*/ 14 w 48"/>
                  <a:gd name="T7" fmla="*/ 59 h 59"/>
                  <a:gd name="T8" fmla="*/ 24 w 48"/>
                  <a:gd name="T9" fmla="*/ 59 h 59"/>
                  <a:gd name="T10" fmla="*/ 48 w 48"/>
                  <a:gd name="T11" fmla="*/ 5 h 59"/>
                  <a:gd name="T12" fmla="*/ 40 w 48"/>
                  <a:gd name="T13" fmla="*/ 5 h 59"/>
                  <a:gd name="T14" fmla="*/ 21 w 48"/>
                  <a:gd name="T15" fmla="*/ 47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59">
                    <a:moveTo>
                      <a:pt x="21" y="47"/>
                    </a:moveTo>
                    <a:lnTo>
                      <a:pt x="10" y="0"/>
                    </a:lnTo>
                    <a:lnTo>
                      <a:pt x="0" y="0"/>
                    </a:lnTo>
                    <a:lnTo>
                      <a:pt x="14" y="59"/>
                    </a:lnTo>
                    <a:lnTo>
                      <a:pt x="24" y="59"/>
                    </a:lnTo>
                    <a:lnTo>
                      <a:pt x="48" y="5"/>
                    </a:lnTo>
                    <a:lnTo>
                      <a:pt x="40" y="5"/>
                    </a:lnTo>
                    <a:lnTo>
                      <a:pt x="21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43" name="Freeform 134"/>
              <p:cNvSpPr>
                <a:spLocks noEditPoints="1"/>
              </p:cNvSpPr>
              <p:nvPr/>
            </p:nvSpPr>
            <p:spPr bwMode="auto">
              <a:xfrm>
                <a:off x="2046288" y="4826001"/>
                <a:ext cx="82550" cy="96838"/>
              </a:xfrm>
              <a:custGeom>
                <a:avLst/>
                <a:gdLst>
                  <a:gd name="T0" fmla="*/ 12 w 22"/>
                  <a:gd name="T1" fmla="*/ 0 h 26"/>
                  <a:gd name="T2" fmla="*/ 4 w 22"/>
                  <a:gd name="T3" fmla="*/ 3 h 26"/>
                  <a:gd name="T4" fmla="*/ 0 w 22"/>
                  <a:gd name="T5" fmla="*/ 12 h 26"/>
                  <a:gd name="T6" fmla="*/ 2 w 22"/>
                  <a:gd name="T7" fmla="*/ 21 h 26"/>
                  <a:gd name="T8" fmla="*/ 9 w 22"/>
                  <a:gd name="T9" fmla="*/ 25 h 26"/>
                  <a:gd name="T10" fmla="*/ 18 w 22"/>
                  <a:gd name="T11" fmla="*/ 22 h 26"/>
                  <a:gd name="T12" fmla="*/ 22 w 22"/>
                  <a:gd name="T13" fmla="*/ 14 h 26"/>
                  <a:gd name="T14" fmla="*/ 19 w 22"/>
                  <a:gd name="T15" fmla="*/ 4 h 26"/>
                  <a:gd name="T16" fmla="*/ 12 w 22"/>
                  <a:gd name="T17" fmla="*/ 0 h 26"/>
                  <a:gd name="T18" fmla="*/ 15 w 22"/>
                  <a:gd name="T19" fmla="*/ 20 h 26"/>
                  <a:gd name="T20" fmla="*/ 10 w 22"/>
                  <a:gd name="T21" fmla="*/ 22 h 26"/>
                  <a:gd name="T22" fmla="*/ 6 w 22"/>
                  <a:gd name="T23" fmla="*/ 20 h 26"/>
                  <a:gd name="T24" fmla="*/ 4 w 22"/>
                  <a:gd name="T25" fmla="*/ 12 h 26"/>
                  <a:gd name="T26" fmla="*/ 7 w 22"/>
                  <a:gd name="T27" fmla="*/ 5 h 26"/>
                  <a:gd name="T28" fmla="*/ 12 w 22"/>
                  <a:gd name="T29" fmla="*/ 3 h 26"/>
                  <a:gd name="T30" fmla="*/ 16 w 22"/>
                  <a:gd name="T31" fmla="*/ 6 h 26"/>
                  <a:gd name="T32" fmla="*/ 18 w 22"/>
                  <a:gd name="T33" fmla="*/ 13 h 26"/>
                  <a:gd name="T34" fmla="*/ 15 w 22"/>
                  <a:gd name="T35" fmla="*/ 2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2" h="26">
                    <a:moveTo>
                      <a:pt x="12" y="0"/>
                    </a:moveTo>
                    <a:cubicBezTo>
                      <a:pt x="9" y="0"/>
                      <a:pt x="6" y="1"/>
                      <a:pt x="4" y="3"/>
                    </a:cubicBezTo>
                    <a:cubicBezTo>
                      <a:pt x="2" y="5"/>
                      <a:pt x="1" y="8"/>
                      <a:pt x="0" y="12"/>
                    </a:cubicBezTo>
                    <a:cubicBezTo>
                      <a:pt x="0" y="15"/>
                      <a:pt x="1" y="18"/>
                      <a:pt x="2" y="21"/>
                    </a:cubicBezTo>
                    <a:cubicBezTo>
                      <a:pt x="4" y="24"/>
                      <a:pt x="6" y="25"/>
                      <a:pt x="9" y="25"/>
                    </a:cubicBezTo>
                    <a:cubicBezTo>
                      <a:pt x="13" y="26"/>
                      <a:pt x="15" y="25"/>
                      <a:pt x="18" y="22"/>
                    </a:cubicBezTo>
                    <a:cubicBezTo>
                      <a:pt x="20" y="20"/>
                      <a:pt x="21" y="17"/>
                      <a:pt x="22" y="14"/>
                    </a:cubicBezTo>
                    <a:cubicBezTo>
                      <a:pt x="22" y="10"/>
                      <a:pt x="21" y="7"/>
                      <a:pt x="19" y="4"/>
                    </a:cubicBezTo>
                    <a:cubicBezTo>
                      <a:pt x="18" y="2"/>
                      <a:pt x="15" y="1"/>
                      <a:pt x="12" y="0"/>
                    </a:cubicBezTo>
                    <a:close/>
                    <a:moveTo>
                      <a:pt x="15" y="20"/>
                    </a:moveTo>
                    <a:cubicBezTo>
                      <a:pt x="14" y="22"/>
                      <a:pt x="12" y="22"/>
                      <a:pt x="10" y="22"/>
                    </a:cubicBezTo>
                    <a:cubicBezTo>
                      <a:pt x="8" y="22"/>
                      <a:pt x="7" y="21"/>
                      <a:pt x="6" y="20"/>
                    </a:cubicBezTo>
                    <a:cubicBezTo>
                      <a:pt x="4" y="18"/>
                      <a:pt x="4" y="16"/>
                      <a:pt x="4" y="12"/>
                    </a:cubicBezTo>
                    <a:cubicBezTo>
                      <a:pt x="5" y="9"/>
                      <a:pt x="5" y="7"/>
                      <a:pt x="7" y="5"/>
                    </a:cubicBezTo>
                    <a:cubicBezTo>
                      <a:pt x="8" y="4"/>
                      <a:pt x="10" y="3"/>
                      <a:pt x="12" y="3"/>
                    </a:cubicBezTo>
                    <a:cubicBezTo>
                      <a:pt x="13" y="3"/>
                      <a:pt x="15" y="4"/>
                      <a:pt x="16" y="6"/>
                    </a:cubicBezTo>
                    <a:cubicBezTo>
                      <a:pt x="17" y="8"/>
                      <a:pt x="18" y="10"/>
                      <a:pt x="18" y="13"/>
                    </a:cubicBezTo>
                    <a:cubicBezTo>
                      <a:pt x="17" y="17"/>
                      <a:pt x="16" y="19"/>
                      <a:pt x="1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44" name="Freeform 135"/>
              <p:cNvSpPr/>
              <p:nvPr/>
            </p:nvSpPr>
            <p:spPr bwMode="auto">
              <a:xfrm>
                <a:off x="2143125" y="4833938"/>
                <a:ext cx="53975" cy="88900"/>
              </a:xfrm>
              <a:custGeom>
                <a:avLst/>
                <a:gdLst>
                  <a:gd name="T0" fmla="*/ 9 w 14"/>
                  <a:gd name="T1" fmla="*/ 1 h 24"/>
                  <a:gd name="T2" fmla="*/ 5 w 14"/>
                  <a:gd name="T3" fmla="*/ 6 h 24"/>
                  <a:gd name="T4" fmla="*/ 5 w 14"/>
                  <a:gd name="T5" fmla="*/ 1 h 24"/>
                  <a:gd name="T6" fmla="*/ 2 w 14"/>
                  <a:gd name="T7" fmla="*/ 0 h 24"/>
                  <a:gd name="T8" fmla="*/ 0 w 14"/>
                  <a:gd name="T9" fmla="*/ 24 h 24"/>
                  <a:gd name="T10" fmla="*/ 4 w 14"/>
                  <a:gd name="T11" fmla="*/ 24 h 24"/>
                  <a:gd name="T12" fmla="*/ 5 w 14"/>
                  <a:gd name="T13" fmla="*/ 12 h 24"/>
                  <a:gd name="T14" fmla="*/ 8 w 14"/>
                  <a:gd name="T15" fmla="*/ 6 h 24"/>
                  <a:gd name="T16" fmla="*/ 13 w 14"/>
                  <a:gd name="T17" fmla="*/ 4 h 24"/>
                  <a:gd name="T18" fmla="*/ 14 w 14"/>
                  <a:gd name="T19" fmla="*/ 4 h 24"/>
                  <a:gd name="T20" fmla="*/ 14 w 14"/>
                  <a:gd name="T21" fmla="*/ 1 h 24"/>
                  <a:gd name="T22" fmla="*/ 12 w 14"/>
                  <a:gd name="T23" fmla="*/ 0 h 24"/>
                  <a:gd name="T24" fmla="*/ 9 w 14"/>
                  <a:gd name="T25" fmla="*/ 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24">
                    <a:moveTo>
                      <a:pt x="9" y="1"/>
                    </a:moveTo>
                    <a:cubicBezTo>
                      <a:pt x="8" y="2"/>
                      <a:pt x="6" y="4"/>
                      <a:pt x="5" y="6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9"/>
                      <a:pt x="6" y="7"/>
                      <a:pt x="8" y="6"/>
                    </a:cubicBezTo>
                    <a:cubicBezTo>
                      <a:pt x="9" y="5"/>
                      <a:pt x="11" y="4"/>
                      <a:pt x="13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3" y="1"/>
                      <a:pt x="13" y="0"/>
                      <a:pt x="12" y="0"/>
                    </a:cubicBezTo>
                    <a:cubicBezTo>
                      <a:pt x="11" y="0"/>
                      <a:pt x="10" y="1"/>
                      <a:pt x="9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45" name="Freeform 136"/>
              <p:cNvSpPr/>
              <p:nvPr/>
            </p:nvSpPr>
            <p:spPr bwMode="auto">
              <a:xfrm>
                <a:off x="2211388" y="4806951"/>
                <a:ext cx="19050" cy="19050"/>
              </a:xfrm>
              <a:custGeom>
                <a:avLst/>
                <a:gdLst>
                  <a:gd name="T0" fmla="*/ 0 w 12"/>
                  <a:gd name="T1" fmla="*/ 9 h 12"/>
                  <a:gd name="T2" fmla="*/ 10 w 12"/>
                  <a:gd name="T3" fmla="*/ 12 h 12"/>
                  <a:gd name="T4" fmla="*/ 12 w 12"/>
                  <a:gd name="T5" fmla="*/ 2 h 12"/>
                  <a:gd name="T6" fmla="*/ 2 w 12"/>
                  <a:gd name="T7" fmla="*/ 0 h 12"/>
                  <a:gd name="T8" fmla="*/ 0 w 12"/>
                  <a:gd name="T9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2">
                    <a:moveTo>
                      <a:pt x="0" y="9"/>
                    </a:moveTo>
                    <a:lnTo>
                      <a:pt x="10" y="12"/>
                    </a:lnTo>
                    <a:lnTo>
                      <a:pt x="12" y="2"/>
                    </a:lnTo>
                    <a:lnTo>
                      <a:pt x="2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46" name="Freeform 137"/>
              <p:cNvSpPr/>
              <p:nvPr/>
            </p:nvSpPr>
            <p:spPr bwMode="auto">
              <a:xfrm>
                <a:off x="2203450" y="4840288"/>
                <a:ext cx="23813" cy="90488"/>
              </a:xfrm>
              <a:custGeom>
                <a:avLst/>
                <a:gdLst>
                  <a:gd name="T0" fmla="*/ 0 w 15"/>
                  <a:gd name="T1" fmla="*/ 55 h 57"/>
                  <a:gd name="T2" fmla="*/ 10 w 15"/>
                  <a:gd name="T3" fmla="*/ 57 h 57"/>
                  <a:gd name="T4" fmla="*/ 15 w 15"/>
                  <a:gd name="T5" fmla="*/ 0 h 57"/>
                  <a:gd name="T6" fmla="*/ 5 w 15"/>
                  <a:gd name="T7" fmla="*/ 0 h 57"/>
                  <a:gd name="T8" fmla="*/ 0 w 15"/>
                  <a:gd name="T9" fmla="*/ 5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57">
                    <a:moveTo>
                      <a:pt x="0" y="55"/>
                    </a:moveTo>
                    <a:lnTo>
                      <a:pt x="10" y="57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5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47" name="Freeform 138"/>
              <p:cNvSpPr/>
              <p:nvPr/>
            </p:nvSpPr>
            <p:spPr bwMode="auto">
              <a:xfrm>
                <a:off x="2238375" y="4821238"/>
                <a:ext cx="52388" cy="117475"/>
              </a:xfrm>
              <a:custGeom>
                <a:avLst/>
                <a:gdLst>
                  <a:gd name="T0" fmla="*/ 7 w 14"/>
                  <a:gd name="T1" fmla="*/ 24 h 31"/>
                  <a:gd name="T2" fmla="*/ 8 w 14"/>
                  <a:gd name="T3" fmla="*/ 9 h 31"/>
                  <a:gd name="T4" fmla="*/ 13 w 14"/>
                  <a:gd name="T5" fmla="*/ 9 h 31"/>
                  <a:gd name="T6" fmla="*/ 14 w 14"/>
                  <a:gd name="T7" fmla="*/ 6 h 31"/>
                  <a:gd name="T8" fmla="*/ 8 w 14"/>
                  <a:gd name="T9" fmla="*/ 6 h 31"/>
                  <a:gd name="T10" fmla="*/ 9 w 14"/>
                  <a:gd name="T11" fmla="*/ 0 h 31"/>
                  <a:gd name="T12" fmla="*/ 5 w 14"/>
                  <a:gd name="T13" fmla="*/ 0 h 31"/>
                  <a:gd name="T14" fmla="*/ 5 w 14"/>
                  <a:gd name="T15" fmla="*/ 6 h 31"/>
                  <a:gd name="T16" fmla="*/ 0 w 14"/>
                  <a:gd name="T17" fmla="*/ 5 h 31"/>
                  <a:gd name="T18" fmla="*/ 0 w 14"/>
                  <a:gd name="T19" fmla="*/ 8 h 31"/>
                  <a:gd name="T20" fmla="*/ 4 w 14"/>
                  <a:gd name="T21" fmla="*/ 9 h 31"/>
                  <a:gd name="T22" fmla="*/ 3 w 14"/>
                  <a:gd name="T23" fmla="*/ 23 h 31"/>
                  <a:gd name="T24" fmla="*/ 9 w 14"/>
                  <a:gd name="T25" fmla="*/ 31 h 31"/>
                  <a:gd name="T26" fmla="*/ 13 w 14"/>
                  <a:gd name="T27" fmla="*/ 31 h 31"/>
                  <a:gd name="T28" fmla="*/ 13 w 14"/>
                  <a:gd name="T29" fmla="*/ 28 h 31"/>
                  <a:gd name="T30" fmla="*/ 10 w 14"/>
                  <a:gd name="T31" fmla="*/ 28 h 31"/>
                  <a:gd name="T32" fmla="*/ 7 w 14"/>
                  <a:gd name="T33" fmla="*/ 2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31">
                    <a:moveTo>
                      <a:pt x="7" y="24"/>
                    </a:moveTo>
                    <a:cubicBezTo>
                      <a:pt x="8" y="9"/>
                      <a:pt x="8" y="9"/>
                      <a:pt x="8" y="9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3" y="23"/>
                      <a:pt x="3" y="23"/>
                      <a:pt x="3" y="23"/>
                    </a:cubicBezTo>
                    <a:cubicBezTo>
                      <a:pt x="3" y="28"/>
                      <a:pt x="5" y="30"/>
                      <a:pt x="9" y="31"/>
                    </a:cubicBezTo>
                    <a:cubicBezTo>
                      <a:pt x="10" y="31"/>
                      <a:pt x="12" y="31"/>
                      <a:pt x="13" y="31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2" y="28"/>
                      <a:pt x="11" y="28"/>
                      <a:pt x="10" y="28"/>
                    </a:cubicBezTo>
                    <a:cubicBezTo>
                      <a:pt x="8" y="28"/>
                      <a:pt x="6" y="26"/>
                      <a:pt x="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48" name="Freeform 139"/>
              <p:cNvSpPr>
                <a:spLocks noEditPoints="1"/>
              </p:cNvSpPr>
              <p:nvPr/>
            </p:nvSpPr>
            <p:spPr bwMode="auto">
              <a:xfrm>
                <a:off x="2293938" y="4848226"/>
                <a:ext cx="82550" cy="93663"/>
              </a:xfrm>
              <a:custGeom>
                <a:avLst/>
                <a:gdLst>
                  <a:gd name="T0" fmla="*/ 11 w 22"/>
                  <a:gd name="T1" fmla="*/ 22 h 25"/>
                  <a:gd name="T2" fmla="*/ 6 w 22"/>
                  <a:gd name="T3" fmla="*/ 20 h 25"/>
                  <a:gd name="T4" fmla="*/ 4 w 22"/>
                  <a:gd name="T5" fmla="*/ 12 h 25"/>
                  <a:gd name="T6" fmla="*/ 22 w 22"/>
                  <a:gd name="T7" fmla="*/ 14 h 25"/>
                  <a:gd name="T8" fmla="*/ 20 w 22"/>
                  <a:gd name="T9" fmla="*/ 4 h 25"/>
                  <a:gd name="T10" fmla="*/ 12 w 22"/>
                  <a:gd name="T11" fmla="*/ 0 h 25"/>
                  <a:gd name="T12" fmla="*/ 4 w 22"/>
                  <a:gd name="T13" fmla="*/ 3 h 25"/>
                  <a:gd name="T14" fmla="*/ 0 w 22"/>
                  <a:gd name="T15" fmla="*/ 12 h 25"/>
                  <a:gd name="T16" fmla="*/ 2 w 22"/>
                  <a:gd name="T17" fmla="*/ 21 h 25"/>
                  <a:gd name="T18" fmla="*/ 10 w 22"/>
                  <a:gd name="T19" fmla="*/ 25 h 25"/>
                  <a:gd name="T20" fmla="*/ 17 w 22"/>
                  <a:gd name="T21" fmla="*/ 24 h 25"/>
                  <a:gd name="T22" fmla="*/ 21 w 22"/>
                  <a:gd name="T23" fmla="*/ 19 h 25"/>
                  <a:gd name="T24" fmla="*/ 17 w 22"/>
                  <a:gd name="T25" fmla="*/ 18 h 25"/>
                  <a:gd name="T26" fmla="*/ 11 w 22"/>
                  <a:gd name="T27" fmla="*/ 22 h 25"/>
                  <a:gd name="T28" fmla="*/ 7 w 22"/>
                  <a:gd name="T29" fmla="*/ 4 h 25"/>
                  <a:gd name="T30" fmla="*/ 12 w 22"/>
                  <a:gd name="T31" fmla="*/ 3 h 25"/>
                  <a:gd name="T32" fmla="*/ 16 w 22"/>
                  <a:gd name="T33" fmla="*/ 4 h 25"/>
                  <a:gd name="T34" fmla="*/ 17 w 22"/>
                  <a:gd name="T35" fmla="*/ 7 h 25"/>
                  <a:gd name="T36" fmla="*/ 18 w 22"/>
                  <a:gd name="T37" fmla="*/ 11 h 25"/>
                  <a:gd name="T38" fmla="*/ 5 w 22"/>
                  <a:gd name="T39" fmla="*/ 9 h 25"/>
                  <a:gd name="T40" fmla="*/ 7 w 22"/>
                  <a:gd name="T41" fmla="*/ 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2" h="25">
                    <a:moveTo>
                      <a:pt x="11" y="22"/>
                    </a:moveTo>
                    <a:cubicBezTo>
                      <a:pt x="9" y="22"/>
                      <a:pt x="7" y="21"/>
                      <a:pt x="6" y="20"/>
                    </a:cubicBezTo>
                    <a:cubicBezTo>
                      <a:pt x="5" y="18"/>
                      <a:pt x="4" y="16"/>
                      <a:pt x="4" y="12"/>
                    </a:cubicBezTo>
                    <a:cubicBezTo>
                      <a:pt x="22" y="14"/>
                      <a:pt x="22" y="14"/>
                      <a:pt x="22" y="14"/>
                    </a:cubicBezTo>
                    <a:cubicBezTo>
                      <a:pt x="22" y="9"/>
                      <a:pt x="21" y="6"/>
                      <a:pt x="20" y="4"/>
                    </a:cubicBezTo>
                    <a:cubicBezTo>
                      <a:pt x="18" y="1"/>
                      <a:pt x="15" y="0"/>
                      <a:pt x="12" y="0"/>
                    </a:cubicBezTo>
                    <a:cubicBezTo>
                      <a:pt x="9" y="0"/>
                      <a:pt x="6" y="1"/>
                      <a:pt x="4" y="3"/>
                    </a:cubicBezTo>
                    <a:cubicBezTo>
                      <a:pt x="2" y="5"/>
                      <a:pt x="1" y="8"/>
                      <a:pt x="0" y="12"/>
                    </a:cubicBezTo>
                    <a:cubicBezTo>
                      <a:pt x="0" y="15"/>
                      <a:pt x="1" y="18"/>
                      <a:pt x="2" y="21"/>
                    </a:cubicBezTo>
                    <a:cubicBezTo>
                      <a:pt x="4" y="23"/>
                      <a:pt x="7" y="25"/>
                      <a:pt x="10" y="25"/>
                    </a:cubicBezTo>
                    <a:cubicBezTo>
                      <a:pt x="13" y="25"/>
                      <a:pt x="15" y="25"/>
                      <a:pt x="17" y="24"/>
                    </a:cubicBezTo>
                    <a:cubicBezTo>
                      <a:pt x="19" y="22"/>
                      <a:pt x="20" y="21"/>
                      <a:pt x="21" y="19"/>
                    </a:cubicBezTo>
                    <a:cubicBezTo>
                      <a:pt x="17" y="18"/>
                      <a:pt x="17" y="18"/>
                      <a:pt x="17" y="18"/>
                    </a:cubicBezTo>
                    <a:cubicBezTo>
                      <a:pt x="16" y="21"/>
                      <a:pt x="14" y="22"/>
                      <a:pt x="11" y="22"/>
                    </a:cubicBezTo>
                    <a:close/>
                    <a:moveTo>
                      <a:pt x="7" y="4"/>
                    </a:moveTo>
                    <a:cubicBezTo>
                      <a:pt x="9" y="3"/>
                      <a:pt x="10" y="3"/>
                      <a:pt x="12" y="3"/>
                    </a:cubicBezTo>
                    <a:cubicBezTo>
                      <a:pt x="14" y="3"/>
                      <a:pt x="15" y="3"/>
                      <a:pt x="16" y="4"/>
                    </a:cubicBezTo>
                    <a:cubicBezTo>
                      <a:pt x="17" y="5"/>
                      <a:pt x="17" y="6"/>
                      <a:pt x="17" y="7"/>
                    </a:cubicBezTo>
                    <a:cubicBezTo>
                      <a:pt x="18" y="8"/>
                      <a:pt x="18" y="9"/>
                      <a:pt x="18" y="11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7"/>
                      <a:pt x="6" y="6"/>
                      <a:pt x="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49" name="Freeform 140"/>
              <p:cNvSpPr>
                <a:spLocks noEditPoints="1"/>
              </p:cNvSpPr>
              <p:nvPr/>
            </p:nvSpPr>
            <p:spPr bwMode="auto">
              <a:xfrm>
                <a:off x="2560638" y="633413"/>
                <a:ext cx="57150" cy="209550"/>
              </a:xfrm>
              <a:custGeom>
                <a:avLst/>
                <a:gdLst>
                  <a:gd name="T0" fmla="*/ 36 w 36"/>
                  <a:gd name="T1" fmla="*/ 2 h 132"/>
                  <a:gd name="T2" fmla="*/ 33 w 36"/>
                  <a:gd name="T3" fmla="*/ 19 h 132"/>
                  <a:gd name="T4" fmla="*/ 17 w 36"/>
                  <a:gd name="T5" fmla="*/ 16 h 132"/>
                  <a:gd name="T6" fmla="*/ 19 w 36"/>
                  <a:gd name="T7" fmla="*/ 0 h 132"/>
                  <a:gd name="T8" fmla="*/ 36 w 36"/>
                  <a:gd name="T9" fmla="*/ 2 h 132"/>
                  <a:gd name="T10" fmla="*/ 29 w 36"/>
                  <a:gd name="T11" fmla="*/ 35 h 132"/>
                  <a:gd name="T12" fmla="*/ 14 w 36"/>
                  <a:gd name="T13" fmla="*/ 132 h 132"/>
                  <a:gd name="T14" fmla="*/ 0 w 36"/>
                  <a:gd name="T15" fmla="*/ 130 h 132"/>
                  <a:gd name="T16" fmla="*/ 14 w 36"/>
                  <a:gd name="T17" fmla="*/ 33 h 132"/>
                  <a:gd name="T18" fmla="*/ 29 w 36"/>
                  <a:gd name="T19" fmla="*/ 35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" h="132">
                    <a:moveTo>
                      <a:pt x="36" y="2"/>
                    </a:moveTo>
                    <a:lnTo>
                      <a:pt x="33" y="19"/>
                    </a:lnTo>
                    <a:lnTo>
                      <a:pt x="17" y="16"/>
                    </a:lnTo>
                    <a:lnTo>
                      <a:pt x="19" y="0"/>
                    </a:lnTo>
                    <a:lnTo>
                      <a:pt x="36" y="2"/>
                    </a:lnTo>
                    <a:close/>
                    <a:moveTo>
                      <a:pt x="29" y="35"/>
                    </a:moveTo>
                    <a:lnTo>
                      <a:pt x="14" y="132"/>
                    </a:lnTo>
                    <a:lnTo>
                      <a:pt x="0" y="130"/>
                    </a:lnTo>
                    <a:lnTo>
                      <a:pt x="14" y="33"/>
                    </a:lnTo>
                    <a:lnTo>
                      <a:pt x="29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50" name="Freeform 141"/>
              <p:cNvSpPr/>
              <p:nvPr/>
            </p:nvSpPr>
            <p:spPr bwMode="auto">
              <a:xfrm>
                <a:off x="2628900" y="696913"/>
                <a:ext cx="139700" cy="173038"/>
              </a:xfrm>
              <a:custGeom>
                <a:avLst/>
                <a:gdLst>
                  <a:gd name="T0" fmla="*/ 32 w 37"/>
                  <a:gd name="T1" fmla="*/ 46 h 46"/>
                  <a:gd name="T2" fmla="*/ 26 w 37"/>
                  <a:gd name="T3" fmla="*/ 45 h 46"/>
                  <a:gd name="T4" fmla="*/ 30 w 37"/>
                  <a:gd name="T5" fmla="*/ 19 h 46"/>
                  <a:gd name="T6" fmla="*/ 29 w 37"/>
                  <a:gd name="T7" fmla="*/ 11 h 46"/>
                  <a:gd name="T8" fmla="*/ 23 w 37"/>
                  <a:gd name="T9" fmla="*/ 7 h 46"/>
                  <a:gd name="T10" fmla="*/ 15 w 37"/>
                  <a:gd name="T11" fmla="*/ 10 h 46"/>
                  <a:gd name="T12" fmla="*/ 10 w 37"/>
                  <a:gd name="T13" fmla="*/ 20 h 46"/>
                  <a:gd name="T14" fmla="*/ 7 w 37"/>
                  <a:gd name="T15" fmla="*/ 42 h 46"/>
                  <a:gd name="T16" fmla="*/ 0 w 37"/>
                  <a:gd name="T17" fmla="*/ 41 h 46"/>
                  <a:gd name="T18" fmla="*/ 7 w 37"/>
                  <a:gd name="T19" fmla="*/ 0 h 46"/>
                  <a:gd name="T20" fmla="*/ 12 w 37"/>
                  <a:gd name="T21" fmla="*/ 1 h 46"/>
                  <a:gd name="T22" fmla="*/ 11 w 37"/>
                  <a:gd name="T23" fmla="*/ 9 h 46"/>
                  <a:gd name="T24" fmla="*/ 25 w 37"/>
                  <a:gd name="T25" fmla="*/ 2 h 46"/>
                  <a:gd name="T26" fmla="*/ 33 w 37"/>
                  <a:gd name="T27" fmla="*/ 6 h 46"/>
                  <a:gd name="T28" fmla="*/ 36 w 37"/>
                  <a:gd name="T29" fmla="*/ 12 h 46"/>
                  <a:gd name="T30" fmla="*/ 36 w 37"/>
                  <a:gd name="T31" fmla="*/ 22 h 46"/>
                  <a:gd name="T32" fmla="*/ 32 w 37"/>
                  <a:gd name="T33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7" h="46">
                    <a:moveTo>
                      <a:pt x="32" y="46"/>
                    </a:moveTo>
                    <a:cubicBezTo>
                      <a:pt x="26" y="45"/>
                      <a:pt x="26" y="45"/>
                      <a:pt x="26" y="45"/>
                    </a:cubicBezTo>
                    <a:cubicBezTo>
                      <a:pt x="30" y="19"/>
                      <a:pt x="30" y="19"/>
                      <a:pt x="30" y="19"/>
                    </a:cubicBezTo>
                    <a:cubicBezTo>
                      <a:pt x="31" y="15"/>
                      <a:pt x="30" y="12"/>
                      <a:pt x="29" y="11"/>
                    </a:cubicBezTo>
                    <a:cubicBezTo>
                      <a:pt x="28" y="9"/>
                      <a:pt x="26" y="8"/>
                      <a:pt x="23" y="7"/>
                    </a:cubicBezTo>
                    <a:cubicBezTo>
                      <a:pt x="20" y="7"/>
                      <a:pt x="17" y="8"/>
                      <a:pt x="15" y="10"/>
                    </a:cubicBezTo>
                    <a:cubicBezTo>
                      <a:pt x="12" y="12"/>
                      <a:pt x="11" y="15"/>
                      <a:pt x="10" y="20"/>
                    </a:cubicBezTo>
                    <a:cubicBezTo>
                      <a:pt x="7" y="42"/>
                      <a:pt x="7" y="42"/>
                      <a:pt x="7" y="42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5" y="4"/>
                      <a:pt x="20" y="1"/>
                      <a:pt x="25" y="2"/>
                    </a:cubicBezTo>
                    <a:cubicBezTo>
                      <a:pt x="28" y="3"/>
                      <a:pt x="31" y="4"/>
                      <a:pt x="33" y="6"/>
                    </a:cubicBezTo>
                    <a:cubicBezTo>
                      <a:pt x="34" y="8"/>
                      <a:pt x="36" y="10"/>
                      <a:pt x="36" y="12"/>
                    </a:cubicBezTo>
                    <a:cubicBezTo>
                      <a:pt x="37" y="14"/>
                      <a:pt x="36" y="17"/>
                      <a:pt x="36" y="22"/>
                    </a:cubicBezTo>
                    <a:lnTo>
                      <a:pt x="32" y="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51" name="Freeform 142"/>
              <p:cNvSpPr>
                <a:spLocks noEditPoints="1"/>
              </p:cNvSpPr>
              <p:nvPr/>
            </p:nvSpPr>
            <p:spPr bwMode="auto">
              <a:xfrm>
                <a:off x="2790825" y="685801"/>
                <a:ext cx="153988" cy="206375"/>
              </a:xfrm>
              <a:custGeom>
                <a:avLst/>
                <a:gdLst>
                  <a:gd name="T0" fmla="*/ 41 w 41"/>
                  <a:gd name="T1" fmla="*/ 1 h 55"/>
                  <a:gd name="T2" fmla="*/ 33 w 41"/>
                  <a:gd name="T3" fmla="*/ 55 h 55"/>
                  <a:gd name="T4" fmla="*/ 27 w 41"/>
                  <a:gd name="T5" fmla="*/ 55 h 55"/>
                  <a:gd name="T6" fmla="*/ 28 w 41"/>
                  <a:gd name="T7" fmla="*/ 48 h 55"/>
                  <a:gd name="T8" fmla="*/ 14 w 41"/>
                  <a:gd name="T9" fmla="*/ 54 h 55"/>
                  <a:gd name="T10" fmla="*/ 4 w 41"/>
                  <a:gd name="T11" fmla="*/ 46 h 55"/>
                  <a:gd name="T12" fmla="*/ 1 w 41"/>
                  <a:gd name="T13" fmla="*/ 30 h 55"/>
                  <a:gd name="T14" fmla="*/ 8 w 41"/>
                  <a:gd name="T15" fmla="*/ 16 h 55"/>
                  <a:gd name="T16" fmla="*/ 21 w 41"/>
                  <a:gd name="T17" fmla="*/ 11 h 55"/>
                  <a:gd name="T18" fmla="*/ 32 w 41"/>
                  <a:gd name="T19" fmla="*/ 20 h 55"/>
                  <a:gd name="T20" fmla="*/ 35 w 41"/>
                  <a:gd name="T21" fmla="*/ 0 h 55"/>
                  <a:gd name="T22" fmla="*/ 41 w 41"/>
                  <a:gd name="T23" fmla="*/ 1 h 55"/>
                  <a:gd name="T24" fmla="*/ 30 w 41"/>
                  <a:gd name="T25" fmla="*/ 30 h 55"/>
                  <a:gd name="T26" fmla="*/ 29 w 41"/>
                  <a:gd name="T27" fmla="*/ 21 h 55"/>
                  <a:gd name="T28" fmla="*/ 22 w 41"/>
                  <a:gd name="T29" fmla="*/ 17 h 55"/>
                  <a:gd name="T30" fmla="*/ 13 w 41"/>
                  <a:gd name="T31" fmla="*/ 19 h 55"/>
                  <a:gd name="T32" fmla="*/ 8 w 41"/>
                  <a:gd name="T33" fmla="*/ 31 h 55"/>
                  <a:gd name="T34" fmla="*/ 9 w 41"/>
                  <a:gd name="T35" fmla="*/ 43 h 55"/>
                  <a:gd name="T36" fmla="*/ 16 w 41"/>
                  <a:gd name="T37" fmla="*/ 49 h 55"/>
                  <a:gd name="T38" fmla="*/ 24 w 41"/>
                  <a:gd name="T39" fmla="*/ 46 h 55"/>
                  <a:gd name="T40" fmla="*/ 29 w 41"/>
                  <a:gd name="T41" fmla="*/ 38 h 55"/>
                  <a:gd name="T42" fmla="*/ 30 w 41"/>
                  <a:gd name="T43" fmla="*/ 3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55">
                    <a:moveTo>
                      <a:pt x="41" y="1"/>
                    </a:moveTo>
                    <a:cubicBezTo>
                      <a:pt x="33" y="55"/>
                      <a:pt x="33" y="55"/>
                      <a:pt x="33" y="55"/>
                    </a:cubicBezTo>
                    <a:cubicBezTo>
                      <a:pt x="27" y="55"/>
                      <a:pt x="27" y="55"/>
                      <a:pt x="27" y="55"/>
                    </a:cubicBezTo>
                    <a:cubicBezTo>
                      <a:pt x="28" y="48"/>
                      <a:pt x="28" y="48"/>
                      <a:pt x="28" y="48"/>
                    </a:cubicBezTo>
                    <a:cubicBezTo>
                      <a:pt x="25" y="53"/>
                      <a:pt x="20" y="55"/>
                      <a:pt x="14" y="54"/>
                    </a:cubicBezTo>
                    <a:cubicBezTo>
                      <a:pt x="10" y="53"/>
                      <a:pt x="6" y="50"/>
                      <a:pt x="4" y="46"/>
                    </a:cubicBezTo>
                    <a:cubicBezTo>
                      <a:pt x="1" y="42"/>
                      <a:pt x="0" y="36"/>
                      <a:pt x="1" y="30"/>
                    </a:cubicBezTo>
                    <a:cubicBezTo>
                      <a:pt x="2" y="24"/>
                      <a:pt x="5" y="19"/>
                      <a:pt x="8" y="16"/>
                    </a:cubicBezTo>
                    <a:cubicBezTo>
                      <a:pt x="12" y="12"/>
                      <a:pt x="16" y="11"/>
                      <a:pt x="21" y="11"/>
                    </a:cubicBezTo>
                    <a:cubicBezTo>
                      <a:pt x="26" y="12"/>
                      <a:pt x="30" y="15"/>
                      <a:pt x="32" y="20"/>
                    </a:cubicBezTo>
                    <a:cubicBezTo>
                      <a:pt x="35" y="0"/>
                      <a:pt x="35" y="0"/>
                      <a:pt x="35" y="0"/>
                    </a:cubicBezTo>
                    <a:lnTo>
                      <a:pt x="41" y="1"/>
                    </a:lnTo>
                    <a:close/>
                    <a:moveTo>
                      <a:pt x="30" y="30"/>
                    </a:moveTo>
                    <a:cubicBezTo>
                      <a:pt x="31" y="26"/>
                      <a:pt x="30" y="23"/>
                      <a:pt x="29" y="21"/>
                    </a:cubicBezTo>
                    <a:cubicBezTo>
                      <a:pt x="27" y="18"/>
                      <a:pt x="24" y="17"/>
                      <a:pt x="22" y="17"/>
                    </a:cubicBezTo>
                    <a:cubicBezTo>
                      <a:pt x="18" y="16"/>
                      <a:pt x="16" y="17"/>
                      <a:pt x="13" y="19"/>
                    </a:cubicBezTo>
                    <a:cubicBezTo>
                      <a:pt x="11" y="22"/>
                      <a:pt x="9" y="26"/>
                      <a:pt x="8" y="31"/>
                    </a:cubicBezTo>
                    <a:cubicBezTo>
                      <a:pt x="8" y="36"/>
                      <a:pt x="8" y="40"/>
                      <a:pt x="9" y="43"/>
                    </a:cubicBezTo>
                    <a:cubicBezTo>
                      <a:pt x="11" y="46"/>
                      <a:pt x="13" y="48"/>
                      <a:pt x="16" y="49"/>
                    </a:cubicBezTo>
                    <a:cubicBezTo>
                      <a:pt x="19" y="49"/>
                      <a:pt x="22" y="48"/>
                      <a:pt x="24" y="46"/>
                    </a:cubicBezTo>
                    <a:cubicBezTo>
                      <a:pt x="27" y="44"/>
                      <a:pt x="29" y="41"/>
                      <a:pt x="29" y="38"/>
                    </a:cubicBezTo>
                    <a:lnTo>
                      <a:pt x="30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52" name="Freeform 143"/>
              <p:cNvSpPr>
                <a:spLocks noEditPoints="1"/>
              </p:cNvSpPr>
              <p:nvPr/>
            </p:nvSpPr>
            <p:spPr bwMode="auto">
              <a:xfrm>
                <a:off x="2955925" y="752476"/>
                <a:ext cx="142875" cy="166688"/>
              </a:xfrm>
              <a:custGeom>
                <a:avLst/>
                <a:gdLst>
                  <a:gd name="T0" fmla="*/ 30 w 38"/>
                  <a:gd name="T1" fmla="*/ 32 h 44"/>
                  <a:gd name="T2" fmla="*/ 35 w 38"/>
                  <a:gd name="T3" fmla="*/ 34 h 44"/>
                  <a:gd name="T4" fmla="*/ 28 w 38"/>
                  <a:gd name="T5" fmla="*/ 41 h 44"/>
                  <a:gd name="T6" fmla="*/ 16 w 38"/>
                  <a:gd name="T7" fmla="*/ 43 h 44"/>
                  <a:gd name="T8" fmla="*/ 4 w 38"/>
                  <a:gd name="T9" fmla="*/ 35 h 44"/>
                  <a:gd name="T10" fmla="*/ 1 w 38"/>
                  <a:gd name="T11" fmla="*/ 19 h 44"/>
                  <a:gd name="T12" fmla="*/ 9 w 38"/>
                  <a:gd name="T13" fmla="*/ 4 h 44"/>
                  <a:gd name="T14" fmla="*/ 23 w 38"/>
                  <a:gd name="T15" fmla="*/ 1 h 44"/>
                  <a:gd name="T16" fmla="*/ 35 w 38"/>
                  <a:gd name="T17" fmla="*/ 8 h 44"/>
                  <a:gd name="T18" fmla="*/ 37 w 38"/>
                  <a:gd name="T19" fmla="*/ 25 h 44"/>
                  <a:gd name="T20" fmla="*/ 8 w 38"/>
                  <a:gd name="T21" fmla="*/ 21 h 44"/>
                  <a:gd name="T22" fmla="*/ 10 w 38"/>
                  <a:gd name="T23" fmla="*/ 33 h 44"/>
                  <a:gd name="T24" fmla="*/ 18 w 38"/>
                  <a:gd name="T25" fmla="*/ 38 h 44"/>
                  <a:gd name="T26" fmla="*/ 30 w 38"/>
                  <a:gd name="T27" fmla="*/ 32 h 44"/>
                  <a:gd name="T28" fmla="*/ 31 w 38"/>
                  <a:gd name="T29" fmla="*/ 19 h 44"/>
                  <a:gd name="T30" fmla="*/ 31 w 38"/>
                  <a:gd name="T31" fmla="*/ 13 h 44"/>
                  <a:gd name="T32" fmla="*/ 28 w 38"/>
                  <a:gd name="T33" fmla="*/ 8 h 44"/>
                  <a:gd name="T34" fmla="*/ 23 w 38"/>
                  <a:gd name="T35" fmla="*/ 5 h 44"/>
                  <a:gd name="T36" fmla="*/ 14 w 38"/>
                  <a:gd name="T37" fmla="*/ 8 h 44"/>
                  <a:gd name="T38" fmla="*/ 9 w 38"/>
                  <a:gd name="T39" fmla="*/ 16 h 44"/>
                  <a:gd name="T40" fmla="*/ 31 w 38"/>
                  <a:gd name="T41" fmla="*/ 19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8" h="44">
                    <a:moveTo>
                      <a:pt x="30" y="32"/>
                    </a:moveTo>
                    <a:cubicBezTo>
                      <a:pt x="35" y="34"/>
                      <a:pt x="35" y="34"/>
                      <a:pt x="35" y="34"/>
                    </a:cubicBezTo>
                    <a:cubicBezTo>
                      <a:pt x="34" y="37"/>
                      <a:pt x="31" y="40"/>
                      <a:pt x="28" y="41"/>
                    </a:cubicBezTo>
                    <a:cubicBezTo>
                      <a:pt x="24" y="43"/>
                      <a:pt x="20" y="44"/>
                      <a:pt x="16" y="43"/>
                    </a:cubicBezTo>
                    <a:cubicBezTo>
                      <a:pt x="11" y="42"/>
                      <a:pt x="7" y="39"/>
                      <a:pt x="4" y="35"/>
                    </a:cubicBezTo>
                    <a:cubicBezTo>
                      <a:pt x="1" y="31"/>
                      <a:pt x="0" y="25"/>
                      <a:pt x="1" y="19"/>
                    </a:cubicBezTo>
                    <a:cubicBezTo>
                      <a:pt x="2" y="13"/>
                      <a:pt x="5" y="8"/>
                      <a:pt x="9" y="4"/>
                    </a:cubicBezTo>
                    <a:cubicBezTo>
                      <a:pt x="13" y="1"/>
                      <a:pt x="18" y="0"/>
                      <a:pt x="23" y="1"/>
                    </a:cubicBezTo>
                    <a:cubicBezTo>
                      <a:pt x="28" y="1"/>
                      <a:pt x="32" y="4"/>
                      <a:pt x="35" y="8"/>
                    </a:cubicBezTo>
                    <a:cubicBezTo>
                      <a:pt x="38" y="12"/>
                      <a:pt x="38" y="18"/>
                      <a:pt x="37" y="25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7" y="27"/>
                      <a:pt x="8" y="31"/>
                      <a:pt x="10" y="33"/>
                    </a:cubicBezTo>
                    <a:cubicBezTo>
                      <a:pt x="12" y="36"/>
                      <a:pt x="15" y="37"/>
                      <a:pt x="18" y="38"/>
                    </a:cubicBezTo>
                    <a:cubicBezTo>
                      <a:pt x="23" y="39"/>
                      <a:pt x="27" y="37"/>
                      <a:pt x="30" y="32"/>
                    </a:cubicBezTo>
                    <a:close/>
                    <a:moveTo>
                      <a:pt x="31" y="19"/>
                    </a:moveTo>
                    <a:cubicBezTo>
                      <a:pt x="31" y="17"/>
                      <a:pt x="31" y="15"/>
                      <a:pt x="31" y="13"/>
                    </a:cubicBezTo>
                    <a:cubicBezTo>
                      <a:pt x="31" y="11"/>
                      <a:pt x="30" y="10"/>
                      <a:pt x="28" y="8"/>
                    </a:cubicBezTo>
                    <a:cubicBezTo>
                      <a:pt x="27" y="7"/>
                      <a:pt x="25" y="6"/>
                      <a:pt x="23" y="5"/>
                    </a:cubicBezTo>
                    <a:cubicBezTo>
                      <a:pt x="19" y="5"/>
                      <a:pt x="17" y="6"/>
                      <a:pt x="14" y="8"/>
                    </a:cubicBezTo>
                    <a:cubicBezTo>
                      <a:pt x="12" y="9"/>
                      <a:pt x="10" y="12"/>
                      <a:pt x="9" y="16"/>
                    </a:cubicBezTo>
                    <a:lnTo>
                      <a:pt x="31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53" name="Freeform 144"/>
              <p:cNvSpPr/>
              <p:nvPr/>
            </p:nvSpPr>
            <p:spPr bwMode="auto">
              <a:xfrm>
                <a:off x="3090863" y="771526"/>
                <a:ext cx="142875" cy="169863"/>
              </a:xfrm>
              <a:custGeom>
                <a:avLst/>
                <a:gdLst>
                  <a:gd name="T0" fmla="*/ 81 w 90"/>
                  <a:gd name="T1" fmla="*/ 107 h 107"/>
                  <a:gd name="T2" fmla="*/ 64 w 90"/>
                  <a:gd name="T3" fmla="*/ 104 h 107"/>
                  <a:gd name="T4" fmla="*/ 45 w 90"/>
                  <a:gd name="T5" fmla="*/ 62 h 107"/>
                  <a:gd name="T6" fmla="*/ 14 w 90"/>
                  <a:gd name="T7" fmla="*/ 97 h 107"/>
                  <a:gd name="T8" fmla="*/ 0 w 90"/>
                  <a:gd name="T9" fmla="*/ 95 h 107"/>
                  <a:gd name="T10" fmla="*/ 40 w 90"/>
                  <a:gd name="T11" fmla="*/ 50 h 107"/>
                  <a:gd name="T12" fmla="*/ 19 w 90"/>
                  <a:gd name="T13" fmla="*/ 0 h 107"/>
                  <a:gd name="T14" fmla="*/ 36 w 90"/>
                  <a:gd name="T15" fmla="*/ 3 h 107"/>
                  <a:gd name="T16" fmla="*/ 50 w 90"/>
                  <a:gd name="T17" fmla="*/ 38 h 107"/>
                  <a:gd name="T18" fmla="*/ 76 w 90"/>
                  <a:gd name="T19" fmla="*/ 10 h 107"/>
                  <a:gd name="T20" fmla="*/ 90 w 90"/>
                  <a:gd name="T21" fmla="*/ 12 h 107"/>
                  <a:gd name="T22" fmla="*/ 57 w 90"/>
                  <a:gd name="T23" fmla="*/ 50 h 107"/>
                  <a:gd name="T24" fmla="*/ 81 w 90"/>
                  <a:gd name="T25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0" h="107">
                    <a:moveTo>
                      <a:pt x="81" y="107"/>
                    </a:moveTo>
                    <a:lnTo>
                      <a:pt x="64" y="104"/>
                    </a:lnTo>
                    <a:lnTo>
                      <a:pt x="45" y="62"/>
                    </a:lnTo>
                    <a:lnTo>
                      <a:pt x="14" y="97"/>
                    </a:lnTo>
                    <a:lnTo>
                      <a:pt x="0" y="95"/>
                    </a:lnTo>
                    <a:lnTo>
                      <a:pt x="40" y="50"/>
                    </a:lnTo>
                    <a:lnTo>
                      <a:pt x="19" y="0"/>
                    </a:lnTo>
                    <a:lnTo>
                      <a:pt x="36" y="3"/>
                    </a:lnTo>
                    <a:lnTo>
                      <a:pt x="50" y="38"/>
                    </a:lnTo>
                    <a:lnTo>
                      <a:pt x="76" y="10"/>
                    </a:lnTo>
                    <a:lnTo>
                      <a:pt x="90" y="12"/>
                    </a:lnTo>
                    <a:lnTo>
                      <a:pt x="57" y="50"/>
                    </a:lnTo>
                    <a:lnTo>
                      <a:pt x="81" y="1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54" name="Freeform 145"/>
              <p:cNvSpPr>
                <a:spLocks noEditPoints="1"/>
              </p:cNvSpPr>
              <p:nvPr/>
            </p:nvSpPr>
            <p:spPr bwMode="auto">
              <a:xfrm>
                <a:off x="971550" y="2068513"/>
                <a:ext cx="112713" cy="96838"/>
              </a:xfrm>
              <a:custGeom>
                <a:avLst/>
                <a:gdLst>
                  <a:gd name="T0" fmla="*/ 3 w 30"/>
                  <a:gd name="T1" fmla="*/ 6 h 26"/>
                  <a:gd name="T2" fmla="*/ 6 w 30"/>
                  <a:gd name="T3" fmla="*/ 14 h 26"/>
                  <a:gd name="T4" fmla="*/ 2 w 30"/>
                  <a:gd name="T5" fmla="*/ 13 h 26"/>
                  <a:gd name="T6" fmla="*/ 0 w 30"/>
                  <a:gd name="T7" fmla="*/ 16 h 26"/>
                  <a:gd name="T8" fmla="*/ 29 w 30"/>
                  <a:gd name="T9" fmla="*/ 26 h 26"/>
                  <a:gd name="T10" fmla="*/ 30 w 30"/>
                  <a:gd name="T11" fmla="*/ 22 h 26"/>
                  <a:gd name="T12" fmla="*/ 20 w 30"/>
                  <a:gd name="T13" fmla="*/ 19 h 26"/>
                  <a:gd name="T14" fmla="*/ 26 w 30"/>
                  <a:gd name="T15" fmla="*/ 14 h 26"/>
                  <a:gd name="T16" fmla="*/ 25 w 30"/>
                  <a:gd name="T17" fmla="*/ 7 h 26"/>
                  <a:gd name="T18" fmla="*/ 17 w 30"/>
                  <a:gd name="T19" fmla="*/ 1 h 26"/>
                  <a:gd name="T20" fmla="*/ 9 w 30"/>
                  <a:gd name="T21" fmla="*/ 1 h 26"/>
                  <a:gd name="T22" fmla="*/ 3 w 30"/>
                  <a:gd name="T23" fmla="*/ 6 h 26"/>
                  <a:gd name="T24" fmla="*/ 22 w 30"/>
                  <a:gd name="T25" fmla="*/ 9 h 26"/>
                  <a:gd name="T26" fmla="*/ 23 w 30"/>
                  <a:gd name="T27" fmla="*/ 14 h 26"/>
                  <a:gd name="T28" fmla="*/ 20 w 30"/>
                  <a:gd name="T29" fmla="*/ 17 h 26"/>
                  <a:gd name="T30" fmla="*/ 15 w 30"/>
                  <a:gd name="T31" fmla="*/ 17 h 26"/>
                  <a:gd name="T32" fmla="*/ 9 w 30"/>
                  <a:gd name="T33" fmla="*/ 15 h 26"/>
                  <a:gd name="T34" fmla="*/ 6 w 30"/>
                  <a:gd name="T35" fmla="*/ 12 h 26"/>
                  <a:gd name="T36" fmla="*/ 6 w 30"/>
                  <a:gd name="T37" fmla="*/ 8 h 26"/>
                  <a:gd name="T38" fmla="*/ 9 w 30"/>
                  <a:gd name="T39" fmla="*/ 4 h 26"/>
                  <a:gd name="T40" fmla="*/ 16 w 30"/>
                  <a:gd name="T41" fmla="*/ 5 h 26"/>
                  <a:gd name="T42" fmla="*/ 22 w 30"/>
                  <a:gd name="T43" fmla="*/ 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0" h="26">
                    <a:moveTo>
                      <a:pt x="3" y="6"/>
                    </a:moveTo>
                    <a:cubicBezTo>
                      <a:pt x="2" y="9"/>
                      <a:pt x="3" y="12"/>
                      <a:pt x="6" y="14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9" y="26"/>
                      <a:pt x="29" y="26"/>
                      <a:pt x="29" y="26"/>
                    </a:cubicBezTo>
                    <a:cubicBezTo>
                      <a:pt x="30" y="22"/>
                      <a:pt x="30" y="22"/>
                      <a:pt x="30" y="22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23" y="18"/>
                      <a:pt x="25" y="17"/>
                      <a:pt x="26" y="14"/>
                    </a:cubicBezTo>
                    <a:cubicBezTo>
                      <a:pt x="26" y="11"/>
                      <a:pt x="26" y="9"/>
                      <a:pt x="25" y="7"/>
                    </a:cubicBezTo>
                    <a:cubicBezTo>
                      <a:pt x="23" y="4"/>
                      <a:pt x="21" y="3"/>
                      <a:pt x="17" y="1"/>
                    </a:cubicBezTo>
                    <a:cubicBezTo>
                      <a:pt x="14" y="0"/>
                      <a:pt x="11" y="0"/>
                      <a:pt x="9" y="1"/>
                    </a:cubicBezTo>
                    <a:cubicBezTo>
                      <a:pt x="6" y="2"/>
                      <a:pt x="4" y="3"/>
                      <a:pt x="3" y="6"/>
                    </a:cubicBezTo>
                    <a:close/>
                    <a:moveTo>
                      <a:pt x="22" y="9"/>
                    </a:moveTo>
                    <a:cubicBezTo>
                      <a:pt x="23" y="11"/>
                      <a:pt x="23" y="12"/>
                      <a:pt x="23" y="14"/>
                    </a:cubicBezTo>
                    <a:cubicBezTo>
                      <a:pt x="22" y="15"/>
                      <a:pt x="21" y="16"/>
                      <a:pt x="20" y="17"/>
                    </a:cubicBezTo>
                    <a:cubicBezTo>
                      <a:pt x="18" y="17"/>
                      <a:pt x="17" y="18"/>
                      <a:pt x="15" y="17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8" y="14"/>
                      <a:pt x="7" y="13"/>
                      <a:pt x="6" y="12"/>
                    </a:cubicBezTo>
                    <a:cubicBezTo>
                      <a:pt x="6" y="10"/>
                      <a:pt x="5" y="9"/>
                      <a:pt x="6" y="8"/>
                    </a:cubicBezTo>
                    <a:cubicBezTo>
                      <a:pt x="7" y="6"/>
                      <a:pt x="8" y="5"/>
                      <a:pt x="9" y="4"/>
                    </a:cubicBezTo>
                    <a:cubicBezTo>
                      <a:pt x="11" y="4"/>
                      <a:pt x="14" y="4"/>
                      <a:pt x="16" y="5"/>
                    </a:cubicBezTo>
                    <a:cubicBezTo>
                      <a:pt x="19" y="6"/>
                      <a:pt x="21" y="8"/>
                      <a:pt x="2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55" name="Freeform 146"/>
              <p:cNvSpPr/>
              <p:nvPr/>
            </p:nvSpPr>
            <p:spPr bwMode="auto">
              <a:xfrm>
                <a:off x="1004888" y="2000251"/>
                <a:ext cx="82550" cy="68263"/>
              </a:xfrm>
              <a:custGeom>
                <a:avLst/>
                <a:gdLst>
                  <a:gd name="T0" fmla="*/ 2 w 22"/>
                  <a:gd name="T1" fmla="*/ 5 h 18"/>
                  <a:gd name="T2" fmla="*/ 6 w 22"/>
                  <a:gd name="T3" fmla="*/ 10 h 18"/>
                  <a:gd name="T4" fmla="*/ 1 w 22"/>
                  <a:gd name="T5" fmla="*/ 8 h 18"/>
                  <a:gd name="T6" fmla="*/ 0 w 22"/>
                  <a:gd name="T7" fmla="*/ 11 h 18"/>
                  <a:gd name="T8" fmla="*/ 21 w 22"/>
                  <a:gd name="T9" fmla="*/ 18 h 18"/>
                  <a:gd name="T10" fmla="*/ 22 w 22"/>
                  <a:gd name="T11" fmla="*/ 15 h 18"/>
                  <a:gd name="T12" fmla="*/ 11 w 22"/>
                  <a:gd name="T13" fmla="*/ 11 h 18"/>
                  <a:gd name="T14" fmla="*/ 6 w 22"/>
                  <a:gd name="T15" fmla="*/ 7 h 18"/>
                  <a:gd name="T16" fmla="*/ 6 w 22"/>
                  <a:gd name="T17" fmla="*/ 2 h 18"/>
                  <a:gd name="T18" fmla="*/ 6 w 22"/>
                  <a:gd name="T19" fmla="*/ 1 h 18"/>
                  <a:gd name="T20" fmla="*/ 3 w 22"/>
                  <a:gd name="T21" fmla="*/ 0 h 18"/>
                  <a:gd name="T22" fmla="*/ 2 w 22"/>
                  <a:gd name="T23" fmla="*/ 2 h 18"/>
                  <a:gd name="T24" fmla="*/ 2 w 22"/>
                  <a:gd name="T25" fmla="*/ 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18">
                    <a:moveTo>
                      <a:pt x="2" y="5"/>
                    </a:moveTo>
                    <a:cubicBezTo>
                      <a:pt x="2" y="6"/>
                      <a:pt x="4" y="8"/>
                      <a:pt x="6" y="10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2" y="15"/>
                      <a:pt x="22" y="15"/>
                      <a:pt x="22" y="15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9" y="10"/>
                      <a:pt x="7" y="9"/>
                      <a:pt x="6" y="7"/>
                    </a:cubicBezTo>
                    <a:cubicBezTo>
                      <a:pt x="5" y="6"/>
                      <a:pt x="5" y="4"/>
                      <a:pt x="6" y="2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1"/>
                      <a:pt x="2" y="1"/>
                      <a:pt x="2" y="2"/>
                    </a:cubicBezTo>
                    <a:cubicBezTo>
                      <a:pt x="2" y="3"/>
                      <a:pt x="2" y="4"/>
                      <a:pt x="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56" name="Freeform 147"/>
              <p:cNvSpPr>
                <a:spLocks noEditPoints="1"/>
              </p:cNvSpPr>
              <p:nvPr/>
            </p:nvSpPr>
            <p:spPr bwMode="auto">
              <a:xfrm>
                <a:off x="1027113" y="1936751"/>
                <a:ext cx="90488" cy="79375"/>
              </a:xfrm>
              <a:custGeom>
                <a:avLst/>
                <a:gdLst>
                  <a:gd name="T0" fmla="*/ 1 w 24"/>
                  <a:gd name="T1" fmla="*/ 6 h 21"/>
                  <a:gd name="T2" fmla="*/ 1 w 24"/>
                  <a:gd name="T3" fmla="*/ 14 h 21"/>
                  <a:gd name="T4" fmla="*/ 8 w 24"/>
                  <a:gd name="T5" fmla="*/ 20 h 21"/>
                  <a:gd name="T6" fmla="*/ 17 w 24"/>
                  <a:gd name="T7" fmla="*/ 20 h 21"/>
                  <a:gd name="T8" fmla="*/ 23 w 24"/>
                  <a:gd name="T9" fmla="*/ 15 h 21"/>
                  <a:gd name="T10" fmla="*/ 22 w 24"/>
                  <a:gd name="T11" fmla="*/ 7 h 21"/>
                  <a:gd name="T12" fmla="*/ 15 w 24"/>
                  <a:gd name="T13" fmla="*/ 1 h 21"/>
                  <a:gd name="T14" fmla="*/ 6 w 24"/>
                  <a:gd name="T15" fmla="*/ 1 h 21"/>
                  <a:gd name="T16" fmla="*/ 1 w 24"/>
                  <a:gd name="T17" fmla="*/ 6 h 21"/>
                  <a:gd name="T18" fmla="*/ 20 w 24"/>
                  <a:gd name="T19" fmla="*/ 9 h 21"/>
                  <a:gd name="T20" fmla="*/ 20 w 24"/>
                  <a:gd name="T21" fmla="*/ 13 h 21"/>
                  <a:gd name="T22" fmla="*/ 17 w 24"/>
                  <a:gd name="T23" fmla="*/ 17 h 21"/>
                  <a:gd name="T24" fmla="*/ 9 w 24"/>
                  <a:gd name="T25" fmla="*/ 16 h 21"/>
                  <a:gd name="T26" fmla="*/ 4 w 24"/>
                  <a:gd name="T27" fmla="*/ 12 h 21"/>
                  <a:gd name="T28" fmla="*/ 3 w 24"/>
                  <a:gd name="T29" fmla="*/ 8 h 21"/>
                  <a:gd name="T30" fmla="*/ 7 w 24"/>
                  <a:gd name="T31" fmla="*/ 4 h 21"/>
                  <a:gd name="T32" fmla="*/ 14 w 24"/>
                  <a:gd name="T33" fmla="*/ 5 h 21"/>
                  <a:gd name="T34" fmla="*/ 20 w 24"/>
                  <a:gd name="T35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4" h="21">
                    <a:moveTo>
                      <a:pt x="1" y="6"/>
                    </a:moveTo>
                    <a:cubicBezTo>
                      <a:pt x="0" y="9"/>
                      <a:pt x="0" y="12"/>
                      <a:pt x="1" y="14"/>
                    </a:cubicBezTo>
                    <a:cubicBezTo>
                      <a:pt x="3" y="17"/>
                      <a:pt x="5" y="19"/>
                      <a:pt x="8" y="20"/>
                    </a:cubicBezTo>
                    <a:cubicBezTo>
                      <a:pt x="11" y="21"/>
                      <a:pt x="14" y="21"/>
                      <a:pt x="17" y="20"/>
                    </a:cubicBezTo>
                    <a:cubicBezTo>
                      <a:pt x="20" y="19"/>
                      <a:pt x="22" y="18"/>
                      <a:pt x="23" y="15"/>
                    </a:cubicBezTo>
                    <a:cubicBezTo>
                      <a:pt x="24" y="12"/>
                      <a:pt x="24" y="9"/>
                      <a:pt x="22" y="7"/>
                    </a:cubicBezTo>
                    <a:cubicBezTo>
                      <a:pt x="21" y="4"/>
                      <a:pt x="18" y="2"/>
                      <a:pt x="15" y="1"/>
                    </a:cubicBezTo>
                    <a:cubicBezTo>
                      <a:pt x="12" y="0"/>
                      <a:pt x="9" y="0"/>
                      <a:pt x="6" y="1"/>
                    </a:cubicBezTo>
                    <a:cubicBezTo>
                      <a:pt x="4" y="2"/>
                      <a:pt x="2" y="4"/>
                      <a:pt x="1" y="6"/>
                    </a:cubicBezTo>
                    <a:close/>
                    <a:moveTo>
                      <a:pt x="20" y="9"/>
                    </a:moveTo>
                    <a:cubicBezTo>
                      <a:pt x="20" y="10"/>
                      <a:pt x="21" y="12"/>
                      <a:pt x="20" y="13"/>
                    </a:cubicBezTo>
                    <a:cubicBezTo>
                      <a:pt x="19" y="15"/>
                      <a:pt x="18" y="16"/>
                      <a:pt x="17" y="17"/>
                    </a:cubicBezTo>
                    <a:cubicBezTo>
                      <a:pt x="15" y="18"/>
                      <a:pt x="13" y="17"/>
                      <a:pt x="9" y="16"/>
                    </a:cubicBezTo>
                    <a:cubicBezTo>
                      <a:pt x="7" y="15"/>
                      <a:pt x="5" y="14"/>
                      <a:pt x="4" y="12"/>
                    </a:cubicBezTo>
                    <a:cubicBezTo>
                      <a:pt x="3" y="11"/>
                      <a:pt x="3" y="9"/>
                      <a:pt x="3" y="8"/>
                    </a:cubicBezTo>
                    <a:cubicBezTo>
                      <a:pt x="4" y="6"/>
                      <a:pt x="5" y="5"/>
                      <a:pt x="7" y="4"/>
                    </a:cubicBezTo>
                    <a:cubicBezTo>
                      <a:pt x="8" y="3"/>
                      <a:pt x="11" y="4"/>
                      <a:pt x="14" y="5"/>
                    </a:cubicBezTo>
                    <a:cubicBezTo>
                      <a:pt x="17" y="6"/>
                      <a:pt x="19" y="7"/>
                      <a:pt x="2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57" name="Freeform 148"/>
              <p:cNvSpPr/>
              <p:nvPr/>
            </p:nvSpPr>
            <p:spPr bwMode="auto">
              <a:xfrm>
                <a:off x="1054100" y="1857376"/>
                <a:ext cx="90488" cy="76200"/>
              </a:xfrm>
              <a:custGeom>
                <a:avLst/>
                <a:gdLst>
                  <a:gd name="T0" fmla="*/ 4 w 24"/>
                  <a:gd name="T1" fmla="*/ 7 h 20"/>
                  <a:gd name="T2" fmla="*/ 11 w 24"/>
                  <a:gd name="T3" fmla="*/ 4 h 20"/>
                  <a:gd name="T4" fmla="*/ 12 w 24"/>
                  <a:gd name="T5" fmla="*/ 0 h 20"/>
                  <a:gd name="T6" fmla="*/ 5 w 24"/>
                  <a:gd name="T7" fmla="*/ 1 h 20"/>
                  <a:gd name="T8" fmla="*/ 1 w 24"/>
                  <a:gd name="T9" fmla="*/ 6 h 20"/>
                  <a:gd name="T10" fmla="*/ 2 w 24"/>
                  <a:gd name="T11" fmla="*/ 14 h 20"/>
                  <a:gd name="T12" fmla="*/ 9 w 24"/>
                  <a:gd name="T13" fmla="*/ 19 h 20"/>
                  <a:gd name="T14" fmla="*/ 18 w 24"/>
                  <a:gd name="T15" fmla="*/ 19 h 20"/>
                  <a:gd name="T16" fmla="*/ 24 w 24"/>
                  <a:gd name="T17" fmla="*/ 14 h 20"/>
                  <a:gd name="T18" fmla="*/ 23 w 24"/>
                  <a:gd name="T19" fmla="*/ 8 h 20"/>
                  <a:gd name="T20" fmla="*/ 19 w 24"/>
                  <a:gd name="T21" fmla="*/ 3 h 20"/>
                  <a:gd name="T22" fmla="*/ 17 w 24"/>
                  <a:gd name="T23" fmla="*/ 6 h 20"/>
                  <a:gd name="T24" fmla="*/ 21 w 24"/>
                  <a:gd name="T25" fmla="*/ 13 h 20"/>
                  <a:gd name="T26" fmla="*/ 17 w 24"/>
                  <a:gd name="T27" fmla="*/ 16 h 20"/>
                  <a:gd name="T28" fmla="*/ 10 w 24"/>
                  <a:gd name="T29" fmla="*/ 15 h 20"/>
                  <a:gd name="T30" fmla="*/ 5 w 24"/>
                  <a:gd name="T31" fmla="*/ 12 h 20"/>
                  <a:gd name="T32" fmla="*/ 4 w 24"/>
                  <a:gd name="T33" fmla="*/ 7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20">
                    <a:moveTo>
                      <a:pt x="4" y="7"/>
                    </a:moveTo>
                    <a:cubicBezTo>
                      <a:pt x="5" y="4"/>
                      <a:pt x="7" y="3"/>
                      <a:pt x="11" y="4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7" y="0"/>
                      <a:pt x="5" y="1"/>
                    </a:cubicBezTo>
                    <a:cubicBezTo>
                      <a:pt x="3" y="2"/>
                      <a:pt x="2" y="4"/>
                      <a:pt x="1" y="6"/>
                    </a:cubicBezTo>
                    <a:cubicBezTo>
                      <a:pt x="0" y="9"/>
                      <a:pt x="1" y="11"/>
                      <a:pt x="2" y="14"/>
                    </a:cubicBezTo>
                    <a:cubicBezTo>
                      <a:pt x="4" y="16"/>
                      <a:pt x="6" y="18"/>
                      <a:pt x="9" y="19"/>
                    </a:cubicBezTo>
                    <a:cubicBezTo>
                      <a:pt x="12" y="20"/>
                      <a:pt x="15" y="20"/>
                      <a:pt x="18" y="19"/>
                    </a:cubicBezTo>
                    <a:cubicBezTo>
                      <a:pt x="21" y="19"/>
                      <a:pt x="22" y="17"/>
                      <a:pt x="24" y="14"/>
                    </a:cubicBezTo>
                    <a:cubicBezTo>
                      <a:pt x="24" y="12"/>
                      <a:pt x="24" y="10"/>
                      <a:pt x="23" y="8"/>
                    </a:cubicBezTo>
                    <a:cubicBezTo>
                      <a:pt x="23" y="6"/>
                      <a:pt x="21" y="4"/>
                      <a:pt x="19" y="3"/>
                    </a:cubicBezTo>
                    <a:cubicBezTo>
                      <a:pt x="17" y="6"/>
                      <a:pt x="17" y="6"/>
                      <a:pt x="17" y="6"/>
                    </a:cubicBezTo>
                    <a:cubicBezTo>
                      <a:pt x="21" y="8"/>
                      <a:pt x="22" y="10"/>
                      <a:pt x="21" y="13"/>
                    </a:cubicBezTo>
                    <a:cubicBezTo>
                      <a:pt x="20" y="15"/>
                      <a:pt x="19" y="16"/>
                      <a:pt x="17" y="16"/>
                    </a:cubicBezTo>
                    <a:cubicBezTo>
                      <a:pt x="15" y="16"/>
                      <a:pt x="13" y="16"/>
                      <a:pt x="10" y="15"/>
                    </a:cubicBezTo>
                    <a:cubicBezTo>
                      <a:pt x="8" y="14"/>
                      <a:pt x="6" y="13"/>
                      <a:pt x="5" y="12"/>
                    </a:cubicBezTo>
                    <a:cubicBezTo>
                      <a:pt x="4" y="10"/>
                      <a:pt x="3" y="8"/>
                      <a:pt x="4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58" name="Freeform 149"/>
              <p:cNvSpPr>
                <a:spLocks noEditPoints="1"/>
              </p:cNvSpPr>
              <p:nvPr/>
            </p:nvSpPr>
            <p:spPr bwMode="auto">
              <a:xfrm>
                <a:off x="1084263" y="1779588"/>
                <a:ext cx="90488" cy="77788"/>
              </a:xfrm>
              <a:custGeom>
                <a:avLst/>
                <a:gdLst>
                  <a:gd name="T0" fmla="*/ 6 w 24"/>
                  <a:gd name="T1" fmla="*/ 1 h 21"/>
                  <a:gd name="T2" fmla="*/ 1 w 24"/>
                  <a:gd name="T3" fmla="*/ 6 h 21"/>
                  <a:gd name="T4" fmla="*/ 1 w 24"/>
                  <a:gd name="T5" fmla="*/ 14 h 21"/>
                  <a:gd name="T6" fmla="*/ 8 w 24"/>
                  <a:gd name="T7" fmla="*/ 20 h 21"/>
                  <a:gd name="T8" fmla="*/ 17 w 24"/>
                  <a:gd name="T9" fmla="*/ 20 h 21"/>
                  <a:gd name="T10" fmla="*/ 23 w 24"/>
                  <a:gd name="T11" fmla="*/ 14 h 21"/>
                  <a:gd name="T12" fmla="*/ 23 w 24"/>
                  <a:gd name="T13" fmla="*/ 8 h 21"/>
                  <a:gd name="T14" fmla="*/ 20 w 24"/>
                  <a:gd name="T15" fmla="*/ 3 h 21"/>
                  <a:gd name="T16" fmla="*/ 18 w 24"/>
                  <a:gd name="T17" fmla="*/ 6 h 21"/>
                  <a:gd name="T18" fmla="*/ 20 w 24"/>
                  <a:gd name="T19" fmla="*/ 13 h 21"/>
                  <a:gd name="T20" fmla="*/ 17 w 24"/>
                  <a:gd name="T21" fmla="*/ 17 h 21"/>
                  <a:gd name="T22" fmla="*/ 10 w 24"/>
                  <a:gd name="T23" fmla="*/ 16 h 21"/>
                  <a:gd name="T24" fmla="*/ 15 w 24"/>
                  <a:gd name="T25" fmla="*/ 1 h 21"/>
                  <a:gd name="T26" fmla="*/ 6 w 24"/>
                  <a:gd name="T27" fmla="*/ 1 h 21"/>
                  <a:gd name="T28" fmla="*/ 8 w 24"/>
                  <a:gd name="T29" fmla="*/ 15 h 21"/>
                  <a:gd name="T30" fmla="*/ 3 w 24"/>
                  <a:gd name="T31" fmla="*/ 12 h 21"/>
                  <a:gd name="T32" fmla="*/ 3 w 24"/>
                  <a:gd name="T33" fmla="*/ 7 h 21"/>
                  <a:gd name="T34" fmla="*/ 5 w 24"/>
                  <a:gd name="T35" fmla="*/ 4 h 21"/>
                  <a:gd name="T36" fmla="*/ 8 w 24"/>
                  <a:gd name="T37" fmla="*/ 3 h 21"/>
                  <a:gd name="T38" fmla="*/ 12 w 24"/>
                  <a:gd name="T39" fmla="*/ 4 h 21"/>
                  <a:gd name="T40" fmla="*/ 8 w 24"/>
                  <a:gd name="T41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4" h="21">
                    <a:moveTo>
                      <a:pt x="6" y="1"/>
                    </a:moveTo>
                    <a:cubicBezTo>
                      <a:pt x="3" y="2"/>
                      <a:pt x="2" y="3"/>
                      <a:pt x="1" y="6"/>
                    </a:cubicBezTo>
                    <a:cubicBezTo>
                      <a:pt x="0" y="9"/>
                      <a:pt x="0" y="12"/>
                      <a:pt x="1" y="14"/>
                    </a:cubicBezTo>
                    <a:cubicBezTo>
                      <a:pt x="3" y="17"/>
                      <a:pt x="5" y="19"/>
                      <a:pt x="8" y="20"/>
                    </a:cubicBezTo>
                    <a:cubicBezTo>
                      <a:pt x="12" y="21"/>
                      <a:pt x="15" y="21"/>
                      <a:pt x="17" y="20"/>
                    </a:cubicBezTo>
                    <a:cubicBezTo>
                      <a:pt x="20" y="19"/>
                      <a:pt x="22" y="17"/>
                      <a:pt x="23" y="14"/>
                    </a:cubicBezTo>
                    <a:cubicBezTo>
                      <a:pt x="24" y="12"/>
                      <a:pt x="24" y="10"/>
                      <a:pt x="23" y="8"/>
                    </a:cubicBezTo>
                    <a:cubicBezTo>
                      <a:pt x="23" y="6"/>
                      <a:pt x="21" y="4"/>
                      <a:pt x="20" y="3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20" y="8"/>
                      <a:pt x="21" y="10"/>
                      <a:pt x="20" y="13"/>
                    </a:cubicBezTo>
                    <a:cubicBezTo>
                      <a:pt x="20" y="14"/>
                      <a:pt x="19" y="16"/>
                      <a:pt x="17" y="17"/>
                    </a:cubicBezTo>
                    <a:cubicBezTo>
                      <a:pt x="15" y="18"/>
                      <a:pt x="13" y="17"/>
                      <a:pt x="10" y="16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2" y="0"/>
                      <a:pt x="8" y="0"/>
                      <a:pt x="6" y="1"/>
                    </a:cubicBezTo>
                    <a:close/>
                    <a:moveTo>
                      <a:pt x="8" y="15"/>
                    </a:moveTo>
                    <a:cubicBezTo>
                      <a:pt x="6" y="14"/>
                      <a:pt x="4" y="13"/>
                      <a:pt x="3" y="12"/>
                    </a:cubicBezTo>
                    <a:cubicBezTo>
                      <a:pt x="3" y="10"/>
                      <a:pt x="3" y="9"/>
                      <a:pt x="3" y="7"/>
                    </a:cubicBezTo>
                    <a:cubicBezTo>
                      <a:pt x="4" y="6"/>
                      <a:pt x="4" y="5"/>
                      <a:pt x="5" y="4"/>
                    </a:cubicBezTo>
                    <a:cubicBezTo>
                      <a:pt x="6" y="4"/>
                      <a:pt x="7" y="3"/>
                      <a:pt x="8" y="3"/>
                    </a:cubicBezTo>
                    <a:cubicBezTo>
                      <a:pt x="9" y="3"/>
                      <a:pt x="10" y="3"/>
                      <a:pt x="12" y="4"/>
                    </a:cubicBezTo>
                    <a:lnTo>
                      <a:pt x="8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59" name="Freeform 150"/>
              <p:cNvSpPr/>
              <p:nvPr/>
            </p:nvSpPr>
            <p:spPr bwMode="auto">
              <a:xfrm>
                <a:off x="1109663" y="1700213"/>
                <a:ext cx="90488" cy="82550"/>
              </a:xfrm>
              <a:custGeom>
                <a:avLst/>
                <a:gdLst>
                  <a:gd name="T0" fmla="*/ 11 w 24"/>
                  <a:gd name="T1" fmla="*/ 8 h 22"/>
                  <a:gd name="T2" fmla="*/ 9 w 24"/>
                  <a:gd name="T3" fmla="*/ 11 h 22"/>
                  <a:gd name="T4" fmla="*/ 5 w 24"/>
                  <a:gd name="T5" fmla="*/ 14 h 22"/>
                  <a:gd name="T6" fmla="*/ 3 w 24"/>
                  <a:gd name="T7" fmla="*/ 12 h 22"/>
                  <a:gd name="T8" fmla="*/ 4 w 24"/>
                  <a:gd name="T9" fmla="*/ 8 h 22"/>
                  <a:gd name="T10" fmla="*/ 9 w 24"/>
                  <a:gd name="T11" fmla="*/ 4 h 22"/>
                  <a:gd name="T12" fmla="*/ 9 w 24"/>
                  <a:gd name="T13" fmla="*/ 1 h 22"/>
                  <a:gd name="T14" fmla="*/ 1 w 24"/>
                  <a:gd name="T15" fmla="*/ 7 h 22"/>
                  <a:gd name="T16" fmla="*/ 1 w 24"/>
                  <a:gd name="T17" fmla="*/ 14 h 22"/>
                  <a:gd name="T18" fmla="*/ 4 w 24"/>
                  <a:gd name="T19" fmla="*/ 17 h 22"/>
                  <a:gd name="T20" fmla="*/ 9 w 24"/>
                  <a:gd name="T21" fmla="*/ 17 h 22"/>
                  <a:gd name="T22" fmla="*/ 12 w 24"/>
                  <a:gd name="T23" fmla="*/ 14 h 22"/>
                  <a:gd name="T24" fmla="*/ 14 w 24"/>
                  <a:gd name="T25" fmla="*/ 9 h 22"/>
                  <a:gd name="T26" fmla="*/ 19 w 24"/>
                  <a:gd name="T27" fmla="*/ 7 h 22"/>
                  <a:gd name="T28" fmla="*/ 21 w 24"/>
                  <a:gd name="T29" fmla="*/ 9 h 22"/>
                  <a:gd name="T30" fmla="*/ 21 w 24"/>
                  <a:gd name="T31" fmla="*/ 13 h 22"/>
                  <a:gd name="T32" fmla="*/ 14 w 24"/>
                  <a:gd name="T33" fmla="*/ 18 h 22"/>
                  <a:gd name="T34" fmla="*/ 14 w 24"/>
                  <a:gd name="T35" fmla="*/ 22 h 22"/>
                  <a:gd name="T36" fmla="*/ 23 w 24"/>
                  <a:gd name="T37" fmla="*/ 14 h 22"/>
                  <a:gd name="T38" fmla="*/ 24 w 24"/>
                  <a:gd name="T39" fmla="*/ 7 h 22"/>
                  <a:gd name="T40" fmla="*/ 20 w 24"/>
                  <a:gd name="T41" fmla="*/ 3 h 22"/>
                  <a:gd name="T42" fmla="*/ 11 w 24"/>
                  <a:gd name="T43" fmla="*/ 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" h="22">
                    <a:moveTo>
                      <a:pt x="11" y="8"/>
                    </a:moveTo>
                    <a:cubicBezTo>
                      <a:pt x="9" y="11"/>
                      <a:pt x="9" y="11"/>
                      <a:pt x="9" y="11"/>
                    </a:cubicBezTo>
                    <a:cubicBezTo>
                      <a:pt x="8" y="14"/>
                      <a:pt x="7" y="14"/>
                      <a:pt x="5" y="14"/>
                    </a:cubicBezTo>
                    <a:cubicBezTo>
                      <a:pt x="4" y="13"/>
                      <a:pt x="3" y="13"/>
                      <a:pt x="3" y="12"/>
                    </a:cubicBezTo>
                    <a:cubicBezTo>
                      <a:pt x="3" y="11"/>
                      <a:pt x="3" y="9"/>
                      <a:pt x="4" y="8"/>
                    </a:cubicBezTo>
                    <a:cubicBezTo>
                      <a:pt x="4" y="5"/>
                      <a:pt x="6" y="4"/>
                      <a:pt x="9" y="4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5" y="0"/>
                      <a:pt x="2" y="3"/>
                      <a:pt x="1" y="7"/>
                    </a:cubicBezTo>
                    <a:cubicBezTo>
                      <a:pt x="0" y="10"/>
                      <a:pt x="0" y="12"/>
                      <a:pt x="1" y="14"/>
                    </a:cubicBezTo>
                    <a:cubicBezTo>
                      <a:pt x="1" y="15"/>
                      <a:pt x="2" y="17"/>
                      <a:pt x="4" y="17"/>
                    </a:cubicBezTo>
                    <a:cubicBezTo>
                      <a:pt x="6" y="18"/>
                      <a:pt x="7" y="18"/>
                      <a:pt x="9" y="17"/>
                    </a:cubicBezTo>
                    <a:cubicBezTo>
                      <a:pt x="10" y="16"/>
                      <a:pt x="11" y="15"/>
                      <a:pt x="12" y="14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6" y="7"/>
                      <a:pt x="17" y="6"/>
                      <a:pt x="19" y="7"/>
                    </a:cubicBezTo>
                    <a:cubicBezTo>
                      <a:pt x="20" y="7"/>
                      <a:pt x="21" y="8"/>
                      <a:pt x="21" y="9"/>
                    </a:cubicBezTo>
                    <a:cubicBezTo>
                      <a:pt x="21" y="10"/>
                      <a:pt x="21" y="12"/>
                      <a:pt x="21" y="13"/>
                    </a:cubicBezTo>
                    <a:cubicBezTo>
                      <a:pt x="19" y="17"/>
                      <a:pt x="17" y="18"/>
                      <a:pt x="14" y="18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8" y="22"/>
                      <a:pt x="21" y="19"/>
                      <a:pt x="23" y="14"/>
                    </a:cubicBezTo>
                    <a:cubicBezTo>
                      <a:pt x="24" y="12"/>
                      <a:pt x="24" y="9"/>
                      <a:pt x="24" y="7"/>
                    </a:cubicBezTo>
                    <a:cubicBezTo>
                      <a:pt x="23" y="5"/>
                      <a:pt x="22" y="4"/>
                      <a:pt x="20" y="3"/>
                    </a:cubicBezTo>
                    <a:cubicBezTo>
                      <a:pt x="16" y="2"/>
                      <a:pt x="14" y="4"/>
                      <a:pt x="1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60" name="Freeform 151"/>
              <p:cNvSpPr/>
              <p:nvPr/>
            </p:nvSpPr>
            <p:spPr bwMode="auto">
              <a:xfrm>
                <a:off x="1136650" y="1628776"/>
                <a:ext cx="90488" cy="79375"/>
              </a:xfrm>
              <a:custGeom>
                <a:avLst/>
                <a:gdLst>
                  <a:gd name="T0" fmla="*/ 11 w 24"/>
                  <a:gd name="T1" fmla="*/ 7 h 21"/>
                  <a:gd name="T2" fmla="*/ 9 w 24"/>
                  <a:gd name="T3" fmla="*/ 11 h 21"/>
                  <a:gd name="T4" fmla="*/ 5 w 24"/>
                  <a:gd name="T5" fmla="*/ 13 h 21"/>
                  <a:gd name="T6" fmla="*/ 3 w 24"/>
                  <a:gd name="T7" fmla="*/ 11 h 21"/>
                  <a:gd name="T8" fmla="*/ 4 w 24"/>
                  <a:gd name="T9" fmla="*/ 7 h 21"/>
                  <a:gd name="T10" fmla="*/ 9 w 24"/>
                  <a:gd name="T11" fmla="*/ 3 h 21"/>
                  <a:gd name="T12" fmla="*/ 9 w 24"/>
                  <a:gd name="T13" fmla="*/ 0 h 21"/>
                  <a:gd name="T14" fmla="*/ 1 w 24"/>
                  <a:gd name="T15" fmla="*/ 6 h 21"/>
                  <a:gd name="T16" fmla="*/ 1 w 24"/>
                  <a:gd name="T17" fmla="*/ 13 h 21"/>
                  <a:gd name="T18" fmla="*/ 4 w 24"/>
                  <a:gd name="T19" fmla="*/ 16 h 21"/>
                  <a:gd name="T20" fmla="*/ 9 w 24"/>
                  <a:gd name="T21" fmla="*/ 16 h 21"/>
                  <a:gd name="T22" fmla="*/ 12 w 24"/>
                  <a:gd name="T23" fmla="*/ 13 h 21"/>
                  <a:gd name="T24" fmla="*/ 15 w 24"/>
                  <a:gd name="T25" fmla="*/ 9 h 21"/>
                  <a:gd name="T26" fmla="*/ 19 w 24"/>
                  <a:gd name="T27" fmla="*/ 6 h 21"/>
                  <a:gd name="T28" fmla="*/ 21 w 24"/>
                  <a:gd name="T29" fmla="*/ 8 h 21"/>
                  <a:gd name="T30" fmla="*/ 21 w 24"/>
                  <a:gd name="T31" fmla="*/ 12 h 21"/>
                  <a:gd name="T32" fmla="*/ 14 w 24"/>
                  <a:gd name="T33" fmla="*/ 17 h 21"/>
                  <a:gd name="T34" fmla="*/ 14 w 24"/>
                  <a:gd name="T35" fmla="*/ 21 h 21"/>
                  <a:gd name="T36" fmla="*/ 23 w 24"/>
                  <a:gd name="T37" fmla="*/ 14 h 21"/>
                  <a:gd name="T38" fmla="*/ 24 w 24"/>
                  <a:gd name="T39" fmla="*/ 7 h 21"/>
                  <a:gd name="T40" fmla="*/ 20 w 24"/>
                  <a:gd name="T41" fmla="*/ 3 h 21"/>
                  <a:gd name="T42" fmla="*/ 11 w 24"/>
                  <a:gd name="T43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" h="21">
                    <a:moveTo>
                      <a:pt x="11" y="7"/>
                    </a:moveTo>
                    <a:cubicBezTo>
                      <a:pt x="9" y="11"/>
                      <a:pt x="9" y="11"/>
                      <a:pt x="9" y="11"/>
                    </a:cubicBezTo>
                    <a:cubicBezTo>
                      <a:pt x="8" y="13"/>
                      <a:pt x="7" y="13"/>
                      <a:pt x="5" y="13"/>
                    </a:cubicBezTo>
                    <a:cubicBezTo>
                      <a:pt x="4" y="13"/>
                      <a:pt x="3" y="12"/>
                      <a:pt x="3" y="11"/>
                    </a:cubicBezTo>
                    <a:cubicBezTo>
                      <a:pt x="3" y="10"/>
                      <a:pt x="3" y="9"/>
                      <a:pt x="4" y="7"/>
                    </a:cubicBezTo>
                    <a:cubicBezTo>
                      <a:pt x="5" y="5"/>
                      <a:pt x="6" y="3"/>
                      <a:pt x="9" y="3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5" y="0"/>
                      <a:pt x="2" y="2"/>
                      <a:pt x="1" y="6"/>
                    </a:cubicBezTo>
                    <a:cubicBezTo>
                      <a:pt x="0" y="9"/>
                      <a:pt x="0" y="11"/>
                      <a:pt x="1" y="13"/>
                    </a:cubicBezTo>
                    <a:cubicBezTo>
                      <a:pt x="1" y="15"/>
                      <a:pt x="3" y="16"/>
                      <a:pt x="4" y="16"/>
                    </a:cubicBezTo>
                    <a:cubicBezTo>
                      <a:pt x="6" y="17"/>
                      <a:pt x="7" y="17"/>
                      <a:pt x="9" y="16"/>
                    </a:cubicBezTo>
                    <a:cubicBezTo>
                      <a:pt x="10" y="16"/>
                      <a:pt x="11" y="14"/>
                      <a:pt x="12" y="13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16" y="6"/>
                      <a:pt x="17" y="6"/>
                      <a:pt x="19" y="6"/>
                    </a:cubicBezTo>
                    <a:cubicBezTo>
                      <a:pt x="20" y="7"/>
                      <a:pt x="21" y="7"/>
                      <a:pt x="21" y="8"/>
                    </a:cubicBezTo>
                    <a:cubicBezTo>
                      <a:pt x="21" y="10"/>
                      <a:pt x="21" y="11"/>
                      <a:pt x="21" y="12"/>
                    </a:cubicBezTo>
                    <a:cubicBezTo>
                      <a:pt x="19" y="16"/>
                      <a:pt x="17" y="18"/>
                      <a:pt x="14" y="17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18" y="21"/>
                      <a:pt x="22" y="19"/>
                      <a:pt x="23" y="14"/>
                    </a:cubicBezTo>
                    <a:cubicBezTo>
                      <a:pt x="24" y="11"/>
                      <a:pt x="24" y="9"/>
                      <a:pt x="24" y="7"/>
                    </a:cubicBezTo>
                    <a:cubicBezTo>
                      <a:pt x="23" y="5"/>
                      <a:pt x="22" y="3"/>
                      <a:pt x="20" y="3"/>
                    </a:cubicBezTo>
                    <a:cubicBezTo>
                      <a:pt x="17" y="1"/>
                      <a:pt x="14" y="3"/>
                      <a:pt x="1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61" name="Freeform 152"/>
              <p:cNvSpPr/>
              <p:nvPr/>
            </p:nvSpPr>
            <p:spPr bwMode="auto">
              <a:xfrm>
                <a:off x="2868613" y="4818063"/>
                <a:ext cx="15875" cy="101600"/>
              </a:xfrm>
              <a:custGeom>
                <a:avLst/>
                <a:gdLst>
                  <a:gd name="T0" fmla="*/ 0 w 10"/>
                  <a:gd name="T1" fmla="*/ 64 h 64"/>
                  <a:gd name="T2" fmla="*/ 8 w 10"/>
                  <a:gd name="T3" fmla="*/ 64 h 64"/>
                  <a:gd name="T4" fmla="*/ 10 w 10"/>
                  <a:gd name="T5" fmla="*/ 0 h 64"/>
                  <a:gd name="T6" fmla="*/ 3 w 10"/>
                  <a:gd name="T7" fmla="*/ 0 h 64"/>
                  <a:gd name="T8" fmla="*/ 0 w 10"/>
                  <a:gd name="T9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64">
                    <a:moveTo>
                      <a:pt x="0" y="64"/>
                    </a:moveTo>
                    <a:lnTo>
                      <a:pt x="8" y="64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0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62" name="Freeform 153"/>
              <p:cNvSpPr>
                <a:spLocks noEditPoints="1"/>
              </p:cNvSpPr>
              <p:nvPr/>
            </p:nvSpPr>
            <p:spPr bwMode="auto">
              <a:xfrm>
                <a:off x="2895600" y="4845051"/>
                <a:ext cx="68263" cy="77788"/>
              </a:xfrm>
              <a:custGeom>
                <a:avLst/>
                <a:gdLst>
                  <a:gd name="T0" fmla="*/ 18 w 18"/>
                  <a:gd name="T1" fmla="*/ 9 h 21"/>
                  <a:gd name="T2" fmla="*/ 16 w 18"/>
                  <a:gd name="T3" fmla="*/ 2 h 21"/>
                  <a:gd name="T4" fmla="*/ 10 w 18"/>
                  <a:gd name="T5" fmla="*/ 0 h 21"/>
                  <a:gd name="T6" fmla="*/ 1 w 18"/>
                  <a:gd name="T7" fmla="*/ 5 h 21"/>
                  <a:gd name="T8" fmla="*/ 4 w 18"/>
                  <a:gd name="T9" fmla="*/ 6 h 21"/>
                  <a:gd name="T10" fmla="*/ 10 w 18"/>
                  <a:gd name="T11" fmla="*/ 3 h 21"/>
                  <a:gd name="T12" fmla="*/ 13 w 18"/>
                  <a:gd name="T13" fmla="*/ 3 h 21"/>
                  <a:gd name="T14" fmla="*/ 14 w 18"/>
                  <a:gd name="T15" fmla="*/ 5 h 21"/>
                  <a:gd name="T16" fmla="*/ 15 w 18"/>
                  <a:gd name="T17" fmla="*/ 8 h 21"/>
                  <a:gd name="T18" fmla="*/ 12 w 18"/>
                  <a:gd name="T19" fmla="*/ 8 h 21"/>
                  <a:gd name="T20" fmla="*/ 3 w 18"/>
                  <a:gd name="T21" fmla="*/ 10 h 21"/>
                  <a:gd name="T22" fmla="*/ 1 w 18"/>
                  <a:gd name="T23" fmla="*/ 15 h 21"/>
                  <a:gd name="T24" fmla="*/ 2 w 18"/>
                  <a:gd name="T25" fmla="*/ 19 h 21"/>
                  <a:gd name="T26" fmla="*/ 7 w 18"/>
                  <a:gd name="T27" fmla="*/ 21 h 21"/>
                  <a:gd name="T28" fmla="*/ 14 w 18"/>
                  <a:gd name="T29" fmla="*/ 17 h 21"/>
                  <a:gd name="T30" fmla="*/ 15 w 18"/>
                  <a:gd name="T31" fmla="*/ 21 h 21"/>
                  <a:gd name="T32" fmla="*/ 18 w 18"/>
                  <a:gd name="T33" fmla="*/ 21 h 21"/>
                  <a:gd name="T34" fmla="*/ 17 w 18"/>
                  <a:gd name="T35" fmla="*/ 17 h 21"/>
                  <a:gd name="T36" fmla="*/ 18 w 18"/>
                  <a:gd name="T37" fmla="*/ 9 h 21"/>
                  <a:gd name="T38" fmla="*/ 13 w 18"/>
                  <a:gd name="T39" fmla="*/ 17 h 21"/>
                  <a:gd name="T40" fmla="*/ 8 w 18"/>
                  <a:gd name="T41" fmla="*/ 19 h 21"/>
                  <a:gd name="T42" fmla="*/ 5 w 18"/>
                  <a:gd name="T43" fmla="*/ 18 h 21"/>
                  <a:gd name="T44" fmla="*/ 4 w 18"/>
                  <a:gd name="T45" fmla="*/ 15 h 21"/>
                  <a:gd name="T46" fmla="*/ 6 w 18"/>
                  <a:gd name="T47" fmla="*/ 12 h 21"/>
                  <a:gd name="T48" fmla="*/ 12 w 18"/>
                  <a:gd name="T49" fmla="*/ 11 h 21"/>
                  <a:gd name="T50" fmla="*/ 15 w 18"/>
                  <a:gd name="T51" fmla="*/ 11 h 21"/>
                  <a:gd name="T52" fmla="*/ 15 w 18"/>
                  <a:gd name="T53" fmla="*/ 12 h 21"/>
                  <a:gd name="T54" fmla="*/ 13 w 18"/>
                  <a:gd name="T55" fmla="*/ 1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8" h="21">
                    <a:moveTo>
                      <a:pt x="18" y="9"/>
                    </a:moveTo>
                    <a:cubicBezTo>
                      <a:pt x="18" y="6"/>
                      <a:pt x="17" y="3"/>
                      <a:pt x="16" y="2"/>
                    </a:cubicBezTo>
                    <a:cubicBezTo>
                      <a:pt x="15" y="1"/>
                      <a:pt x="13" y="0"/>
                      <a:pt x="10" y="0"/>
                    </a:cubicBezTo>
                    <a:cubicBezTo>
                      <a:pt x="5" y="0"/>
                      <a:pt x="2" y="2"/>
                      <a:pt x="1" y="5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5" y="4"/>
                      <a:pt x="7" y="2"/>
                      <a:pt x="10" y="3"/>
                    </a:cubicBezTo>
                    <a:cubicBezTo>
                      <a:pt x="11" y="3"/>
                      <a:pt x="12" y="3"/>
                      <a:pt x="13" y="3"/>
                    </a:cubicBezTo>
                    <a:cubicBezTo>
                      <a:pt x="14" y="4"/>
                      <a:pt x="14" y="4"/>
                      <a:pt x="14" y="5"/>
                    </a:cubicBezTo>
                    <a:cubicBezTo>
                      <a:pt x="15" y="6"/>
                      <a:pt x="15" y="7"/>
                      <a:pt x="15" y="8"/>
                    </a:cubicBezTo>
                    <a:cubicBezTo>
                      <a:pt x="13" y="8"/>
                      <a:pt x="13" y="8"/>
                      <a:pt x="12" y="8"/>
                    </a:cubicBezTo>
                    <a:cubicBezTo>
                      <a:pt x="8" y="8"/>
                      <a:pt x="5" y="9"/>
                      <a:pt x="3" y="10"/>
                    </a:cubicBezTo>
                    <a:cubicBezTo>
                      <a:pt x="2" y="11"/>
                      <a:pt x="1" y="13"/>
                      <a:pt x="1" y="15"/>
                    </a:cubicBezTo>
                    <a:cubicBezTo>
                      <a:pt x="0" y="16"/>
                      <a:pt x="1" y="18"/>
                      <a:pt x="2" y="19"/>
                    </a:cubicBezTo>
                    <a:cubicBezTo>
                      <a:pt x="3" y="20"/>
                      <a:pt x="5" y="21"/>
                      <a:pt x="7" y="21"/>
                    </a:cubicBezTo>
                    <a:cubicBezTo>
                      <a:pt x="10" y="21"/>
                      <a:pt x="13" y="20"/>
                      <a:pt x="14" y="17"/>
                    </a:cubicBezTo>
                    <a:cubicBezTo>
                      <a:pt x="14" y="19"/>
                      <a:pt x="14" y="20"/>
                      <a:pt x="15" y="21"/>
                    </a:cubicBezTo>
                    <a:cubicBezTo>
                      <a:pt x="18" y="21"/>
                      <a:pt x="18" y="21"/>
                      <a:pt x="18" y="21"/>
                    </a:cubicBezTo>
                    <a:cubicBezTo>
                      <a:pt x="17" y="20"/>
                      <a:pt x="17" y="18"/>
                      <a:pt x="17" y="17"/>
                    </a:cubicBezTo>
                    <a:lnTo>
                      <a:pt x="18" y="9"/>
                    </a:lnTo>
                    <a:close/>
                    <a:moveTo>
                      <a:pt x="13" y="17"/>
                    </a:moveTo>
                    <a:cubicBezTo>
                      <a:pt x="11" y="18"/>
                      <a:pt x="10" y="19"/>
                      <a:pt x="8" y="19"/>
                    </a:cubicBezTo>
                    <a:cubicBezTo>
                      <a:pt x="7" y="19"/>
                      <a:pt x="6" y="18"/>
                      <a:pt x="5" y="18"/>
                    </a:cubicBezTo>
                    <a:cubicBezTo>
                      <a:pt x="4" y="17"/>
                      <a:pt x="4" y="16"/>
                      <a:pt x="4" y="15"/>
                    </a:cubicBezTo>
                    <a:cubicBezTo>
                      <a:pt x="4" y="13"/>
                      <a:pt x="5" y="12"/>
                      <a:pt x="6" y="12"/>
                    </a:cubicBezTo>
                    <a:cubicBezTo>
                      <a:pt x="7" y="11"/>
                      <a:pt x="9" y="10"/>
                      <a:pt x="12" y="11"/>
                    </a:cubicBezTo>
                    <a:cubicBezTo>
                      <a:pt x="12" y="11"/>
                      <a:pt x="13" y="11"/>
                      <a:pt x="15" y="11"/>
                    </a:cubicBezTo>
                    <a:cubicBezTo>
                      <a:pt x="15" y="11"/>
                      <a:pt x="15" y="12"/>
                      <a:pt x="15" y="12"/>
                    </a:cubicBezTo>
                    <a:cubicBezTo>
                      <a:pt x="15" y="14"/>
                      <a:pt x="14" y="16"/>
                      <a:pt x="13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63" name="Freeform 154"/>
              <p:cNvSpPr/>
              <p:nvPr/>
            </p:nvSpPr>
            <p:spPr bwMode="auto">
              <a:xfrm>
                <a:off x="2986088" y="4848226"/>
                <a:ext cx="60325" cy="79375"/>
              </a:xfrm>
              <a:custGeom>
                <a:avLst/>
                <a:gdLst>
                  <a:gd name="T0" fmla="*/ 12 w 16"/>
                  <a:gd name="T1" fmla="*/ 12 h 21"/>
                  <a:gd name="T2" fmla="*/ 11 w 16"/>
                  <a:gd name="T3" fmla="*/ 15 h 21"/>
                  <a:gd name="T4" fmla="*/ 9 w 16"/>
                  <a:gd name="T5" fmla="*/ 18 h 21"/>
                  <a:gd name="T6" fmla="*/ 6 w 16"/>
                  <a:gd name="T7" fmla="*/ 18 h 21"/>
                  <a:gd name="T8" fmla="*/ 4 w 16"/>
                  <a:gd name="T9" fmla="*/ 17 h 21"/>
                  <a:gd name="T10" fmla="*/ 3 w 16"/>
                  <a:gd name="T11" fmla="*/ 13 h 21"/>
                  <a:gd name="T12" fmla="*/ 3 w 16"/>
                  <a:gd name="T13" fmla="*/ 0 h 21"/>
                  <a:gd name="T14" fmla="*/ 0 w 16"/>
                  <a:gd name="T15" fmla="*/ 0 h 21"/>
                  <a:gd name="T16" fmla="*/ 0 w 16"/>
                  <a:gd name="T17" fmla="*/ 13 h 21"/>
                  <a:gd name="T18" fmla="*/ 1 w 16"/>
                  <a:gd name="T19" fmla="*/ 19 h 21"/>
                  <a:gd name="T20" fmla="*/ 6 w 16"/>
                  <a:gd name="T21" fmla="*/ 21 h 21"/>
                  <a:gd name="T22" fmla="*/ 12 w 16"/>
                  <a:gd name="T23" fmla="*/ 17 h 21"/>
                  <a:gd name="T24" fmla="*/ 12 w 16"/>
                  <a:gd name="T25" fmla="*/ 21 h 21"/>
                  <a:gd name="T26" fmla="*/ 15 w 16"/>
                  <a:gd name="T27" fmla="*/ 21 h 21"/>
                  <a:gd name="T28" fmla="*/ 16 w 16"/>
                  <a:gd name="T29" fmla="*/ 1 h 21"/>
                  <a:gd name="T30" fmla="*/ 13 w 16"/>
                  <a:gd name="T31" fmla="*/ 1 h 21"/>
                  <a:gd name="T32" fmla="*/ 12 w 16"/>
                  <a:gd name="T33" fmla="*/ 12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6" h="21">
                    <a:moveTo>
                      <a:pt x="12" y="12"/>
                    </a:moveTo>
                    <a:cubicBezTo>
                      <a:pt x="12" y="13"/>
                      <a:pt x="12" y="14"/>
                      <a:pt x="11" y="15"/>
                    </a:cubicBezTo>
                    <a:cubicBezTo>
                      <a:pt x="11" y="16"/>
                      <a:pt x="10" y="17"/>
                      <a:pt x="9" y="18"/>
                    </a:cubicBezTo>
                    <a:cubicBezTo>
                      <a:pt x="8" y="18"/>
                      <a:pt x="7" y="18"/>
                      <a:pt x="6" y="18"/>
                    </a:cubicBezTo>
                    <a:cubicBezTo>
                      <a:pt x="5" y="18"/>
                      <a:pt x="5" y="18"/>
                      <a:pt x="4" y="17"/>
                    </a:cubicBezTo>
                    <a:cubicBezTo>
                      <a:pt x="3" y="16"/>
                      <a:pt x="3" y="15"/>
                      <a:pt x="3" y="13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5"/>
                      <a:pt x="0" y="17"/>
                      <a:pt x="1" y="19"/>
                    </a:cubicBezTo>
                    <a:cubicBezTo>
                      <a:pt x="2" y="20"/>
                      <a:pt x="4" y="21"/>
                      <a:pt x="6" y="21"/>
                    </a:cubicBezTo>
                    <a:cubicBezTo>
                      <a:pt x="9" y="21"/>
                      <a:pt x="11" y="20"/>
                      <a:pt x="12" y="17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3" y="1"/>
                      <a:pt x="13" y="1"/>
                      <a:pt x="13" y="1"/>
                    </a:cubicBezTo>
                    <a:lnTo>
                      <a:pt x="12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64" name="Freeform 155"/>
              <p:cNvSpPr>
                <a:spLocks noEditPoints="1"/>
              </p:cNvSpPr>
              <p:nvPr/>
            </p:nvSpPr>
            <p:spPr bwMode="auto">
              <a:xfrm>
                <a:off x="3057525" y="4840288"/>
                <a:ext cx="71438" cy="117475"/>
              </a:xfrm>
              <a:custGeom>
                <a:avLst/>
                <a:gdLst>
                  <a:gd name="T0" fmla="*/ 15 w 19"/>
                  <a:gd name="T1" fmla="*/ 21 h 31"/>
                  <a:gd name="T2" fmla="*/ 10 w 19"/>
                  <a:gd name="T3" fmla="*/ 20 h 31"/>
                  <a:gd name="T4" fmla="*/ 5 w 19"/>
                  <a:gd name="T5" fmla="*/ 19 h 31"/>
                  <a:gd name="T6" fmla="*/ 4 w 19"/>
                  <a:gd name="T7" fmla="*/ 18 h 31"/>
                  <a:gd name="T8" fmla="*/ 5 w 19"/>
                  <a:gd name="T9" fmla="*/ 16 h 31"/>
                  <a:gd name="T10" fmla="*/ 6 w 19"/>
                  <a:gd name="T11" fmla="*/ 16 h 31"/>
                  <a:gd name="T12" fmla="*/ 8 w 19"/>
                  <a:gd name="T13" fmla="*/ 16 h 31"/>
                  <a:gd name="T14" fmla="*/ 9 w 19"/>
                  <a:gd name="T15" fmla="*/ 16 h 31"/>
                  <a:gd name="T16" fmla="*/ 15 w 19"/>
                  <a:gd name="T17" fmla="*/ 15 h 31"/>
                  <a:gd name="T18" fmla="*/ 17 w 19"/>
                  <a:gd name="T19" fmla="*/ 10 h 31"/>
                  <a:gd name="T20" fmla="*/ 15 w 19"/>
                  <a:gd name="T21" fmla="*/ 5 h 31"/>
                  <a:gd name="T22" fmla="*/ 16 w 19"/>
                  <a:gd name="T23" fmla="*/ 3 h 31"/>
                  <a:gd name="T24" fmla="*/ 19 w 19"/>
                  <a:gd name="T25" fmla="*/ 3 h 31"/>
                  <a:gd name="T26" fmla="*/ 19 w 19"/>
                  <a:gd name="T27" fmla="*/ 1 h 31"/>
                  <a:gd name="T28" fmla="*/ 18 w 19"/>
                  <a:gd name="T29" fmla="*/ 0 h 31"/>
                  <a:gd name="T30" fmla="*/ 15 w 19"/>
                  <a:gd name="T31" fmla="*/ 1 h 31"/>
                  <a:gd name="T32" fmla="*/ 14 w 19"/>
                  <a:gd name="T33" fmla="*/ 4 h 31"/>
                  <a:gd name="T34" fmla="*/ 10 w 19"/>
                  <a:gd name="T35" fmla="*/ 3 h 31"/>
                  <a:gd name="T36" fmla="*/ 4 w 19"/>
                  <a:gd name="T37" fmla="*/ 4 h 31"/>
                  <a:gd name="T38" fmla="*/ 2 w 19"/>
                  <a:gd name="T39" fmla="*/ 9 h 31"/>
                  <a:gd name="T40" fmla="*/ 4 w 19"/>
                  <a:gd name="T41" fmla="*/ 15 h 31"/>
                  <a:gd name="T42" fmla="*/ 1 w 19"/>
                  <a:gd name="T43" fmla="*/ 18 h 31"/>
                  <a:gd name="T44" fmla="*/ 3 w 19"/>
                  <a:gd name="T45" fmla="*/ 21 h 31"/>
                  <a:gd name="T46" fmla="*/ 0 w 19"/>
                  <a:gd name="T47" fmla="*/ 25 h 31"/>
                  <a:gd name="T48" fmla="*/ 2 w 19"/>
                  <a:gd name="T49" fmla="*/ 29 h 31"/>
                  <a:gd name="T50" fmla="*/ 9 w 19"/>
                  <a:gd name="T51" fmla="*/ 31 h 31"/>
                  <a:gd name="T52" fmla="*/ 19 w 19"/>
                  <a:gd name="T53" fmla="*/ 25 h 31"/>
                  <a:gd name="T54" fmla="*/ 18 w 19"/>
                  <a:gd name="T55" fmla="*/ 22 h 31"/>
                  <a:gd name="T56" fmla="*/ 15 w 19"/>
                  <a:gd name="T57" fmla="*/ 21 h 31"/>
                  <a:gd name="T58" fmla="*/ 7 w 19"/>
                  <a:gd name="T59" fmla="*/ 6 h 31"/>
                  <a:gd name="T60" fmla="*/ 10 w 19"/>
                  <a:gd name="T61" fmla="*/ 5 h 31"/>
                  <a:gd name="T62" fmla="*/ 13 w 19"/>
                  <a:gd name="T63" fmla="*/ 7 h 31"/>
                  <a:gd name="T64" fmla="*/ 14 w 19"/>
                  <a:gd name="T65" fmla="*/ 10 h 31"/>
                  <a:gd name="T66" fmla="*/ 13 w 19"/>
                  <a:gd name="T67" fmla="*/ 13 h 31"/>
                  <a:gd name="T68" fmla="*/ 9 w 19"/>
                  <a:gd name="T69" fmla="*/ 14 h 31"/>
                  <a:gd name="T70" fmla="*/ 6 w 19"/>
                  <a:gd name="T71" fmla="*/ 13 h 31"/>
                  <a:gd name="T72" fmla="*/ 5 w 19"/>
                  <a:gd name="T73" fmla="*/ 9 h 31"/>
                  <a:gd name="T74" fmla="*/ 7 w 19"/>
                  <a:gd name="T75" fmla="*/ 6 h 31"/>
                  <a:gd name="T76" fmla="*/ 14 w 19"/>
                  <a:gd name="T77" fmla="*/ 28 h 31"/>
                  <a:gd name="T78" fmla="*/ 9 w 19"/>
                  <a:gd name="T79" fmla="*/ 28 h 31"/>
                  <a:gd name="T80" fmla="*/ 5 w 19"/>
                  <a:gd name="T81" fmla="*/ 27 h 31"/>
                  <a:gd name="T82" fmla="*/ 3 w 19"/>
                  <a:gd name="T83" fmla="*/ 25 h 31"/>
                  <a:gd name="T84" fmla="*/ 5 w 19"/>
                  <a:gd name="T85" fmla="*/ 22 h 31"/>
                  <a:gd name="T86" fmla="*/ 10 w 19"/>
                  <a:gd name="T87" fmla="*/ 23 h 31"/>
                  <a:gd name="T88" fmla="*/ 14 w 19"/>
                  <a:gd name="T89" fmla="*/ 23 h 31"/>
                  <a:gd name="T90" fmla="*/ 16 w 19"/>
                  <a:gd name="T91" fmla="*/ 24 h 31"/>
                  <a:gd name="T92" fmla="*/ 16 w 19"/>
                  <a:gd name="T93" fmla="*/ 25 h 31"/>
                  <a:gd name="T94" fmla="*/ 14 w 19"/>
                  <a:gd name="T95" fmla="*/ 2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9" h="31">
                    <a:moveTo>
                      <a:pt x="15" y="21"/>
                    </a:moveTo>
                    <a:cubicBezTo>
                      <a:pt x="14" y="20"/>
                      <a:pt x="13" y="20"/>
                      <a:pt x="10" y="20"/>
                    </a:cubicBezTo>
                    <a:cubicBezTo>
                      <a:pt x="8" y="20"/>
                      <a:pt x="6" y="20"/>
                      <a:pt x="5" y="19"/>
                    </a:cubicBezTo>
                    <a:cubicBezTo>
                      <a:pt x="5" y="19"/>
                      <a:pt x="4" y="18"/>
                      <a:pt x="4" y="18"/>
                    </a:cubicBezTo>
                    <a:cubicBezTo>
                      <a:pt x="4" y="17"/>
                      <a:pt x="5" y="17"/>
                      <a:pt x="5" y="16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7" y="16"/>
                      <a:pt x="7" y="16"/>
                      <a:pt x="8" y="16"/>
                    </a:cubicBezTo>
                    <a:cubicBezTo>
                      <a:pt x="8" y="16"/>
                      <a:pt x="9" y="16"/>
                      <a:pt x="9" y="16"/>
                    </a:cubicBezTo>
                    <a:cubicBezTo>
                      <a:pt x="11" y="16"/>
                      <a:pt x="13" y="16"/>
                      <a:pt x="15" y="15"/>
                    </a:cubicBezTo>
                    <a:cubicBezTo>
                      <a:pt x="16" y="13"/>
                      <a:pt x="17" y="12"/>
                      <a:pt x="17" y="10"/>
                    </a:cubicBezTo>
                    <a:cubicBezTo>
                      <a:pt x="17" y="8"/>
                      <a:pt x="16" y="7"/>
                      <a:pt x="15" y="5"/>
                    </a:cubicBezTo>
                    <a:cubicBezTo>
                      <a:pt x="15" y="4"/>
                      <a:pt x="16" y="4"/>
                      <a:pt x="16" y="3"/>
                    </a:cubicBezTo>
                    <a:cubicBezTo>
                      <a:pt x="17" y="3"/>
                      <a:pt x="18" y="3"/>
                      <a:pt x="19" y="3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9" y="1"/>
                      <a:pt x="19" y="0"/>
                      <a:pt x="18" y="0"/>
                    </a:cubicBezTo>
                    <a:cubicBezTo>
                      <a:pt x="17" y="0"/>
                      <a:pt x="16" y="1"/>
                      <a:pt x="15" y="1"/>
                    </a:cubicBezTo>
                    <a:cubicBezTo>
                      <a:pt x="14" y="2"/>
                      <a:pt x="14" y="2"/>
                      <a:pt x="14" y="4"/>
                    </a:cubicBezTo>
                    <a:cubicBezTo>
                      <a:pt x="13" y="3"/>
                      <a:pt x="11" y="3"/>
                      <a:pt x="10" y="3"/>
                    </a:cubicBezTo>
                    <a:cubicBezTo>
                      <a:pt x="8" y="3"/>
                      <a:pt x="6" y="3"/>
                      <a:pt x="4" y="4"/>
                    </a:cubicBezTo>
                    <a:cubicBezTo>
                      <a:pt x="3" y="6"/>
                      <a:pt x="2" y="7"/>
                      <a:pt x="2" y="9"/>
                    </a:cubicBezTo>
                    <a:cubicBezTo>
                      <a:pt x="2" y="11"/>
                      <a:pt x="3" y="13"/>
                      <a:pt x="4" y="15"/>
                    </a:cubicBezTo>
                    <a:cubicBezTo>
                      <a:pt x="2" y="15"/>
                      <a:pt x="1" y="16"/>
                      <a:pt x="1" y="18"/>
                    </a:cubicBezTo>
                    <a:cubicBezTo>
                      <a:pt x="1" y="19"/>
                      <a:pt x="2" y="20"/>
                      <a:pt x="3" y="21"/>
                    </a:cubicBezTo>
                    <a:cubicBezTo>
                      <a:pt x="1" y="22"/>
                      <a:pt x="0" y="23"/>
                      <a:pt x="0" y="25"/>
                    </a:cubicBezTo>
                    <a:cubicBezTo>
                      <a:pt x="0" y="27"/>
                      <a:pt x="1" y="28"/>
                      <a:pt x="2" y="29"/>
                    </a:cubicBezTo>
                    <a:cubicBezTo>
                      <a:pt x="3" y="30"/>
                      <a:pt x="6" y="31"/>
                      <a:pt x="9" y="31"/>
                    </a:cubicBezTo>
                    <a:cubicBezTo>
                      <a:pt x="16" y="31"/>
                      <a:pt x="19" y="29"/>
                      <a:pt x="19" y="25"/>
                    </a:cubicBezTo>
                    <a:cubicBezTo>
                      <a:pt x="19" y="24"/>
                      <a:pt x="19" y="23"/>
                      <a:pt x="18" y="22"/>
                    </a:cubicBezTo>
                    <a:cubicBezTo>
                      <a:pt x="17" y="21"/>
                      <a:pt x="16" y="21"/>
                      <a:pt x="15" y="21"/>
                    </a:cubicBezTo>
                    <a:close/>
                    <a:moveTo>
                      <a:pt x="7" y="6"/>
                    </a:moveTo>
                    <a:cubicBezTo>
                      <a:pt x="7" y="5"/>
                      <a:pt x="8" y="5"/>
                      <a:pt x="10" y="5"/>
                    </a:cubicBezTo>
                    <a:cubicBezTo>
                      <a:pt x="11" y="5"/>
                      <a:pt x="12" y="6"/>
                      <a:pt x="13" y="7"/>
                    </a:cubicBezTo>
                    <a:cubicBezTo>
                      <a:pt x="14" y="7"/>
                      <a:pt x="14" y="8"/>
                      <a:pt x="14" y="10"/>
                    </a:cubicBezTo>
                    <a:cubicBezTo>
                      <a:pt x="14" y="11"/>
                      <a:pt x="13" y="12"/>
                      <a:pt x="13" y="13"/>
                    </a:cubicBezTo>
                    <a:cubicBezTo>
                      <a:pt x="12" y="14"/>
                      <a:pt x="11" y="14"/>
                      <a:pt x="9" y="14"/>
                    </a:cubicBezTo>
                    <a:cubicBezTo>
                      <a:pt x="8" y="14"/>
                      <a:pt x="7" y="13"/>
                      <a:pt x="6" y="13"/>
                    </a:cubicBezTo>
                    <a:cubicBezTo>
                      <a:pt x="5" y="12"/>
                      <a:pt x="5" y="11"/>
                      <a:pt x="5" y="9"/>
                    </a:cubicBezTo>
                    <a:cubicBezTo>
                      <a:pt x="5" y="8"/>
                      <a:pt x="6" y="7"/>
                      <a:pt x="7" y="6"/>
                    </a:cubicBezTo>
                    <a:close/>
                    <a:moveTo>
                      <a:pt x="14" y="28"/>
                    </a:moveTo>
                    <a:cubicBezTo>
                      <a:pt x="12" y="28"/>
                      <a:pt x="11" y="28"/>
                      <a:pt x="9" y="28"/>
                    </a:cubicBezTo>
                    <a:cubicBezTo>
                      <a:pt x="7" y="28"/>
                      <a:pt x="6" y="28"/>
                      <a:pt x="5" y="27"/>
                    </a:cubicBezTo>
                    <a:cubicBezTo>
                      <a:pt x="4" y="27"/>
                      <a:pt x="3" y="26"/>
                      <a:pt x="3" y="25"/>
                    </a:cubicBezTo>
                    <a:cubicBezTo>
                      <a:pt x="3" y="24"/>
                      <a:pt x="4" y="23"/>
                      <a:pt x="5" y="22"/>
                    </a:cubicBezTo>
                    <a:cubicBezTo>
                      <a:pt x="6" y="22"/>
                      <a:pt x="8" y="23"/>
                      <a:pt x="10" y="23"/>
                    </a:cubicBezTo>
                    <a:cubicBezTo>
                      <a:pt x="12" y="23"/>
                      <a:pt x="13" y="23"/>
                      <a:pt x="14" y="23"/>
                    </a:cubicBezTo>
                    <a:cubicBezTo>
                      <a:pt x="15" y="23"/>
                      <a:pt x="15" y="23"/>
                      <a:pt x="16" y="24"/>
                    </a:cubicBezTo>
                    <a:cubicBezTo>
                      <a:pt x="16" y="24"/>
                      <a:pt x="16" y="25"/>
                      <a:pt x="16" y="25"/>
                    </a:cubicBezTo>
                    <a:cubicBezTo>
                      <a:pt x="16" y="27"/>
                      <a:pt x="15" y="27"/>
                      <a:pt x="14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65" name="Freeform 156"/>
              <p:cNvSpPr/>
              <p:nvPr/>
            </p:nvSpPr>
            <p:spPr bwMode="auto">
              <a:xfrm>
                <a:off x="3140075" y="4829176"/>
                <a:ext cx="60325" cy="101600"/>
              </a:xfrm>
              <a:custGeom>
                <a:avLst/>
                <a:gdLst>
                  <a:gd name="T0" fmla="*/ 15 w 16"/>
                  <a:gd name="T1" fmla="*/ 9 h 27"/>
                  <a:gd name="T2" fmla="*/ 13 w 16"/>
                  <a:gd name="T3" fmla="*/ 7 h 27"/>
                  <a:gd name="T4" fmla="*/ 10 w 16"/>
                  <a:gd name="T5" fmla="*/ 7 h 27"/>
                  <a:gd name="T6" fmla="*/ 4 w 16"/>
                  <a:gd name="T7" fmla="*/ 11 h 27"/>
                  <a:gd name="T8" fmla="*/ 4 w 16"/>
                  <a:gd name="T9" fmla="*/ 0 h 27"/>
                  <a:gd name="T10" fmla="*/ 1 w 16"/>
                  <a:gd name="T11" fmla="*/ 0 h 27"/>
                  <a:gd name="T12" fmla="*/ 0 w 16"/>
                  <a:gd name="T13" fmla="*/ 27 h 27"/>
                  <a:gd name="T14" fmla="*/ 3 w 16"/>
                  <a:gd name="T15" fmla="*/ 27 h 27"/>
                  <a:gd name="T16" fmla="*/ 3 w 16"/>
                  <a:gd name="T17" fmla="*/ 16 h 27"/>
                  <a:gd name="T18" fmla="*/ 5 w 16"/>
                  <a:gd name="T19" fmla="*/ 11 h 27"/>
                  <a:gd name="T20" fmla="*/ 9 w 16"/>
                  <a:gd name="T21" fmla="*/ 9 h 27"/>
                  <a:gd name="T22" fmla="*/ 12 w 16"/>
                  <a:gd name="T23" fmla="*/ 10 h 27"/>
                  <a:gd name="T24" fmla="*/ 13 w 16"/>
                  <a:gd name="T25" fmla="*/ 12 h 27"/>
                  <a:gd name="T26" fmla="*/ 13 w 16"/>
                  <a:gd name="T27" fmla="*/ 15 h 27"/>
                  <a:gd name="T28" fmla="*/ 12 w 16"/>
                  <a:gd name="T29" fmla="*/ 27 h 27"/>
                  <a:gd name="T30" fmla="*/ 16 w 16"/>
                  <a:gd name="T31" fmla="*/ 27 h 27"/>
                  <a:gd name="T32" fmla="*/ 16 w 16"/>
                  <a:gd name="T33" fmla="*/ 15 h 27"/>
                  <a:gd name="T34" fmla="*/ 16 w 16"/>
                  <a:gd name="T35" fmla="*/ 12 h 27"/>
                  <a:gd name="T36" fmla="*/ 15 w 16"/>
                  <a:gd name="T37" fmla="*/ 9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6" h="27">
                    <a:moveTo>
                      <a:pt x="15" y="9"/>
                    </a:moveTo>
                    <a:cubicBezTo>
                      <a:pt x="14" y="9"/>
                      <a:pt x="14" y="8"/>
                      <a:pt x="13" y="7"/>
                    </a:cubicBezTo>
                    <a:cubicBezTo>
                      <a:pt x="12" y="7"/>
                      <a:pt x="11" y="7"/>
                      <a:pt x="10" y="7"/>
                    </a:cubicBezTo>
                    <a:cubicBezTo>
                      <a:pt x="7" y="6"/>
                      <a:pt x="5" y="8"/>
                      <a:pt x="4" y="1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3" y="27"/>
                      <a:pt x="3" y="27"/>
                      <a:pt x="3" y="27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4" y="14"/>
                      <a:pt x="4" y="12"/>
                      <a:pt x="5" y="11"/>
                    </a:cubicBezTo>
                    <a:cubicBezTo>
                      <a:pt x="6" y="10"/>
                      <a:pt x="8" y="9"/>
                      <a:pt x="9" y="9"/>
                    </a:cubicBezTo>
                    <a:cubicBezTo>
                      <a:pt x="10" y="9"/>
                      <a:pt x="11" y="9"/>
                      <a:pt x="12" y="10"/>
                    </a:cubicBezTo>
                    <a:cubicBezTo>
                      <a:pt x="12" y="11"/>
                      <a:pt x="13" y="11"/>
                      <a:pt x="13" y="12"/>
                    </a:cubicBezTo>
                    <a:cubicBezTo>
                      <a:pt x="13" y="13"/>
                      <a:pt x="13" y="14"/>
                      <a:pt x="13" y="15"/>
                    </a:cubicBezTo>
                    <a:cubicBezTo>
                      <a:pt x="12" y="27"/>
                      <a:pt x="12" y="27"/>
                      <a:pt x="12" y="27"/>
                    </a:cubicBezTo>
                    <a:cubicBezTo>
                      <a:pt x="16" y="27"/>
                      <a:pt x="16" y="27"/>
                      <a:pt x="16" y="27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6" y="13"/>
                      <a:pt x="16" y="12"/>
                      <a:pt x="16" y="12"/>
                    </a:cubicBezTo>
                    <a:cubicBezTo>
                      <a:pt x="16" y="11"/>
                      <a:pt x="15" y="10"/>
                      <a:pt x="1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66" name="Freeform 157"/>
              <p:cNvSpPr/>
              <p:nvPr/>
            </p:nvSpPr>
            <p:spPr bwMode="auto">
              <a:xfrm>
                <a:off x="3211513" y="4837113"/>
                <a:ext cx="44450" cy="96838"/>
              </a:xfrm>
              <a:custGeom>
                <a:avLst/>
                <a:gdLst>
                  <a:gd name="T0" fmla="*/ 6 w 12"/>
                  <a:gd name="T1" fmla="*/ 21 h 26"/>
                  <a:gd name="T2" fmla="*/ 7 w 12"/>
                  <a:gd name="T3" fmla="*/ 8 h 26"/>
                  <a:gd name="T4" fmla="*/ 11 w 12"/>
                  <a:gd name="T5" fmla="*/ 8 h 26"/>
                  <a:gd name="T6" fmla="*/ 11 w 12"/>
                  <a:gd name="T7" fmla="*/ 6 h 26"/>
                  <a:gd name="T8" fmla="*/ 7 w 12"/>
                  <a:gd name="T9" fmla="*/ 6 h 26"/>
                  <a:gd name="T10" fmla="*/ 7 w 12"/>
                  <a:gd name="T11" fmla="*/ 0 h 26"/>
                  <a:gd name="T12" fmla="*/ 4 w 12"/>
                  <a:gd name="T13" fmla="*/ 1 h 26"/>
                  <a:gd name="T14" fmla="*/ 4 w 12"/>
                  <a:gd name="T15" fmla="*/ 6 h 26"/>
                  <a:gd name="T16" fmla="*/ 0 w 12"/>
                  <a:gd name="T17" fmla="*/ 6 h 26"/>
                  <a:gd name="T18" fmla="*/ 0 w 12"/>
                  <a:gd name="T19" fmla="*/ 8 h 26"/>
                  <a:gd name="T20" fmla="*/ 4 w 12"/>
                  <a:gd name="T21" fmla="*/ 8 h 26"/>
                  <a:gd name="T22" fmla="*/ 3 w 12"/>
                  <a:gd name="T23" fmla="*/ 20 h 26"/>
                  <a:gd name="T24" fmla="*/ 9 w 12"/>
                  <a:gd name="T25" fmla="*/ 26 h 26"/>
                  <a:gd name="T26" fmla="*/ 12 w 12"/>
                  <a:gd name="T27" fmla="*/ 26 h 26"/>
                  <a:gd name="T28" fmla="*/ 12 w 12"/>
                  <a:gd name="T29" fmla="*/ 24 h 26"/>
                  <a:gd name="T30" fmla="*/ 9 w 12"/>
                  <a:gd name="T31" fmla="*/ 24 h 26"/>
                  <a:gd name="T32" fmla="*/ 6 w 12"/>
                  <a:gd name="T33" fmla="*/ 2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" h="26">
                    <a:moveTo>
                      <a:pt x="6" y="21"/>
                    </a:moveTo>
                    <a:cubicBezTo>
                      <a:pt x="7" y="8"/>
                      <a:pt x="7" y="8"/>
                      <a:pt x="7" y="8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4"/>
                      <a:pt x="5" y="26"/>
                      <a:pt x="9" y="26"/>
                    </a:cubicBezTo>
                    <a:cubicBezTo>
                      <a:pt x="10" y="26"/>
                      <a:pt x="11" y="26"/>
                      <a:pt x="12" y="26"/>
                    </a:cubicBezTo>
                    <a:cubicBezTo>
                      <a:pt x="12" y="24"/>
                      <a:pt x="12" y="24"/>
                      <a:pt x="12" y="24"/>
                    </a:cubicBezTo>
                    <a:cubicBezTo>
                      <a:pt x="11" y="24"/>
                      <a:pt x="10" y="24"/>
                      <a:pt x="9" y="24"/>
                    </a:cubicBezTo>
                    <a:cubicBezTo>
                      <a:pt x="7" y="24"/>
                      <a:pt x="6" y="23"/>
                      <a:pt x="6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67" name="Freeform 158"/>
              <p:cNvSpPr>
                <a:spLocks noEditPoints="1"/>
              </p:cNvSpPr>
              <p:nvPr/>
            </p:nvSpPr>
            <p:spPr bwMode="auto">
              <a:xfrm>
                <a:off x="3260725" y="4859338"/>
                <a:ext cx="66675" cy="79375"/>
              </a:xfrm>
              <a:custGeom>
                <a:avLst/>
                <a:gdLst>
                  <a:gd name="T0" fmla="*/ 16 w 18"/>
                  <a:gd name="T1" fmla="*/ 3 h 21"/>
                  <a:gd name="T2" fmla="*/ 10 w 18"/>
                  <a:gd name="T3" fmla="*/ 0 h 21"/>
                  <a:gd name="T4" fmla="*/ 3 w 18"/>
                  <a:gd name="T5" fmla="*/ 2 h 21"/>
                  <a:gd name="T6" fmla="*/ 0 w 18"/>
                  <a:gd name="T7" fmla="*/ 10 h 21"/>
                  <a:gd name="T8" fmla="*/ 2 w 18"/>
                  <a:gd name="T9" fmla="*/ 18 h 21"/>
                  <a:gd name="T10" fmla="*/ 9 w 18"/>
                  <a:gd name="T11" fmla="*/ 21 h 21"/>
                  <a:gd name="T12" fmla="*/ 14 w 18"/>
                  <a:gd name="T13" fmla="*/ 19 h 21"/>
                  <a:gd name="T14" fmla="*/ 18 w 18"/>
                  <a:gd name="T15" fmla="*/ 15 h 21"/>
                  <a:gd name="T16" fmla="*/ 15 w 18"/>
                  <a:gd name="T17" fmla="*/ 14 h 21"/>
                  <a:gd name="T18" fmla="*/ 9 w 18"/>
                  <a:gd name="T19" fmla="*/ 18 h 21"/>
                  <a:gd name="T20" fmla="*/ 5 w 18"/>
                  <a:gd name="T21" fmla="*/ 16 h 21"/>
                  <a:gd name="T22" fmla="*/ 4 w 18"/>
                  <a:gd name="T23" fmla="*/ 10 h 21"/>
                  <a:gd name="T24" fmla="*/ 18 w 18"/>
                  <a:gd name="T25" fmla="*/ 11 h 21"/>
                  <a:gd name="T26" fmla="*/ 16 w 18"/>
                  <a:gd name="T27" fmla="*/ 3 h 21"/>
                  <a:gd name="T28" fmla="*/ 4 w 18"/>
                  <a:gd name="T29" fmla="*/ 8 h 21"/>
                  <a:gd name="T30" fmla="*/ 6 w 18"/>
                  <a:gd name="T31" fmla="*/ 4 h 21"/>
                  <a:gd name="T32" fmla="*/ 10 w 18"/>
                  <a:gd name="T33" fmla="*/ 2 h 21"/>
                  <a:gd name="T34" fmla="*/ 13 w 18"/>
                  <a:gd name="T35" fmla="*/ 3 h 21"/>
                  <a:gd name="T36" fmla="*/ 14 w 18"/>
                  <a:gd name="T37" fmla="*/ 5 h 21"/>
                  <a:gd name="T38" fmla="*/ 15 w 18"/>
                  <a:gd name="T39" fmla="*/ 8 h 21"/>
                  <a:gd name="T40" fmla="*/ 4 w 18"/>
                  <a:gd name="T41" fmla="*/ 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" h="21">
                    <a:moveTo>
                      <a:pt x="16" y="3"/>
                    </a:moveTo>
                    <a:cubicBezTo>
                      <a:pt x="14" y="1"/>
                      <a:pt x="12" y="0"/>
                      <a:pt x="10" y="0"/>
                    </a:cubicBezTo>
                    <a:cubicBezTo>
                      <a:pt x="7" y="0"/>
                      <a:pt x="5" y="1"/>
                      <a:pt x="3" y="2"/>
                    </a:cubicBezTo>
                    <a:cubicBezTo>
                      <a:pt x="1" y="4"/>
                      <a:pt x="0" y="7"/>
                      <a:pt x="0" y="10"/>
                    </a:cubicBezTo>
                    <a:cubicBezTo>
                      <a:pt x="0" y="13"/>
                      <a:pt x="1" y="16"/>
                      <a:pt x="2" y="18"/>
                    </a:cubicBezTo>
                    <a:cubicBezTo>
                      <a:pt x="4" y="20"/>
                      <a:pt x="6" y="21"/>
                      <a:pt x="9" y="21"/>
                    </a:cubicBezTo>
                    <a:cubicBezTo>
                      <a:pt x="11" y="21"/>
                      <a:pt x="13" y="20"/>
                      <a:pt x="14" y="19"/>
                    </a:cubicBezTo>
                    <a:cubicBezTo>
                      <a:pt x="16" y="18"/>
                      <a:pt x="17" y="17"/>
                      <a:pt x="18" y="15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4" y="17"/>
                      <a:pt x="12" y="18"/>
                      <a:pt x="9" y="18"/>
                    </a:cubicBezTo>
                    <a:cubicBezTo>
                      <a:pt x="8" y="18"/>
                      <a:pt x="7" y="18"/>
                      <a:pt x="5" y="16"/>
                    </a:cubicBezTo>
                    <a:cubicBezTo>
                      <a:pt x="4" y="15"/>
                      <a:pt x="4" y="13"/>
                      <a:pt x="4" y="10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18" y="7"/>
                      <a:pt x="17" y="5"/>
                      <a:pt x="16" y="3"/>
                    </a:cubicBezTo>
                    <a:close/>
                    <a:moveTo>
                      <a:pt x="4" y="8"/>
                    </a:moveTo>
                    <a:cubicBezTo>
                      <a:pt x="4" y="6"/>
                      <a:pt x="5" y="5"/>
                      <a:pt x="6" y="4"/>
                    </a:cubicBezTo>
                    <a:cubicBezTo>
                      <a:pt x="7" y="3"/>
                      <a:pt x="8" y="2"/>
                      <a:pt x="10" y="2"/>
                    </a:cubicBezTo>
                    <a:cubicBezTo>
                      <a:pt x="11" y="2"/>
                      <a:pt x="12" y="3"/>
                      <a:pt x="13" y="3"/>
                    </a:cubicBezTo>
                    <a:cubicBezTo>
                      <a:pt x="13" y="4"/>
                      <a:pt x="14" y="5"/>
                      <a:pt x="14" y="5"/>
                    </a:cubicBezTo>
                    <a:cubicBezTo>
                      <a:pt x="15" y="6"/>
                      <a:pt x="15" y="7"/>
                      <a:pt x="15" y="8"/>
                    </a:cubicBezTo>
                    <a:lnTo>
                      <a:pt x="4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68" name="Freeform 159"/>
              <p:cNvSpPr/>
              <p:nvPr/>
            </p:nvSpPr>
            <p:spPr bwMode="auto">
              <a:xfrm>
                <a:off x="3343275" y="4862513"/>
                <a:ext cx="41275" cy="76200"/>
              </a:xfrm>
              <a:custGeom>
                <a:avLst/>
                <a:gdLst>
                  <a:gd name="T0" fmla="*/ 10 w 11"/>
                  <a:gd name="T1" fmla="*/ 0 h 20"/>
                  <a:gd name="T2" fmla="*/ 7 w 11"/>
                  <a:gd name="T3" fmla="*/ 0 h 20"/>
                  <a:gd name="T4" fmla="*/ 4 w 11"/>
                  <a:gd name="T5" fmla="*/ 5 h 20"/>
                  <a:gd name="T6" fmla="*/ 4 w 11"/>
                  <a:gd name="T7" fmla="*/ 0 h 20"/>
                  <a:gd name="T8" fmla="*/ 1 w 11"/>
                  <a:gd name="T9" fmla="*/ 0 h 20"/>
                  <a:gd name="T10" fmla="*/ 0 w 11"/>
                  <a:gd name="T11" fmla="*/ 20 h 20"/>
                  <a:gd name="T12" fmla="*/ 3 w 11"/>
                  <a:gd name="T13" fmla="*/ 20 h 20"/>
                  <a:gd name="T14" fmla="*/ 4 w 11"/>
                  <a:gd name="T15" fmla="*/ 9 h 20"/>
                  <a:gd name="T16" fmla="*/ 6 w 11"/>
                  <a:gd name="T17" fmla="*/ 4 h 20"/>
                  <a:gd name="T18" fmla="*/ 10 w 11"/>
                  <a:gd name="T19" fmla="*/ 3 h 20"/>
                  <a:gd name="T20" fmla="*/ 11 w 11"/>
                  <a:gd name="T21" fmla="*/ 3 h 20"/>
                  <a:gd name="T22" fmla="*/ 11 w 11"/>
                  <a:gd name="T23" fmla="*/ 0 h 20"/>
                  <a:gd name="T24" fmla="*/ 10 w 11"/>
                  <a:gd name="T2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" h="20">
                    <a:moveTo>
                      <a:pt x="10" y="0"/>
                    </a:moveTo>
                    <a:cubicBezTo>
                      <a:pt x="9" y="0"/>
                      <a:pt x="8" y="0"/>
                      <a:pt x="7" y="0"/>
                    </a:cubicBezTo>
                    <a:cubicBezTo>
                      <a:pt x="6" y="1"/>
                      <a:pt x="5" y="2"/>
                      <a:pt x="4" y="5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7"/>
                      <a:pt x="5" y="6"/>
                      <a:pt x="6" y="4"/>
                    </a:cubicBezTo>
                    <a:cubicBezTo>
                      <a:pt x="7" y="3"/>
                      <a:pt x="8" y="3"/>
                      <a:pt x="10" y="3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10" y="0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69" name="Freeform 160"/>
              <p:cNvSpPr/>
              <p:nvPr/>
            </p:nvSpPr>
            <p:spPr bwMode="auto">
              <a:xfrm>
                <a:off x="1474788" y="1714501"/>
                <a:ext cx="79375" cy="169863"/>
              </a:xfrm>
              <a:custGeom>
                <a:avLst/>
                <a:gdLst>
                  <a:gd name="T0" fmla="*/ 11 w 21"/>
                  <a:gd name="T1" fmla="*/ 35 h 45"/>
                  <a:gd name="T2" fmla="*/ 11 w 21"/>
                  <a:gd name="T3" fmla="*/ 14 h 45"/>
                  <a:gd name="T4" fmla="*/ 19 w 21"/>
                  <a:gd name="T5" fmla="*/ 13 h 45"/>
                  <a:gd name="T6" fmla="*/ 18 w 21"/>
                  <a:gd name="T7" fmla="*/ 9 h 45"/>
                  <a:gd name="T8" fmla="*/ 11 w 21"/>
                  <a:gd name="T9" fmla="*/ 9 h 45"/>
                  <a:gd name="T10" fmla="*/ 11 w 21"/>
                  <a:gd name="T11" fmla="*/ 0 h 45"/>
                  <a:gd name="T12" fmla="*/ 6 w 21"/>
                  <a:gd name="T13" fmla="*/ 1 h 45"/>
                  <a:gd name="T14" fmla="*/ 6 w 21"/>
                  <a:gd name="T15" fmla="*/ 9 h 45"/>
                  <a:gd name="T16" fmla="*/ 0 w 21"/>
                  <a:gd name="T17" fmla="*/ 10 h 45"/>
                  <a:gd name="T18" fmla="*/ 0 w 21"/>
                  <a:gd name="T19" fmla="*/ 14 h 45"/>
                  <a:gd name="T20" fmla="*/ 6 w 21"/>
                  <a:gd name="T21" fmla="*/ 14 h 45"/>
                  <a:gd name="T22" fmla="*/ 6 w 21"/>
                  <a:gd name="T23" fmla="*/ 34 h 45"/>
                  <a:gd name="T24" fmla="*/ 16 w 21"/>
                  <a:gd name="T25" fmla="*/ 44 h 45"/>
                  <a:gd name="T26" fmla="*/ 21 w 21"/>
                  <a:gd name="T27" fmla="*/ 44 h 45"/>
                  <a:gd name="T28" fmla="*/ 21 w 21"/>
                  <a:gd name="T29" fmla="*/ 40 h 45"/>
                  <a:gd name="T30" fmla="*/ 17 w 21"/>
                  <a:gd name="T31" fmla="*/ 40 h 45"/>
                  <a:gd name="T32" fmla="*/ 11 w 21"/>
                  <a:gd name="T33" fmla="*/ 3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1" h="45">
                    <a:moveTo>
                      <a:pt x="11" y="35"/>
                    </a:moveTo>
                    <a:cubicBezTo>
                      <a:pt x="11" y="14"/>
                      <a:pt x="11" y="14"/>
                      <a:pt x="11" y="14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6" y="41"/>
                      <a:pt x="10" y="45"/>
                      <a:pt x="16" y="44"/>
                    </a:cubicBezTo>
                    <a:cubicBezTo>
                      <a:pt x="18" y="44"/>
                      <a:pt x="19" y="44"/>
                      <a:pt x="21" y="44"/>
                    </a:cubicBezTo>
                    <a:cubicBezTo>
                      <a:pt x="21" y="40"/>
                      <a:pt x="21" y="40"/>
                      <a:pt x="21" y="40"/>
                    </a:cubicBezTo>
                    <a:cubicBezTo>
                      <a:pt x="19" y="40"/>
                      <a:pt x="18" y="40"/>
                      <a:pt x="17" y="40"/>
                    </a:cubicBezTo>
                    <a:cubicBezTo>
                      <a:pt x="13" y="40"/>
                      <a:pt x="11" y="39"/>
                      <a:pt x="11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70" name="Freeform 161"/>
              <p:cNvSpPr/>
              <p:nvPr/>
            </p:nvSpPr>
            <p:spPr bwMode="auto">
              <a:xfrm>
                <a:off x="1573213" y="1744663"/>
                <a:ext cx="63500" cy="131763"/>
              </a:xfrm>
              <a:custGeom>
                <a:avLst/>
                <a:gdLst>
                  <a:gd name="T0" fmla="*/ 10 w 17"/>
                  <a:gd name="T1" fmla="*/ 2 h 35"/>
                  <a:gd name="T2" fmla="*/ 5 w 17"/>
                  <a:gd name="T3" fmla="*/ 9 h 35"/>
                  <a:gd name="T4" fmla="*/ 5 w 17"/>
                  <a:gd name="T5" fmla="*/ 1 h 35"/>
                  <a:gd name="T6" fmla="*/ 0 w 17"/>
                  <a:gd name="T7" fmla="*/ 1 h 35"/>
                  <a:gd name="T8" fmla="*/ 1 w 17"/>
                  <a:gd name="T9" fmla="*/ 35 h 35"/>
                  <a:gd name="T10" fmla="*/ 6 w 17"/>
                  <a:gd name="T11" fmla="*/ 35 h 35"/>
                  <a:gd name="T12" fmla="*/ 6 w 17"/>
                  <a:gd name="T13" fmla="*/ 17 h 35"/>
                  <a:gd name="T14" fmla="*/ 9 w 17"/>
                  <a:gd name="T15" fmla="*/ 8 h 35"/>
                  <a:gd name="T16" fmla="*/ 16 w 17"/>
                  <a:gd name="T17" fmla="*/ 5 h 35"/>
                  <a:gd name="T18" fmla="*/ 17 w 17"/>
                  <a:gd name="T19" fmla="*/ 5 h 35"/>
                  <a:gd name="T20" fmla="*/ 17 w 17"/>
                  <a:gd name="T21" fmla="*/ 0 h 35"/>
                  <a:gd name="T22" fmla="*/ 15 w 17"/>
                  <a:gd name="T23" fmla="*/ 0 h 35"/>
                  <a:gd name="T24" fmla="*/ 10 w 17"/>
                  <a:gd name="T25" fmla="*/ 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" h="35">
                    <a:moveTo>
                      <a:pt x="10" y="2"/>
                    </a:moveTo>
                    <a:cubicBezTo>
                      <a:pt x="8" y="3"/>
                      <a:pt x="7" y="5"/>
                      <a:pt x="5" y="9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35"/>
                      <a:pt x="1" y="35"/>
                      <a:pt x="1" y="35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6" y="14"/>
                      <a:pt x="7" y="11"/>
                      <a:pt x="9" y="8"/>
                    </a:cubicBezTo>
                    <a:cubicBezTo>
                      <a:pt x="11" y="6"/>
                      <a:pt x="13" y="5"/>
                      <a:pt x="16" y="5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6" y="0"/>
                      <a:pt x="15" y="0"/>
                      <a:pt x="15" y="0"/>
                    </a:cubicBezTo>
                    <a:cubicBezTo>
                      <a:pt x="13" y="0"/>
                      <a:pt x="12" y="0"/>
                      <a:pt x="1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71" name="Freeform 162"/>
              <p:cNvSpPr>
                <a:spLocks noEditPoints="1"/>
              </p:cNvSpPr>
              <p:nvPr/>
            </p:nvSpPr>
            <p:spPr bwMode="auto">
              <a:xfrm>
                <a:off x="1647825" y="1741488"/>
                <a:ext cx="115888" cy="138113"/>
              </a:xfrm>
              <a:custGeom>
                <a:avLst/>
                <a:gdLst>
                  <a:gd name="T0" fmla="*/ 29 w 31"/>
                  <a:gd name="T1" fmla="*/ 14 h 37"/>
                  <a:gd name="T2" fmla="*/ 26 w 31"/>
                  <a:gd name="T3" fmla="*/ 3 h 37"/>
                  <a:gd name="T4" fmla="*/ 16 w 31"/>
                  <a:gd name="T5" fmla="*/ 0 h 37"/>
                  <a:gd name="T6" fmla="*/ 1 w 31"/>
                  <a:gd name="T7" fmla="*/ 10 h 37"/>
                  <a:gd name="T8" fmla="*/ 6 w 31"/>
                  <a:gd name="T9" fmla="*/ 11 h 37"/>
                  <a:gd name="T10" fmla="*/ 15 w 31"/>
                  <a:gd name="T11" fmla="*/ 5 h 37"/>
                  <a:gd name="T12" fmla="*/ 21 w 31"/>
                  <a:gd name="T13" fmla="*/ 6 h 37"/>
                  <a:gd name="T14" fmla="*/ 24 w 31"/>
                  <a:gd name="T15" fmla="*/ 8 h 37"/>
                  <a:gd name="T16" fmla="*/ 24 w 31"/>
                  <a:gd name="T17" fmla="*/ 14 h 37"/>
                  <a:gd name="T18" fmla="*/ 20 w 31"/>
                  <a:gd name="T19" fmla="*/ 14 h 37"/>
                  <a:gd name="T20" fmla="*/ 5 w 31"/>
                  <a:gd name="T21" fmla="*/ 18 h 37"/>
                  <a:gd name="T22" fmla="*/ 1 w 31"/>
                  <a:gd name="T23" fmla="*/ 27 h 37"/>
                  <a:gd name="T24" fmla="*/ 4 w 31"/>
                  <a:gd name="T25" fmla="*/ 34 h 37"/>
                  <a:gd name="T26" fmla="*/ 13 w 31"/>
                  <a:gd name="T27" fmla="*/ 37 h 37"/>
                  <a:gd name="T28" fmla="*/ 25 w 31"/>
                  <a:gd name="T29" fmla="*/ 29 h 37"/>
                  <a:gd name="T30" fmla="*/ 25 w 31"/>
                  <a:gd name="T31" fmla="*/ 36 h 37"/>
                  <a:gd name="T32" fmla="*/ 31 w 31"/>
                  <a:gd name="T33" fmla="*/ 35 h 37"/>
                  <a:gd name="T34" fmla="*/ 30 w 31"/>
                  <a:gd name="T35" fmla="*/ 29 h 37"/>
                  <a:gd name="T36" fmla="*/ 29 w 31"/>
                  <a:gd name="T37" fmla="*/ 14 h 37"/>
                  <a:gd name="T38" fmla="*/ 22 w 31"/>
                  <a:gd name="T39" fmla="*/ 29 h 37"/>
                  <a:gd name="T40" fmla="*/ 14 w 31"/>
                  <a:gd name="T41" fmla="*/ 33 h 37"/>
                  <a:gd name="T42" fmla="*/ 8 w 31"/>
                  <a:gd name="T43" fmla="*/ 31 h 37"/>
                  <a:gd name="T44" fmla="*/ 6 w 31"/>
                  <a:gd name="T45" fmla="*/ 27 h 37"/>
                  <a:gd name="T46" fmla="*/ 10 w 31"/>
                  <a:gd name="T47" fmla="*/ 21 h 37"/>
                  <a:gd name="T48" fmla="*/ 19 w 31"/>
                  <a:gd name="T49" fmla="*/ 18 h 37"/>
                  <a:gd name="T50" fmla="*/ 24 w 31"/>
                  <a:gd name="T51" fmla="*/ 18 h 37"/>
                  <a:gd name="T52" fmla="*/ 24 w 31"/>
                  <a:gd name="T53" fmla="*/ 21 h 37"/>
                  <a:gd name="T54" fmla="*/ 22 w 31"/>
                  <a:gd name="T55" fmla="*/ 29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1" h="37">
                    <a:moveTo>
                      <a:pt x="29" y="14"/>
                    </a:moveTo>
                    <a:cubicBezTo>
                      <a:pt x="29" y="9"/>
                      <a:pt x="28" y="5"/>
                      <a:pt x="26" y="3"/>
                    </a:cubicBezTo>
                    <a:cubicBezTo>
                      <a:pt x="24" y="1"/>
                      <a:pt x="21" y="0"/>
                      <a:pt x="16" y="0"/>
                    </a:cubicBezTo>
                    <a:cubicBezTo>
                      <a:pt x="7" y="1"/>
                      <a:pt x="2" y="4"/>
                      <a:pt x="1" y="10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7" y="7"/>
                      <a:pt x="10" y="5"/>
                      <a:pt x="15" y="5"/>
                    </a:cubicBezTo>
                    <a:cubicBezTo>
                      <a:pt x="18" y="5"/>
                      <a:pt x="19" y="5"/>
                      <a:pt x="21" y="6"/>
                    </a:cubicBezTo>
                    <a:cubicBezTo>
                      <a:pt x="22" y="6"/>
                      <a:pt x="23" y="7"/>
                      <a:pt x="24" y="8"/>
                    </a:cubicBezTo>
                    <a:cubicBezTo>
                      <a:pt x="24" y="10"/>
                      <a:pt x="24" y="12"/>
                      <a:pt x="24" y="14"/>
                    </a:cubicBezTo>
                    <a:cubicBezTo>
                      <a:pt x="22" y="14"/>
                      <a:pt x="21" y="14"/>
                      <a:pt x="20" y="14"/>
                    </a:cubicBezTo>
                    <a:cubicBezTo>
                      <a:pt x="13" y="14"/>
                      <a:pt x="8" y="16"/>
                      <a:pt x="5" y="18"/>
                    </a:cubicBezTo>
                    <a:cubicBezTo>
                      <a:pt x="2" y="20"/>
                      <a:pt x="0" y="23"/>
                      <a:pt x="1" y="27"/>
                    </a:cubicBezTo>
                    <a:cubicBezTo>
                      <a:pt x="1" y="29"/>
                      <a:pt x="2" y="32"/>
                      <a:pt x="4" y="34"/>
                    </a:cubicBezTo>
                    <a:cubicBezTo>
                      <a:pt x="6" y="36"/>
                      <a:pt x="9" y="37"/>
                      <a:pt x="13" y="37"/>
                    </a:cubicBezTo>
                    <a:cubicBezTo>
                      <a:pt x="18" y="37"/>
                      <a:pt x="22" y="34"/>
                      <a:pt x="25" y="29"/>
                    </a:cubicBezTo>
                    <a:cubicBezTo>
                      <a:pt x="25" y="32"/>
                      <a:pt x="25" y="34"/>
                      <a:pt x="25" y="36"/>
                    </a:cubicBezTo>
                    <a:cubicBezTo>
                      <a:pt x="31" y="35"/>
                      <a:pt x="31" y="35"/>
                      <a:pt x="31" y="35"/>
                    </a:cubicBezTo>
                    <a:cubicBezTo>
                      <a:pt x="30" y="33"/>
                      <a:pt x="30" y="31"/>
                      <a:pt x="30" y="29"/>
                    </a:cubicBezTo>
                    <a:lnTo>
                      <a:pt x="29" y="14"/>
                    </a:lnTo>
                    <a:close/>
                    <a:moveTo>
                      <a:pt x="22" y="29"/>
                    </a:moveTo>
                    <a:cubicBezTo>
                      <a:pt x="19" y="31"/>
                      <a:pt x="17" y="33"/>
                      <a:pt x="14" y="33"/>
                    </a:cubicBezTo>
                    <a:cubicBezTo>
                      <a:pt x="11" y="33"/>
                      <a:pt x="9" y="32"/>
                      <a:pt x="8" y="31"/>
                    </a:cubicBezTo>
                    <a:cubicBezTo>
                      <a:pt x="7" y="30"/>
                      <a:pt x="6" y="28"/>
                      <a:pt x="6" y="27"/>
                    </a:cubicBezTo>
                    <a:cubicBezTo>
                      <a:pt x="6" y="24"/>
                      <a:pt x="7" y="22"/>
                      <a:pt x="10" y="21"/>
                    </a:cubicBezTo>
                    <a:cubicBezTo>
                      <a:pt x="12" y="19"/>
                      <a:pt x="15" y="18"/>
                      <a:pt x="19" y="18"/>
                    </a:cubicBezTo>
                    <a:cubicBezTo>
                      <a:pt x="21" y="18"/>
                      <a:pt x="22" y="18"/>
                      <a:pt x="24" y="18"/>
                    </a:cubicBezTo>
                    <a:cubicBezTo>
                      <a:pt x="24" y="19"/>
                      <a:pt x="24" y="20"/>
                      <a:pt x="24" y="21"/>
                    </a:cubicBezTo>
                    <a:cubicBezTo>
                      <a:pt x="25" y="24"/>
                      <a:pt x="24" y="27"/>
                      <a:pt x="22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72" name="Freeform 163"/>
              <p:cNvSpPr>
                <a:spLocks noEditPoints="1"/>
              </p:cNvSpPr>
              <p:nvPr/>
            </p:nvSpPr>
            <p:spPr bwMode="auto">
              <a:xfrm>
                <a:off x="1785938" y="1695451"/>
                <a:ext cx="114300" cy="180975"/>
              </a:xfrm>
              <a:custGeom>
                <a:avLst/>
                <a:gdLst>
                  <a:gd name="T0" fmla="*/ 24 w 30"/>
                  <a:gd name="T1" fmla="*/ 17 h 48"/>
                  <a:gd name="T2" fmla="*/ 14 w 30"/>
                  <a:gd name="T3" fmla="*/ 12 h 48"/>
                  <a:gd name="T4" fmla="*/ 4 w 30"/>
                  <a:gd name="T5" fmla="*/ 17 h 48"/>
                  <a:gd name="T6" fmla="*/ 0 w 30"/>
                  <a:gd name="T7" fmla="*/ 30 h 48"/>
                  <a:gd name="T8" fmla="*/ 5 w 30"/>
                  <a:gd name="T9" fmla="*/ 43 h 48"/>
                  <a:gd name="T10" fmla="*/ 15 w 30"/>
                  <a:gd name="T11" fmla="*/ 48 h 48"/>
                  <a:gd name="T12" fmla="*/ 25 w 30"/>
                  <a:gd name="T13" fmla="*/ 41 h 48"/>
                  <a:gd name="T14" fmla="*/ 25 w 30"/>
                  <a:gd name="T15" fmla="*/ 47 h 48"/>
                  <a:gd name="T16" fmla="*/ 30 w 30"/>
                  <a:gd name="T17" fmla="*/ 47 h 48"/>
                  <a:gd name="T18" fmla="*/ 29 w 30"/>
                  <a:gd name="T19" fmla="*/ 0 h 48"/>
                  <a:gd name="T20" fmla="*/ 24 w 30"/>
                  <a:gd name="T21" fmla="*/ 1 h 48"/>
                  <a:gd name="T22" fmla="*/ 24 w 30"/>
                  <a:gd name="T23" fmla="*/ 17 h 48"/>
                  <a:gd name="T24" fmla="*/ 25 w 30"/>
                  <a:gd name="T25" fmla="*/ 33 h 48"/>
                  <a:gd name="T26" fmla="*/ 22 w 30"/>
                  <a:gd name="T27" fmla="*/ 40 h 48"/>
                  <a:gd name="T28" fmla="*/ 15 w 30"/>
                  <a:gd name="T29" fmla="*/ 44 h 48"/>
                  <a:gd name="T30" fmla="*/ 9 w 30"/>
                  <a:gd name="T31" fmla="*/ 40 h 48"/>
                  <a:gd name="T32" fmla="*/ 6 w 30"/>
                  <a:gd name="T33" fmla="*/ 30 h 48"/>
                  <a:gd name="T34" fmla="*/ 9 w 30"/>
                  <a:gd name="T35" fmla="*/ 20 h 48"/>
                  <a:gd name="T36" fmla="*/ 15 w 30"/>
                  <a:gd name="T37" fmla="*/ 16 h 48"/>
                  <a:gd name="T38" fmla="*/ 22 w 30"/>
                  <a:gd name="T39" fmla="*/ 19 h 48"/>
                  <a:gd name="T40" fmla="*/ 24 w 30"/>
                  <a:gd name="T41" fmla="*/ 26 h 48"/>
                  <a:gd name="T42" fmla="*/ 25 w 30"/>
                  <a:gd name="T43" fmla="*/ 33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0" h="48">
                    <a:moveTo>
                      <a:pt x="24" y="17"/>
                    </a:moveTo>
                    <a:cubicBezTo>
                      <a:pt x="22" y="14"/>
                      <a:pt x="18" y="12"/>
                      <a:pt x="14" y="12"/>
                    </a:cubicBezTo>
                    <a:cubicBezTo>
                      <a:pt x="10" y="12"/>
                      <a:pt x="7" y="14"/>
                      <a:pt x="4" y="17"/>
                    </a:cubicBezTo>
                    <a:cubicBezTo>
                      <a:pt x="2" y="21"/>
                      <a:pt x="0" y="25"/>
                      <a:pt x="0" y="30"/>
                    </a:cubicBezTo>
                    <a:cubicBezTo>
                      <a:pt x="1" y="36"/>
                      <a:pt x="2" y="40"/>
                      <a:pt x="5" y="43"/>
                    </a:cubicBezTo>
                    <a:cubicBezTo>
                      <a:pt x="7" y="46"/>
                      <a:pt x="11" y="48"/>
                      <a:pt x="15" y="48"/>
                    </a:cubicBezTo>
                    <a:cubicBezTo>
                      <a:pt x="19" y="48"/>
                      <a:pt x="23" y="46"/>
                      <a:pt x="25" y="41"/>
                    </a:cubicBezTo>
                    <a:cubicBezTo>
                      <a:pt x="25" y="47"/>
                      <a:pt x="25" y="47"/>
                      <a:pt x="25" y="47"/>
                    </a:cubicBezTo>
                    <a:cubicBezTo>
                      <a:pt x="30" y="47"/>
                      <a:pt x="30" y="47"/>
                      <a:pt x="30" y="47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4" y="1"/>
                      <a:pt x="24" y="1"/>
                      <a:pt x="24" y="1"/>
                    </a:cubicBezTo>
                    <a:lnTo>
                      <a:pt x="24" y="17"/>
                    </a:lnTo>
                    <a:close/>
                    <a:moveTo>
                      <a:pt x="25" y="33"/>
                    </a:moveTo>
                    <a:cubicBezTo>
                      <a:pt x="25" y="36"/>
                      <a:pt x="24" y="38"/>
                      <a:pt x="22" y="40"/>
                    </a:cubicBezTo>
                    <a:cubicBezTo>
                      <a:pt x="20" y="42"/>
                      <a:pt x="18" y="43"/>
                      <a:pt x="15" y="44"/>
                    </a:cubicBezTo>
                    <a:cubicBezTo>
                      <a:pt x="13" y="44"/>
                      <a:pt x="10" y="42"/>
                      <a:pt x="9" y="40"/>
                    </a:cubicBezTo>
                    <a:cubicBezTo>
                      <a:pt x="7" y="38"/>
                      <a:pt x="6" y="34"/>
                      <a:pt x="6" y="30"/>
                    </a:cubicBezTo>
                    <a:cubicBezTo>
                      <a:pt x="6" y="25"/>
                      <a:pt x="7" y="22"/>
                      <a:pt x="9" y="20"/>
                    </a:cubicBezTo>
                    <a:cubicBezTo>
                      <a:pt x="10" y="17"/>
                      <a:pt x="12" y="16"/>
                      <a:pt x="15" y="16"/>
                    </a:cubicBezTo>
                    <a:cubicBezTo>
                      <a:pt x="18" y="16"/>
                      <a:pt x="20" y="17"/>
                      <a:pt x="22" y="19"/>
                    </a:cubicBezTo>
                    <a:cubicBezTo>
                      <a:pt x="23" y="20"/>
                      <a:pt x="24" y="23"/>
                      <a:pt x="24" y="26"/>
                    </a:cubicBezTo>
                    <a:lnTo>
                      <a:pt x="25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73" name="Freeform 164"/>
              <p:cNvSpPr>
                <a:spLocks noEditPoints="1"/>
              </p:cNvSpPr>
              <p:nvPr/>
            </p:nvSpPr>
            <p:spPr bwMode="auto">
              <a:xfrm>
                <a:off x="1928813" y="1736726"/>
                <a:ext cx="117475" cy="136525"/>
              </a:xfrm>
              <a:custGeom>
                <a:avLst/>
                <a:gdLst>
                  <a:gd name="T0" fmla="*/ 16 w 31"/>
                  <a:gd name="T1" fmla="*/ 32 h 36"/>
                  <a:gd name="T2" fmla="*/ 9 w 31"/>
                  <a:gd name="T3" fmla="*/ 29 h 36"/>
                  <a:gd name="T4" fmla="*/ 6 w 31"/>
                  <a:gd name="T5" fmla="*/ 19 h 36"/>
                  <a:gd name="T6" fmla="*/ 31 w 31"/>
                  <a:gd name="T7" fmla="*/ 18 h 36"/>
                  <a:gd name="T8" fmla="*/ 26 w 31"/>
                  <a:gd name="T9" fmla="*/ 5 h 36"/>
                  <a:gd name="T10" fmla="*/ 15 w 31"/>
                  <a:gd name="T11" fmla="*/ 0 h 36"/>
                  <a:gd name="T12" fmla="*/ 4 w 31"/>
                  <a:gd name="T13" fmla="*/ 5 h 36"/>
                  <a:gd name="T14" fmla="*/ 0 w 31"/>
                  <a:gd name="T15" fmla="*/ 19 h 36"/>
                  <a:gd name="T16" fmla="*/ 4 w 31"/>
                  <a:gd name="T17" fmla="*/ 32 h 36"/>
                  <a:gd name="T18" fmla="*/ 16 w 31"/>
                  <a:gd name="T19" fmla="*/ 36 h 36"/>
                  <a:gd name="T20" fmla="*/ 25 w 31"/>
                  <a:gd name="T21" fmla="*/ 33 h 36"/>
                  <a:gd name="T22" fmla="*/ 30 w 31"/>
                  <a:gd name="T23" fmla="*/ 26 h 36"/>
                  <a:gd name="T24" fmla="*/ 25 w 31"/>
                  <a:gd name="T25" fmla="*/ 25 h 36"/>
                  <a:gd name="T26" fmla="*/ 16 w 31"/>
                  <a:gd name="T27" fmla="*/ 32 h 36"/>
                  <a:gd name="T28" fmla="*/ 9 w 31"/>
                  <a:gd name="T29" fmla="*/ 7 h 36"/>
                  <a:gd name="T30" fmla="*/ 16 w 31"/>
                  <a:gd name="T31" fmla="*/ 4 h 36"/>
                  <a:gd name="T32" fmla="*/ 21 w 31"/>
                  <a:gd name="T33" fmla="*/ 6 h 36"/>
                  <a:gd name="T34" fmla="*/ 24 w 31"/>
                  <a:gd name="T35" fmla="*/ 9 h 36"/>
                  <a:gd name="T36" fmla="*/ 25 w 31"/>
                  <a:gd name="T37" fmla="*/ 15 h 36"/>
                  <a:gd name="T38" fmla="*/ 6 w 31"/>
                  <a:gd name="T39" fmla="*/ 15 h 36"/>
                  <a:gd name="T40" fmla="*/ 9 w 31"/>
                  <a:gd name="T41" fmla="*/ 7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1" h="36">
                    <a:moveTo>
                      <a:pt x="16" y="32"/>
                    </a:moveTo>
                    <a:cubicBezTo>
                      <a:pt x="14" y="32"/>
                      <a:pt x="11" y="31"/>
                      <a:pt x="9" y="29"/>
                    </a:cubicBezTo>
                    <a:cubicBezTo>
                      <a:pt x="7" y="27"/>
                      <a:pt x="6" y="24"/>
                      <a:pt x="6" y="19"/>
                    </a:cubicBezTo>
                    <a:cubicBezTo>
                      <a:pt x="31" y="18"/>
                      <a:pt x="31" y="18"/>
                      <a:pt x="31" y="18"/>
                    </a:cubicBezTo>
                    <a:cubicBezTo>
                      <a:pt x="30" y="12"/>
                      <a:pt x="29" y="8"/>
                      <a:pt x="26" y="5"/>
                    </a:cubicBezTo>
                    <a:cubicBezTo>
                      <a:pt x="23" y="2"/>
                      <a:pt x="20" y="0"/>
                      <a:pt x="15" y="0"/>
                    </a:cubicBezTo>
                    <a:cubicBezTo>
                      <a:pt x="11" y="0"/>
                      <a:pt x="7" y="2"/>
                      <a:pt x="4" y="5"/>
                    </a:cubicBezTo>
                    <a:cubicBezTo>
                      <a:pt x="1" y="9"/>
                      <a:pt x="0" y="13"/>
                      <a:pt x="0" y="19"/>
                    </a:cubicBezTo>
                    <a:cubicBezTo>
                      <a:pt x="0" y="24"/>
                      <a:pt x="1" y="28"/>
                      <a:pt x="4" y="32"/>
                    </a:cubicBezTo>
                    <a:cubicBezTo>
                      <a:pt x="7" y="35"/>
                      <a:pt x="11" y="36"/>
                      <a:pt x="16" y="36"/>
                    </a:cubicBezTo>
                    <a:cubicBezTo>
                      <a:pt x="19" y="36"/>
                      <a:pt x="22" y="35"/>
                      <a:pt x="25" y="33"/>
                    </a:cubicBezTo>
                    <a:cubicBezTo>
                      <a:pt x="28" y="31"/>
                      <a:pt x="29" y="29"/>
                      <a:pt x="30" y="26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24" y="29"/>
                      <a:pt x="20" y="32"/>
                      <a:pt x="16" y="32"/>
                    </a:cubicBezTo>
                    <a:close/>
                    <a:moveTo>
                      <a:pt x="9" y="7"/>
                    </a:moveTo>
                    <a:cubicBezTo>
                      <a:pt x="11" y="5"/>
                      <a:pt x="13" y="4"/>
                      <a:pt x="16" y="4"/>
                    </a:cubicBezTo>
                    <a:cubicBezTo>
                      <a:pt x="18" y="4"/>
                      <a:pt x="19" y="5"/>
                      <a:pt x="21" y="6"/>
                    </a:cubicBezTo>
                    <a:cubicBezTo>
                      <a:pt x="22" y="7"/>
                      <a:pt x="23" y="8"/>
                      <a:pt x="24" y="9"/>
                    </a:cubicBezTo>
                    <a:cubicBezTo>
                      <a:pt x="24" y="11"/>
                      <a:pt x="25" y="13"/>
                      <a:pt x="25" y="15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6" y="12"/>
                      <a:pt x="7" y="9"/>
                      <a:pt x="9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74" name="Freeform 165"/>
              <p:cNvSpPr/>
              <p:nvPr/>
            </p:nvSpPr>
            <p:spPr bwMode="auto">
              <a:xfrm>
                <a:off x="2595563" y="3108326"/>
                <a:ext cx="85725" cy="139700"/>
              </a:xfrm>
              <a:custGeom>
                <a:avLst/>
                <a:gdLst>
                  <a:gd name="T0" fmla="*/ 22 w 23"/>
                  <a:gd name="T1" fmla="*/ 15 h 37"/>
                  <a:gd name="T2" fmla="*/ 20 w 23"/>
                  <a:gd name="T3" fmla="*/ 12 h 37"/>
                  <a:gd name="T4" fmla="*/ 16 w 23"/>
                  <a:gd name="T5" fmla="*/ 10 h 37"/>
                  <a:gd name="T6" fmla="*/ 8 w 23"/>
                  <a:gd name="T7" fmla="*/ 14 h 37"/>
                  <a:gd name="T8" fmla="*/ 10 w 23"/>
                  <a:gd name="T9" fmla="*/ 1 h 37"/>
                  <a:gd name="T10" fmla="*/ 6 w 23"/>
                  <a:gd name="T11" fmla="*/ 0 h 37"/>
                  <a:gd name="T12" fmla="*/ 0 w 23"/>
                  <a:gd name="T13" fmla="*/ 33 h 37"/>
                  <a:gd name="T14" fmla="*/ 4 w 23"/>
                  <a:gd name="T15" fmla="*/ 34 h 37"/>
                  <a:gd name="T16" fmla="*/ 7 w 23"/>
                  <a:gd name="T17" fmla="*/ 21 h 37"/>
                  <a:gd name="T18" fmla="*/ 10 w 23"/>
                  <a:gd name="T19" fmla="*/ 15 h 37"/>
                  <a:gd name="T20" fmla="*/ 15 w 23"/>
                  <a:gd name="T21" fmla="*/ 13 h 37"/>
                  <a:gd name="T22" fmla="*/ 18 w 23"/>
                  <a:gd name="T23" fmla="*/ 15 h 37"/>
                  <a:gd name="T24" fmla="*/ 19 w 23"/>
                  <a:gd name="T25" fmla="*/ 17 h 37"/>
                  <a:gd name="T26" fmla="*/ 19 w 23"/>
                  <a:gd name="T27" fmla="*/ 21 h 37"/>
                  <a:gd name="T28" fmla="*/ 16 w 23"/>
                  <a:gd name="T29" fmla="*/ 36 h 37"/>
                  <a:gd name="T30" fmla="*/ 20 w 23"/>
                  <a:gd name="T31" fmla="*/ 37 h 37"/>
                  <a:gd name="T32" fmla="*/ 22 w 23"/>
                  <a:gd name="T33" fmla="*/ 22 h 37"/>
                  <a:gd name="T34" fmla="*/ 23 w 23"/>
                  <a:gd name="T35" fmla="*/ 17 h 37"/>
                  <a:gd name="T36" fmla="*/ 22 w 23"/>
                  <a:gd name="T37" fmla="*/ 15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37">
                    <a:moveTo>
                      <a:pt x="22" y="15"/>
                    </a:moveTo>
                    <a:cubicBezTo>
                      <a:pt x="22" y="13"/>
                      <a:pt x="21" y="13"/>
                      <a:pt x="20" y="12"/>
                    </a:cubicBezTo>
                    <a:cubicBezTo>
                      <a:pt x="19" y="11"/>
                      <a:pt x="18" y="10"/>
                      <a:pt x="16" y="10"/>
                    </a:cubicBezTo>
                    <a:cubicBezTo>
                      <a:pt x="13" y="10"/>
                      <a:pt x="10" y="11"/>
                      <a:pt x="8" y="14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4" y="34"/>
                      <a:pt x="4" y="34"/>
                      <a:pt x="4" y="34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18"/>
                      <a:pt x="8" y="16"/>
                      <a:pt x="10" y="15"/>
                    </a:cubicBezTo>
                    <a:cubicBezTo>
                      <a:pt x="11" y="13"/>
                      <a:pt x="13" y="13"/>
                      <a:pt x="15" y="13"/>
                    </a:cubicBezTo>
                    <a:cubicBezTo>
                      <a:pt x="16" y="13"/>
                      <a:pt x="17" y="14"/>
                      <a:pt x="18" y="15"/>
                    </a:cubicBezTo>
                    <a:cubicBezTo>
                      <a:pt x="19" y="16"/>
                      <a:pt x="19" y="16"/>
                      <a:pt x="19" y="17"/>
                    </a:cubicBezTo>
                    <a:cubicBezTo>
                      <a:pt x="19" y="18"/>
                      <a:pt x="19" y="20"/>
                      <a:pt x="19" y="21"/>
                    </a:cubicBezTo>
                    <a:cubicBezTo>
                      <a:pt x="16" y="36"/>
                      <a:pt x="16" y="36"/>
                      <a:pt x="16" y="36"/>
                    </a:cubicBezTo>
                    <a:cubicBezTo>
                      <a:pt x="20" y="37"/>
                      <a:pt x="20" y="37"/>
                      <a:pt x="20" y="37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3" y="20"/>
                      <a:pt x="23" y="18"/>
                      <a:pt x="23" y="17"/>
                    </a:cubicBezTo>
                    <a:cubicBezTo>
                      <a:pt x="23" y="17"/>
                      <a:pt x="23" y="16"/>
                      <a:pt x="2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75" name="Freeform 166"/>
              <p:cNvSpPr>
                <a:spLocks noEditPoints="1"/>
              </p:cNvSpPr>
              <p:nvPr/>
            </p:nvSpPr>
            <p:spPr bwMode="auto">
              <a:xfrm>
                <a:off x="2697163" y="3160713"/>
                <a:ext cx="88900" cy="101600"/>
              </a:xfrm>
              <a:custGeom>
                <a:avLst/>
                <a:gdLst>
                  <a:gd name="T0" fmla="*/ 22 w 24"/>
                  <a:gd name="T1" fmla="*/ 6 h 27"/>
                  <a:gd name="T2" fmla="*/ 14 w 24"/>
                  <a:gd name="T3" fmla="*/ 1 h 27"/>
                  <a:gd name="T4" fmla="*/ 6 w 24"/>
                  <a:gd name="T5" fmla="*/ 3 h 27"/>
                  <a:gd name="T6" fmla="*/ 1 w 24"/>
                  <a:gd name="T7" fmla="*/ 12 h 27"/>
                  <a:gd name="T8" fmla="*/ 2 w 24"/>
                  <a:gd name="T9" fmla="*/ 22 h 27"/>
                  <a:gd name="T10" fmla="*/ 10 w 24"/>
                  <a:gd name="T11" fmla="*/ 27 h 27"/>
                  <a:gd name="T12" fmla="*/ 17 w 24"/>
                  <a:gd name="T13" fmla="*/ 26 h 27"/>
                  <a:gd name="T14" fmla="*/ 21 w 24"/>
                  <a:gd name="T15" fmla="*/ 22 h 27"/>
                  <a:gd name="T16" fmla="*/ 18 w 24"/>
                  <a:gd name="T17" fmla="*/ 20 h 27"/>
                  <a:gd name="T18" fmla="*/ 10 w 24"/>
                  <a:gd name="T19" fmla="*/ 24 h 27"/>
                  <a:gd name="T20" fmla="*/ 6 w 24"/>
                  <a:gd name="T21" fmla="*/ 21 h 27"/>
                  <a:gd name="T22" fmla="*/ 5 w 24"/>
                  <a:gd name="T23" fmla="*/ 13 h 27"/>
                  <a:gd name="T24" fmla="*/ 23 w 24"/>
                  <a:gd name="T25" fmla="*/ 16 h 27"/>
                  <a:gd name="T26" fmla="*/ 22 w 24"/>
                  <a:gd name="T27" fmla="*/ 6 h 27"/>
                  <a:gd name="T28" fmla="*/ 6 w 24"/>
                  <a:gd name="T29" fmla="*/ 10 h 27"/>
                  <a:gd name="T30" fmla="*/ 9 w 24"/>
                  <a:gd name="T31" fmla="*/ 5 h 27"/>
                  <a:gd name="T32" fmla="*/ 14 w 24"/>
                  <a:gd name="T33" fmla="*/ 4 h 27"/>
                  <a:gd name="T34" fmla="*/ 18 w 24"/>
                  <a:gd name="T35" fmla="*/ 6 h 27"/>
                  <a:gd name="T36" fmla="*/ 19 w 24"/>
                  <a:gd name="T37" fmla="*/ 9 h 27"/>
                  <a:gd name="T38" fmla="*/ 19 w 24"/>
                  <a:gd name="T39" fmla="*/ 13 h 27"/>
                  <a:gd name="T40" fmla="*/ 6 w 24"/>
                  <a:gd name="T41" fmla="*/ 1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4" h="27">
                    <a:moveTo>
                      <a:pt x="22" y="6"/>
                    </a:moveTo>
                    <a:cubicBezTo>
                      <a:pt x="20" y="3"/>
                      <a:pt x="18" y="1"/>
                      <a:pt x="14" y="1"/>
                    </a:cubicBezTo>
                    <a:cubicBezTo>
                      <a:pt x="11" y="0"/>
                      <a:pt x="8" y="1"/>
                      <a:pt x="6" y="3"/>
                    </a:cubicBezTo>
                    <a:cubicBezTo>
                      <a:pt x="3" y="5"/>
                      <a:pt x="1" y="8"/>
                      <a:pt x="1" y="12"/>
                    </a:cubicBezTo>
                    <a:cubicBezTo>
                      <a:pt x="0" y="16"/>
                      <a:pt x="0" y="19"/>
                      <a:pt x="2" y="22"/>
                    </a:cubicBezTo>
                    <a:cubicBezTo>
                      <a:pt x="4" y="25"/>
                      <a:pt x="6" y="26"/>
                      <a:pt x="10" y="27"/>
                    </a:cubicBezTo>
                    <a:cubicBezTo>
                      <a:pt x="12" y="27"/>
                      <a:pt x="14" y="27"/>
                      <a:pt x="17" y="26"/>
                    </a:cubicBezTo>
                    <a:cubicBezTo>
                      <a:pt x="19" y="25"/>
                      <a:pt x="20" y="24"/>
                      <a:pt x="21" y="22"/>
                    </a:cubicBezTo>
                    <a:cubicBezTo>
                      <a:pt x="18" y="20"/>
                      <a:pt x="18" y="20"/>
                      <a:pt x="18" y="20"/>
                    </a:cubicBezTo>
                    <a:cubicBezTo>
                      <a:pt x="16" y="23"/>
                      <a:pt x="14" y="24"/>
                      <a:pt x="10" y="24"/>
                    </a:cubicBezTo>
                    <a:cubicBezTo>
                      <a:pt x="9" y="23"/>
                      <a:pt x="7" y="22"/>
                      <a:pt x="6" y="21"/>
                    </a:cubicBezTo>
                    <a:cubicBezTo>
                      <a:pt x="5" y="19"/>
                      <a:pt x="4" y="17"/>
                      <a:pt x="5" y="13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4" y="12"/>
                      <a:pt x="23" y="8"/>
                      <a:pt x="22" y="6"/>
                    </a:cubicBezTo>
                    <a:close/>
                    <a:moveTo>
                      <a:pt x="6" y="10"/>
                    </a:moveTo>
                    <a:cubicBezTo>
                      <a:pt x="6" y="8"/>
                      <a:pt x="7" y="6"/>
                      <a:pt x="9" y="5"/>
                    </a:cubicBezTo>
                    <a:cubicBezTo>
                      <a:pt x="10" y="4"/>
                      <a:pt x="12" y="3"/>
                      <a:pt x="14" y="4"/>
                    </a:cubicBezTo>
                    <a:cubicBezTo>
                      <a:pt x="15" y="4"/>
                      <a:pt x="17" y="5"/>
                      <a:pt x="18" y="6"/>
                    </a:cubicBezTo>
                    <a:cubicBezTo>
                      <a:pt x="18" y="7"/>
                      <a:pt x="19" y="8"/>
                      <a:pt x="19" y="9"/>
                    </a:cubicBezTo>
                    <a:cubicBezTo>
                      <a:pt x="19" y="10"/>
                      <a:pt x="19" y="11"/>
                      <a:pt x="19" y="13"/>
                    </a:cubicBezTo>
                    <a:lnTo>
                      <a:pt x="6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76" name="Freeform 167"/>
              <p:cNvSpPr>
                <a:spLocks noEditPoints="1"/>
              </p:cNvSpPr>
              <p:nvPr/>
            </p:nvSpPr>
            <p:spPr bwMode="auto">
              <a:xfrm>
                <a:off x="2790825" y="3176588"/>
                <a:ext cx="90488" cy="107950"/>
              </a:xfrm>
              <a:custGeom>
                <a:avLst/>
                <a:gdLst>
                  <a:gd name="T0" fmla="*/ 23 w 24"/>
                  <a:gd name="T1" fmla="*/ 14 h 29"/>
                  <a:gd name="T2" fmla="*/ 22 w 24"/>
                  <a:gd name="T3" fmla="*/ 5 h 29"/>
                  <a:gd name="T4" fmla="*/ 15 w 24"/>
                  <a:gd name="T5" fmla="*/ 2 h 29"/>
                  <a:gd name="T6" fmla="*/ 3 w 24"/>
                  <a:gd name="T7" fmla="*/ 6 h 29"/>
                  <a:gd name="T8" fmla="*/ 7 w 24"/>
                  <a:gd name="T9" fmla="*/ 8 h 29"/>
                  <a:gd name="T10" fmla="*/ 14 w 24"/>
                  <a:gd name="T11" fmla="*/ 5 h 29"/>
                  <a:gd name="T12" fmla="*/ 18 w 24"/>
                  <a:gd name="T13" fmla="*/ 6 h 29"/>
                  <a:gd name="T14" fmla="*/ 20 w 24"/>
                  <a:gd name="T15" fmla="*/ 8 h 29"/>
                  <a:gd name="T16" fmla="*/ 19 w 24"/>
                  <a:gd name="T17" fmla="*/ 13 h 29"/>
                  <a:gd name="T18" fmla="*/ 16 w 24"/>
                  <a:gd name="T19" fmla="*/ 12 h 29"/>
                  <a:gd name="T20" fmla="*/ 5 w 24"/>
                  <a:gd name="T21" fmla="*/ 13 h 29"/>
                  <a:gd name="T22" fmla="*/ 0 w 24"/>
                  <a:gd name="T23" fmla="*/ 18 h 29"/>
                  <a:gd name="T24" fmla="*/ 2 w 24"/>
                  <a:gd name="T25" fmla="*/ 24 h 29"/>
                  <a:gd name="T26" fmla="*/ 8 w 24"/>
                  <a:gd name="T27" fmla="*/ 27 h 29"/>
                  <a:gd name="T28" fmla="*/ 17 w 24"/>
                  <a:gd name="T29" fmla="*/ 24 h 29"/>
                  <a:gd name="T30" fmla="*/ 17 w 24"/>
                  <a:gd name="T31" fmla="*/ 28 h 29"/>
                  <a:gd name="T32" fmla="*/ 21 w 24"/>
                  <a:gd name="T33" fmla="*/ 29 h 29"/>
                  <a:gd name="T34" fmla="*/ 21 w 24"/>
                  <a:gd name="T35" fmla="*/ 24 h 29"/>
                  <a:gd name="T36" fmla="*/ 23 w 24"/>
                  <a:gd name="T37" fmla="*/ 14 h 29"/>
                  <a:gd name="T38" fmla="*/ 15 w 24"/>
                  <a:gd name="T39" fmla="*/ 23 h 29"/>
                  <a:gd name="T40" fmla="*/ 9 w 24"/>
                  <a:gd name="T41" fmla="*/ 24 h 29"/>
                  <a:gd name="T42" fmla="*/ 5 w 24"/>
                  <a:gd name="T43" fmla="*/ 22 h 29"/>
                  <a:gd name="T44" fmla="*/ 5 w 24"/>
                  <a:gd name="T45" fmla="*/ 19 h 29"/>
                  <a:gd name="T46" fmla="*/ 8 w 24"/>
                  <a:gd name="T47" fmla="*/ 15 h 29"/>
                  <a:gd name="T48" fmla="*/ 15 w 24"/>
                  <a:gd name="T49" fmla="*/ 15 h 29"/>
                  <a:gd name="T50" fmla="*/ 19 w 24"/>
                  <a:gd name="T51" fmla="*/ 16 h 29"/>
                  <a:gd name="T52" fmla="*/ 18 w 24"/>
                  <a:gd name="T53" fmla="*/ 17 h 29"/>
                  <a:gd name="T54" fmla="*/ 15 w 24"/>
                  <a:gd name="T55" fmla="*/ 2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4" h="29">
                    <a:moveTo>
                      <a:pt x="23" y="14"/>
                    </a:moveTo>
                    <a:cubicBezTo>
                      <a:pt x="24" y="10"/>
                      <a:pt x="23" y="7"/>
                      <a:pt x="22" y="5"/>
                    </a:cubicBezTo>
                    <a:cubicBezTo>
                      <a:pt x="21" y="4"/>
                      <a:pt x="19" y="2"/>
                      <a:pt x="15" y="2"/>
                    </a:cubicBezTo>
                    <a:cubicBezTo>
                      <a:pt x="9" y="0"/>
                      <a:pt x="5" y="2"/>
                      <a:pt x="3" y="6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8" y="5"/>
                      <a:pt x="10" y="4"/>
                      <a:pt x="14" y="5"/>
                    </a:cubicBezTo>
                    <a:cubicBezTo>
                      <a:pt x="16" y="5"/>
                      <a:pt x="17" y="5"/>
                      <a:pt x="18" y="6"/>
                    </a:cubicBezTo>
                    <a:cubicBezTo>
                      <a:pt x="19" y="7"/>
                      <a:pt x="19" y="8"/>
                      <a:pt x="20" y="8"/>
                    </a:cubicBezTo>
                    <a:cubicBezTo>
                      <a:pt x="20" y="9"/>
                      <a:pt x="20" y="11"/>
                      <a:pt x="19" y="13"/>
                    </a:cubicBezTo>
                    <a:cubicBezTo>
                      <a:pt x="18" y="12"/>
                      <a:pt x="17" y="12"/>
                      <a:pt x="16" y="12"/>
                    </a:cubicBezTo>
                    <a:cubicBezTo>
                      <a:pt x="11" y="11"/>
                      <a:pt x="7" y="11"/>
                      <a:pt x="5" y="13"/>
                    </a:cubicBezTo>
                    <a:cubicBezTo>
                      <a:pt x="2" y="14"/>
                      <a:pt x="1" y="16"/>
                      <a:pt x="0" y="18"/>
                    </a:cubicBezTo>
                    <a:cubicBezTo>
                      <a:pt x="0" y="20"/>
                      <a:pt x="0" y="22"/>
                      <a:pt x="2" y="24"/>
                    </a:cubicBezTo>
                    <a:cubicBezTo>
                      <a:pt x="3" y="26"/>
                      <a:pt x="5" y="27"/>
                      <a:pt x="8" y="27"/>
                    </a:cubicBezTo>
                    <a:cubicBezTo>
                      <a:pt x="12" y="28"/>
                      <a:pt x="15" y="27"/>
                      <a:pt x="17" y="24"/>
                    </a:cubicBezTo>
                    <a:cubicBezTo>
                      <a:pt x="17" y="26"/>
                      <a:pt x="17" y="27"/>
                      <a:pt x="17" y="28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21" y="27"/>
                      <a:pt x="21" y="26"/>
                      <a:pt x="21" y="24"/>
                    </a:cubicBezTo>
                    <a:lnTo>
                      <a:pt x="23" y="14"/>
                    </a:lnTo>
                    <a:close/>
                    <a:moveTo>
                      <a:pt x="15" y="23"/>
                    </a:moveTo>
                    <a:cubicBezTo>
                      <a:pt x="13" y="24"/>
                      <a:pt x="11" y="25"/>
                      <a:pt x="9" y="24"/>
                    </a:cubicBezTo>
                    <a:cubicBezTo>
                      <a:pt x="7" y="24"/>
                      <a:pt x="6" y="23"/>
                      <a:pt x="5" y="22"/>
                    </a:cubicBezTo>
                    <a:cubicBezTo>
                      <a:pt x="5" y="21"/>
                      <a:pt x="4" y="20"/>
                      <a:pt x="5" y="19"/>
                    </a:cubicBezTo>
                    <a:cubicBezTo>
                      <a:pt x="5" y="17"/>
                      <a:pt x="6" y="16"/>
                      <a:pt x="8" y="15"/>
                    </a:cubicBezTo>
                    <a:cubicBezTo>
                      <a:pt x="10" y="14"/>
                      <a:pt x="12" y="14"/>
                      <a:pt x="15" y="15"/>
                    </a:cubicBezTo>
                    <a:cubicBezTo>
                      <a:pt x="16" y="15"/>
                      <a:pt x="17" y="15"/>
                      <a:pt x="19" y="16"/>
                    </a:cubicBezTo>
                    <a:cubicBezTo>
                      <a:pt x="19" y="16"/>
                      <a:pt x="19" y="17"/>
                      <a:pt x="18" y="17"/>
                    </a:cubicBezTo>
                    <a:cubicBezTo>
                      <a:pt x="18" y="20"/>
                      <a:pt x="17" y="21"/>
                      <a:pt x="15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77" name="Freeform 168"/>
              <p:cNvSpPr>
                <a:spLocks noEditPoints="1"/>
              </p:cNvSpPr>
              <p:nvPr/>
            </p:nvSpPr>
            <p:spPr bwMode="auto">
              <a:xfrm>
                <a:off x="2892425" y="3176588"/>
                <a:ext cx="96838" cy="127000"/>
              </a:xfrm>
              <a:custGeom>
                <a:avLst/>
                <a:gdLst>
                  <a:gd name="T0" fmla="*/ 22 w 26"/>
                  <a:gd name="T1" fmla="*/ 0 h 34"/>
                  <a:gd name="T2" fmla="*/ 20 w 26"/>
                  <a:gd name="T3" fmla="*/ 12 h 34"/>
                  <a:gd name="T4" fmla="*/ 14 w 26"/>
                  <a:gd name="T5" fmla="*/ 6 h 34"/>
                  <a:gd name="T6" fmla="*/ 6 w 26"/>
                  <a:gd name="T7" fmla="*/ 9 h 34"/>
                  <a:gd name="T8" fmla="*/ 1 w 26"/>
                  <a:gd name="T9" fmla="*/ 18 h 34"/>
                  <a:gd name="T10" fmla="*/ 2 w 26"/>
                  <a:gd name="T11" fmla="*/ 27 h 34"/>
                  <a:gd name="T12" fmla="*/ 9 w 26"/>
                  <a:gd name="T13" fmla="*/ 32 h 34"/>
                  <a:gd name="T14" fmla="*/ 17 w 26"/>
                  <a:gd name="T15" fmla="*/ 29 h 34"/>
                  <a:gd name="T16" fmla="*/ 17 w 26"/>
                  <a:gd name="T17" fmla="*/ 33 h 34"/>
                  <a:gd name="T18" fmla="*/ 20 w 26"/>
                  <a:gd name="T19" fmla="*/ 34 h 34"/>
                  <a:gd name="T20" fmla="*/ 26 w 26"/>
                  <a:gd name="T21" fmla="*/ 0 h 34"/>
                  <a:gd name="T22" fmla="*/ 22 w 26"/>
                  <a:gd name="T23" fmla="*/ 0 h 34"/>
                  <a:gd name="T24" fmla="*/ 18 w 26"/>
                  <a:gd name="T25" fmla="*/ 23 h 34"/>
                  <a:gd name="T26" fmla="*/ 15 w 26"/>
                  <a:gd name="T27" fmla="*/ 28 h 34"/>
                  <a:gd name="T28" fmla="*/ 10 w 26"/>
                  <a:gd name="T29" fmla="*/ 29 h 34"/>
                  <a:gd name="T30" fmla="*/ 6 w 26"/>
                  <a:gd name="T31" fmla="*/ 26 h 34"/>
                  <a:gd name="T32" fmla="*/ 5 w 26"/>
                  <a:gd name="T33" fmla="*/ 18 h 34"/>
                  <a:gd name="T34" fmla="*/ 9 w 26"/>
                  <a:gd name="T35" fmla="*/ 11 h 34"/>
                  <a:gd name="T36" fmla="*/ 14 w 26"/>
                  <a:gd name="T37" fmla="*/ 10 h 34"/>
                  <a:gd name="T38" fmla="*/ 18 w 26"/>
                  <a:gd name="T39" fmla="*/ 12 h 34"/>
                  <a:gd name="T40" fmla="*/ 19 w 26"/>
                  <a:gd name="T41" fmla="*/ 18 h 34"/>
                  <a:gd name="T42" fmla="*/ 18 w 26"/>
                  <a:gd name="T43" fmla="*/ 2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6" h="34">
                    <a:moveTo>
                      <a:pt x="22" y="0"/>
                    </a:moveTo>
                    <a:cubicBezTo>
                      <a:pt x="20" y="12"/>
                      <a:pt x="20" y="12"/>
                      <a:pt x="20" y="12"/>
                    </a:cubicBezTo>
                    <a:cubicBezTo>
                      <a:pt x="19" y="9"/>
                      <a:pt x="17" y="7"/>
                      <a:pt x="14" y="6"/>
                    </a:cubicBezTo>
                    <a:cubicBezTo>
                      <a:pt x="11" y="6"/>
                      <a:pt x="8" y="7"/>
                      <a:pt x="6" y="9"/>
                    </a:cubicBezTo>
                    <a:cubicBezTo>
                      <a:pt x="3" y="11"/>
                      <a:pt x="2" y="14"/>
                      <a:pt x="1" y="18"/>
                    </a:cubicBezTo>
                    <a:cubicBezTo>
                      <a:pt x="0" y="21"/>
                      <a:pt x="1" y="25"/>
                      <a:pt x="2" y="27"/>
                    </a:cubicBezTo>
                    <a:cubicBezTo>
                      <a:pt x="4" y="30"/>
                      <a:pt x="6" y="32"/>
                      <a:pt x="9" y="32"/>
                    </a:cubicBezTo>
                    <a:cubicBezTo>
                      <a:pt x="12" y="33"/>
                      <a:pt x="15" y="32"/>
                      <a:pt x="17" y="29"/>
                    </a:cubicBezTo>
                    <a:cubicBezTo>
                      <a:pt x="17" y="33"/>
                      <a:pt x="17" y="33"/>
                      <a:pt x="17" y="33"/>
                    </a:cubicBezTo>
                    <a:cubicBezTo>
                      <a:pt x="20" y="34"/>
                      <a:pt x="20" y="34"/>
                      <a:pt x="20" y="34"/>
                    </a:cubicBezTo>
                    <a:cubicBezTo>
                      <a:pt x="26" y="0"/>
                      <a:pt x="26" y="0"/>
                      <a:pt x="26" y="0"/>
                    </a:cubicBezTo>
                    <a:lnTo>
                      <a:pt x="22" y="0"/>
                    </a:lnTo>
                    <a:close/>
                    <a:moveTo>
                      <a:pt x="18" y="23"/>
                    </a:moveTo>
                    <a:cubicBezTo>
                      <a:pt x="18" y="25"/>
                      <a:pt x="17" y="27"/>
                      <a:pt x="15" y="28"/>
                    </a:cubicBezTo>
                    <a:cubicBezTo>
                      <a:pt x="13" y="29"/>
                      <a:pt x="12" y="30"/>
                      <a:pt x="10" y="29"/>
                    </a:cubicBezTo>
                    <a:cubicBezTo>
                      <a:pt x="8" y="29"/>
                      <a:pt x="7" y="28"/>
                      <a:pt x="6" y="26"/>
                    </a:cubicBezTo>
                    <a:cubicBezTo>
                      <a:pt x="5" y="24"/>
                      <a:pt x="5" y="21"/>
                      <a:pt x="5" y="18"/>
                    </a:cubicBezTo>
                    <a:cubicBezTo>
                      <a:pt x="6" y="15"/>
                      <a:pt x="7" y="13"/>
                      <a:pt x="9" y="11"/>
                    </a:cubicBezTo>
                    <a:cubicBezTo>
                      <a:pt x="10" y="10"/>
                      <a:pt x="12" y="9"/>
                      <a:pt x="14" y="10"/>
                    </a:cubicBezTo>
                    <a:cubicBezTo>
                      <a:pt x="16" y="10"/>
                      <a:pt x="17" y="11"/>
                      <a:pt x="18" y="12"/>
                    </a:cubicBezTo>
                    <a:cubicBezTo>
                      <a:pt x="19" y="14"/>
                      <a:pt x="19" y="16"/>
                      <a:pt x="19" y="18"/>
                    </a:cubicBezTo>
                    <a:lnTo>
                      <a:pt x="18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78" name="Freeform 169"/>
              <p:cNvSpPr>
                <a:spLocks noEditPoints="1"/>
              </p:cNvSpPr>
              <p:nvPr/>
            </p:nvSpPr>
            <p:spPr bwMode="auto">
              <a:xfrm>
                <a:off x="1655763" y="4175126"/>
                <a:ext cx="127000" cy="87313"/>
              </a:xfrm>
              <a:custGeom>
                <a:avLst/>
                <a:gdLst>
                  <a:gd name="T0" fmla="*/ 22 w 34"/>
                  <a:gd name="T1" fmla="*/ 15 h 23"/>
                  <a:gd name="T2" fmla="*/ 24 w 34"/>
                  <a:gd name="T3" fmla="*/ 7 h 23"/>
                  <a:gd name="T4" fmla="*/ 19 w 34"/>
                  <a:gd name="T5" fmla="*/ 1 h 23"/>
                  <a:gd name="T6" fmla="*/ 10 w 34"/>
                  <a:gd name="T7" fmla="*/ 1 h 23"/>
                  <a:gd name="T8" fmla="*/ 2 w 34"/>
                  <a:gd name="T9" fmla="*/ 5 h 23"/>
                  <a:gd name="T10" fmla="*/ 0 w 34"/>
                  <a:gd name="T11" fmla="*/ 13 h 23"/>
                  <a:gd name="T12" fmla="*/ 6 w 34"/>
                  <a:gd name="T13" fmla="*/ 19 h 23"/>
                  <a:gd name="T14" fmla="*/ 2 w 34"/>
                  <a:gd name="T15" fmla="*/ 20 h 23"/>
                  <a:gd name="T16" fmla="*/ 3 w 34"/>
                  <a:gd name="T17" fmla="*/ 23 h 23"/>
                  <a:gd name="T18" fmla="*/ 34 w 34"/>
                  <a:gd name="T19" fmla="*/ 16 h 23"/>
                  <a:gd name="T20" fmla="*/ 33 w 34"/>
                  <a:gd name="T21" fmla="*/ 12 h 23"/>
                  <a:gd name="T22" fmla="*/ 22 w 34"/>
                  <a:gd name="T23" fmla="*/ 15 h 23"/>
                  <a:gd name="T24" fmla="*/ 12 w 34"/>
                  <a:gd name="T25" fmla="*/ 17 h 23"/>
                  <a:gd name="T26" fmla="*/ 6 w 34"/>
                  <a:gd name="T27" fmla="*/ 16 h 23"/>
                  <a:gd name="T28" fmla="*/ 3 w 34"/>
                  <a:gd name="T29" fmla="*/ 13 h 23"/>
                  <a:gd name="T30" fmla="*/ 5 w 34"/>
                  <a:gd name="T31" fmla="*/ 8 h 23"/>
                  <a:gd name="T32" fmla="*/ 11 w 34"/>
                  <a:gd name="T33" fmla="*/ 5 h 23"/>
                  <a:gd name="T34" fmla="*/ 18 w 34"/>
                  <a:gd name="T35" fmla="*/ 5 h 23"/>
                  <a:gd name="T36" fmla="*/ 22 w 34"/>
                  <a:gd name="T37" fmla="*/ 9 h 23"/>
                  <a:gd name="T38" fmla="*/ 21 w 34"/>
                  <a:gd name="T39" fmla="*/ 13 h 23"/>
                  <a:gd name="T40" fmla="*/ 16 w 34"/>
                  <a:gd name="T41" fmla="*/ 16 h 23"/>
                  <a:gd name="T42" fmla="*/ 12 w 34"/>
                  <a:gd name="T43" fmla="*/ 1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4" h="23">
                    <a:moveTo>
                      <a:pt x="22" y="15"/>
                    </a:moveTo>
                    <a:cubicBezTo>
                      <a:pt x="24" y="13"/>
                      <a:pt x="25" y="10"/>
                      <a:pt x="24" y="7"/>
                    </a:cubicBezTo>
                    <a:cubicBezTo>
                      <a:pt x="24" y="4"/>
                      <a:pt x="22" y="2"/>
                      <a:pt x="19" y="1"/>
                    </a:cubicBezTo>
                    <a:cubicBezTo>
                      <a:pt x="17" y="0"/>
                      <a:pt x="13" y="0"/>
                      <a:pt x="10" y="1"/>
                    </a:cubicBezTo>
                    <a:cubicBezTo>
                      <a:pt x="7" y="2"/>
                      <a:pt x="4" y="3"/>
                      <a:pt x="2" y="5"/>
                    </a:cubicBezTo>
                    <a:cubicBezTo>
                      <a:pt x="0" y="7"/>
                      <a:pt x="0" y="10"/>
                      <a:pt x="0" y="13"/>
                    </a:cubicBezTo>
                    <a:cubicBezTo>
                      <a:pt x="1" y="16"/>
                      <a:pt x="3" y="18"/>
                      <a:pt x="6" y="19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3" y="23"/>
                      <a:pt x="3" y="23"/>
                      <a:pt x="3" y="23"/>
                    </a:cubicBezTo>
                    <a:cubicBezTo>
                      <a:pt x="34" y="16"/>
                      <a:pt x="34" y="16"/>
                      <a:pt x="34" y="16"/>
                    </a:cubicBezTo>
                    <a:cubicBezTo>
                      <a:pt x="33" y="12"/>
                      <a:pt x="33" y="12"/>
                      <a:pt x="33" y="12"/>
                    </a:cubicBezTo>
                    <a:lnTo>
                      <a:pt x="22" y="15"/>
                    </a:lnTo>
                    <a:close/>
                    <a:moveTo>
                      <a:pt x="12" y="17"/>
                    </a:moveTo>
                    <a:cubicBezTo>
                      <a:pt x="10" y="18"/>
                      <a:pt x="8" y="17"/>
                      <a:pt x="6" y="16"/>
                    </a:cubicBezTo>
                    <a:cubicBezTo>
                      <a:pt x="5" y="15"/>
                      <a:pt x="4" y="14"/>
                      <a:pt x="3" y="13"/>
                    </a:cubicBezTo>
                    <a:cubicBezTo>
                      <a:pt x="3" y="11"/>
                      <a:pt x="3" y="9"/>
                      <a:pt x="5" y="8"/>
                    </a:cubicBezTo>
                    <a:cubicBezTo>
                      <a:pt x="6" y="6"/>
                      <a:pt x="8" y="5"/>
                      <a:pt x="11" y="5"/>
                    </a:cubicBezTo>
                    <a:cubicBezTo>
                      <a:pt x="14" y="4"/>
                      <a:pt x="16" y="4"/>
                      <a:pt x="18" y="5"/>
                    </a:cubicBezTo>
                    <a:cubicBezTo>
                      <a:pt x="20" y="6"/>
                      <a:pt x="21" y="7"/>
                      <a:pt x="22" y="9"/>
                    </a:cubicBezTo>
                    <a:cubicBezTo>
                      <a:pt x="22" y="10"/>
                      <a:pt x="22" y="12"/>
                      <a:pt x="21" y="13"/>
                    </a:cubicBezTo>
                    <a:cubicBezTo>
                      <a:pt x="20" y="15"/>
                      <a:pt x="18" y="16"/>
                      <a:pt x="16" y="16"/>
                    </a:cubicBezTo>
                    <a:lnTo>
                      <a:pt x="12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79" name="Freeform 170"/>
              <p:cNvSpPr/>
              <p:nvPr/>
            </p:nvSpPr>
            <p:spPr bwMode="auto">
              <a:xfrm>
                <a:off x="1774825" y="4262438"/>
                <a:ext cx="15875" cy="14288"/>
              </a:xfrm>
              <a:custGeom>
                <a:avLst/>
                <a:gdLst>
                  <a:gd name="T0" fmla="*/ 0 w 10"/>
                  <a:gd name="T1" fmla="*/ 2 h 9"/>
                  <a:gd name="T2" fmla="*/ 0 w 10"/>
                  <a:gd name="T3" fmla="*/ 9 h 9"/>
                  <a:gd name="T4" fmla="*/ 10 w 10"/>
                  <a:gd name="T5" fmla="*/ 9 h 9"/>
                  <a:gd name="T6" fmla="*/ 10 w 10"/>
                  <a:gd name="T7" fmla="*/ 0 h 9"/>
                  <a:gd name="T8" fmla="*/ 0 w 10"/>
                  <a:gd name="T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0" y="2"/>
                    </a:moveTo>
                    <a:lnTo>
                      <a:pt x="0" y="9"/>
                    </a:lnTo>
                    <a:lnTo>
                      <a:pt x="10" y="9"/>
                    </a:lnTo>
                    <a:lnTo>
                      <a:pt x="1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80" name="Freeform 171"/>
              <p:cNvSpPr/>
              <p:nvPr/>
            </p:nvSpPr>
            <p:spPr bwMode="auto">
              <a:xfrm>
                <a:off x="1673225" y="4270376"/>
                <a:ext cx="87313" cy="28575"/>
              </a:xfrm>
              <a:custGeom>
                <a:avLst/>
                <a:gdLst>
                  <a:gd name="T0" fmla="*/ 0 w 55"/>
                  <a:gd name="T1" fmla="*/ 11 h 18"/>
                  <a:gd name="T2" fmla="*/ 3 w 55"/>
                  <a:gd name="T3" fmla="*/ 18 h 18"/>
                  <a:gd name="T4" fmla="*/ 55 w 55"/>
                  <a:gd name="T5" fmla="*/ 7 h 18"/>
                  <a:gd name="T6" fmla="*/ 55 w 55"/>
                  <a:gd name="T7" fmla="*/ 0 h 18"/>
                  <a:gd name="T8" fmla="*/ 0 w 55"/>
                  <a:gd name="T9" fmla="*/ 1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" h="18">
                    <a:moveTo>
                      <a:pt x="0" y="11"/>
                    </a:moveTo>
                    <a:lnTo>
                      <a:pt x="3" y="18"/>
                    </a:lnTo>
                    <a:lnTo>
                      <a:pt x="55" y="7"/>
                    </a:lnTo>
                    <a:lnTo>
                      <a:pt x="55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81" name="Freeform 172"/>
              <p:cNvSpPr/>
              <p:nvPr/>
            </p:nvSpPr>
            <p:spPr bwMode="auto">
              <a:xfrm>
                <a:off x="1681163" y="4306888"/>
                <a:ext cx="98425" cy="46038"/>
              </a:xfrm>
              <a:custGeom>
                <a:avLst/>
                <a:gdLst>
                  <a:gd name="T0" fmla="*/ 24 w 26"/>
                  <a:gd name="T1" fmla="*/ 7 h 12"/>
                  <a:gd name="T2" fmla="*/ 18 w 26"/>
                  <a:gd name="T3" fmla="*/ 5 h 12"/>
                  <a:gd name="T4" fmla="*/ 24 w 26"/>
                  <a:gd name="T5" fmla="*/ 3 h 12"/>
                  <a:gd name="T6" fmla="*/ 23 w 26"/>
                  <a:gd name="T7" fmla="*/ 0 h 12"/>
                  <a:gd name="T8" fmla="*/ 0 w 26"/>
                  <a:gd name="T9" fmla="*/ 5 h 12"/>
                  <a:gd name="T10" fmla="*/ 1 w 26"/>
                  <a:gd name="T11" fmla="*/ 9 h 12"/>
                  <a:gd name="T12" fmla="*/ 13 w 26"/>
                  <a:gd name="T13" fmla="*/ 6 h 12"/>
                  <a:gd name="T14" fmla="*/ 19 w 26"/>
                  <a:gd name="T15" fmla="*/ 7 h 12"/>
                  <a:gd name="T16" fmla="*/ 23 w 26"/>
                  <a:gd name="T17" fmla="*/ 11 h 12"/>
                  <a:gd name="T18" fmla="*/ 23 w 26"/>
                  <a:gd name="T19" fmla="*/ 12 h 12"/>
                  <a:gd name="T20" fmla="*/ 26 w 26"/>
                  <a:gd name="T21" fmla="*/ 11 h 12"/>
                  <a:gd name="T22" fmla="*/ 26 w 26"/>
                  <a:gd name="T23" fmla="*/ 10 h 12"/>
                  <a:gd name="T24" fmla="*/ 24 w 26"/>
                  <a:gd name="T25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" h="12">
                    <a:moveTo>
                      <a:pt x="24" y="7"/>
                    </a:moveTo>
                    <a:cubicBezTo>
                      <a:pt x="23" y="6"/>
                      <a:pt x="21" y="5"/>
                      <a:pt x="18" y="5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5" y="6"/>
                      <a:pt x="18" y="6"/>
                      <a:pt x="19" y="7"/>
                    </a:cubicBezTo>
                    <a:cubicBezTo>
                      <a:pt x="21" y="8"/>
                      <a:pt x="22" y="9"/>
                      <a:pt x="23" y="11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26" y="11"/>
                      <a:pt x="26" y="11"/>
                      <a:pt x="26" y="11"/>
                    </a:cubicBezTo>
                    <a:cubicBezTo>
                      <a:pt x="26" y="11"/>
                      <a:pt x="26" y="10"/>
                      <a:pt x="26" y="10"/>
                    </a:cubicBezTo>
                    <a:cubicBezTo>
                      <a:pt x="26" y="9"/>
                      <a:pt x="25" y="8"/>
                      <a:pt x="24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82" name="Freeform 173"/>
              <p:cNvSpPr>
                <a:spLocks noEditPoints="1"/>
              </p:cNvSpPr>
              <p:nvPr/>
            </p:nvSpPr>
            <p:spPr bwMode="auto">
              <a:xfrm>
                <a:off x="1697038" y="4364038"/>
                <a:ext cx="96838" cy="85725"/>
              </a:xfrm>
              <a:custGeom>
                <a:avLst/>
                <a:gdLst>
                  <a:gd name="T0" fmla="*/ 24 w 26"/>
                  <a:gd name="T1" fmla="*/ 17 h 23"/>
                  <a:gd name="T2" fmla="*/ 25 w 26"/>
                  <a:gd name="T3" fmla="*/ 9 h 23"/>
                  <a:gd name="T4" fmla="*/ 20 w 26"/>
                  <a:gd name="T5" fmla="*/ 2 h 23"/>
                  <a:gd name="T6" fmla="*/ 11 w 26"/>
                  <a:gd name="T7" fmla="*/ 1 h 23"/>
                  <a:gd name="T8" fmla="*/ 3 w 26"/>
                  <a:gd name="T9" fmla="*/ 6 h 23"/>
                  <a:gd name="T10" fmla="*/ 1 w 26"/>
                  <a:gd name="T11" fmla="*/ 14 h 23"/>
                  <a:gd name="T12" fmla="*/ 4 w 26"/>
                  <a:gd name="T13" fmla="*/ 20 h 23"/>
                  <a:gd name="T14" fmla="*/ 10 w 26"/>
                  <a:gd name="T15" fmla="*/ 23 h 23"/>
                  <a:gd name="T16" fmla="*/ 10 w 26"/>
                  <a:gd name="T17" fmla="*/ 19 h 23"/>
                  <a:gd name="T18" fmla="*/ 4 w 26"/>
                  <a:gd name="T19" fmla="*/ 14 h 23"/>
                  <a:gd name="T20" fmla="*/ 5 w 26"/>
                  <a:gd name="T21" fmla="*/ 9 h 23"/>
                  <a:gd name="T22" fmla="*/ 11 w 26"/>
                  <a:gd name="T23" fmla="*/ 5 h 23"/>
                  <a:gd name="T24" fmla="*/ 15 w 26"/>
                  <a:gd name="T25" fmla="*/ 22 h 23"/>
                  <a:gd name="T26" fmla="*/ 24 w 26"/>
                  <a:gd name="T27" fmla="*/ 17 h 23"/>
                  <a:gd name="T28" fmla="*/ 14 w 26"/>
                  <a:gd name="T29" fmla="*/ 5 h 23"/>
                  <a:gd name="T30" fmla="*/ 19 w 26"/>
                  <a:gd name="T31" fmla="*/ 6 h 23"/>
                  <a:gd name="T32" fmla="*/ 22 w 26"/>
                  <a:gd name="T33" fmla="*/ 10 h 23"/>
                  <a:gd name="T34" fmla="*/ 22 w 26"/>
                  <a:gd name="T35" fmla="*/ 13 h 23"/>
                  <a:gd name="T36" fmla="*/ 20 w 26"/>
                  <a:gd name="T37" fmla="*/ 16 h 23"/>
                  <a:gd name="T38" fmla="*/ 17 w 26"/>
                  <a:gd name="T39" fmla="*/ 17 h 23"/>
                  <a:gd name="T40" fmla="*/ 14 w 26"/>
                  <a:gd name="T41" fmla="*/ 5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6" h="23">
                    <a:moveTo>
                      <a:pt x="24" y="17"/>
                    </a:moveTo>
                    <a:cubicBezTo>
                      <a:pt x="25" y="15"/>
                      <a:pt x="26" y="12"/>
                      <a:pt x="25" y="9"/>
                    </a:cubicBezTo>
                    <a:cubicBezTo>
                      <a:pt x="24" y="6"/>
                      <a:pt x="23" y="4"/>
                      <a:pt x="20" y="2"/>
                    </a:cubicBezTo>
                    <a:cubicBezTo>
                      <a:pt x="17" y="1"/>
                      <a:pt x="14" y="0"/>
                      <a:pt x="11" y="1"/>
                    </a:cubicBezTo>
                    <a:cubicBezTo>
                      <a:pt x="7" y="2"/>
                      <a:pt x="4" y="4"/>
                      <a:pt x="3" y="6"/>
                    </a:cubicBezTo>
                    <a:cubicBezTo>
                      <a:pt x="1" y="9"/>
                      <a:pt x="0" y="11"/>
                      <a:pt x="1" y="14"/>
                    </a:cubicBezTo>
                    <a:cubicBezTo>
                      <a:pt x="2" y="17"/>
                      <a:pt x="3" y="19"/>
                      <a:pt x="4" y="20"/>
                    </a:cubicBezTo>
                    <a:cubicBezTo>
                      <a:pt x="6" y="22"/>
                      <a:pt x="8" y="22"/>
                      <a:pt x="10" y="23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7" y="19"/>
                      <a:pt x="5" y="17"/>
                      <a:pt x="4" y="14"/>
                    </a:cubicBezTo>
                    <a:cubicBezTo>
                      <a:pt x="4" y="12"/>
                      <a:pt x="4" y="11"/>
                      <a:pt x="5" y="9"/>
                    </a:cubicBezTo>
                    <a:cubicBezTo>
                      <a:pt x="6" y="7"/>
                      <a:pt x="8" y="6"/>
                      <a:pt x="11" y="5"/>
                    </a:cubicBezTo>
                    <a:cubicBezTo>
                      <a:pt x="15" y="22"/>
                      <a:pt x="15" y="22"/>
                      <a:pt x="15" y="22"/>
                    </a:cubicBezTo>
                    <a:cubicBezTo>
                      <a:pt x="19" y="21"/>
                      <a:pt x="22" y="19"/>
                      <a:pt x="24" y="17"/>
                    </a:cubicBezTo>
                    <a:close/>
                    <a:moveTo>
                      <a:pt x="14" y="5"/>
                    </a:moveTo>
                    <a:cubicBezTo>
                      <a:pt x="16" y="5"/>
                      <a:pt x="18" y="5"/>
                      <a:pt x="19" y="6"/>
                    </a:cubicBezTo>
                    <a:cubicBezTo>
                      <a:pt x="21" y="7"/>
                      <a:pt x="22" y="8"/>
                      <a:pt x="22" y="10"/>
                    </a:cubicBezTo>
                    <a:cubicBezTo>
                      <a:pt x="23" y="11"/>
                      <a:pt x="23" y="12"/>
                      <a:pt x="22" y="13"/>
                    </a:cubicBezTo>
                    <a:cubicBezTo>
                      <a:pt x="22" y="14"/>
                      <a:pt x="21" y="15"/>
                      <a:pt x="20" y="16"/>
                    </a:cubicBezTo>
                    <a:cubicBezTo>
                      <a:pt x="19" y="17"/>
                      <a:pt x="18" y="17"/>
                      <a:pt x="17" y="17"/>
                    </a:cubicBezTo>
                    <a:lnTo>
                      <a:pt x="1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83" name="Freeform 174"/>
              <p:cNvSpPr/>
              <p:nvPr/>
            </p:nvSpPr>
            <p:spPr bwMode="auto">
              <a:xfrm>
                <a:off x="1719263" y="4457701"/>
                <a:ext cx="93663" cy="74613"/>
              </a:xfrm>
              <a:custGeom>
                <a:avLst/>
                <a:gdLst>
                  <a:gd name="T0" fmla="*/ 21 w 25"/>
                  <a:gd name="T1" fmla="*/ 8 h 20"/>
                  <a:gd name="T2" fmla="*/ 17 w 25"/>
                  <a:gd name="T3" fmla="*/ 15 h 20"/>
                  <a:gd name="T4" fmla="*/ 18 w 25"/>
                  <a:gd name="T5" fmla="*/ 18 h 20"/>
                  <a:gd name="T6" fmla="*/ 23 w 25"/>
                  <a:gd name="T7" fmla="*/ 14 h 20"/>
                  <a:gd name="T8" fmla="*/ 24 w 25"/>
                  <a:gd name="T9" fmla="*/ 7 h 20"/>
                  <a:gd name="T10" fmla="*/ 19 w 25"/>
                  <a:gd name="T11" fmla="*/ 1 h 20"/>
                  <a:gd name="T12" fmla="*/ 10 w 25"/>
                  <a:gd name="T13" fmla="*/ 0 h 20"/>
                  <a:gd name="T14" fmla="*/ 2 w 25"/>
                  <a:gd name="T15" fmla="*/ 5 h 20"/>
                  <a:gd name="T16" fmla="*/ 0 w 25"/>
                  <a:gd name="T17" fmla="*/ 13 h 20"/>
                  <a:gd name="T18" fmla="*/ 4 w 25"/>
                  <a:gd name="T19" fmla="*/ 18 h 20"/>
                  <a:gd name="T20" fmla="*/ 10 w 25"/>
                  <a:gd name="T21" fmla="*/ 20 h 20"/>
                  <a:gd name="T22" fmla="*/ 10 w 25"/>
                  <a:gd name="T23" fmla="*/ 16 h 20"/>
                  <a:gd name="T24" fmla="*/ 3 w 25"/>
                  <a:gd name="T25" fmla="*/ 12 h 20"/>
                  <a:gd name="T26" fmla="*/ 5 w 25"/>
                  <a:gd name="T27" fmla="*/ 7 h 20"/>
                  <a:gd name="T28" fmla="*/ 11 w 25"/>
                  <a:gd name="T29" fmla="*/ 4 h 20"/>
                  <a:gd name="T30" fmla="*/ 18 w 25"/>
                  <a:gd name="T31" fmla="*/ 4 h 20"/>
                  <a:gd name="T32" fmla="*/ 21 w 25"/>
                  <a:gd name="T33" fmla="*/ 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" h="20">
                    <a:moveTo>
                      <a:pt x="21" y="8"/>
                    </a:moveTo>
                    <a:cubicBezTo>
                      <a:pt x="22" y="11"/>
                      <a:pt x="21" y="13"/>
                      <a:pt x="17" y="15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21" y="17"/>
                      <a:pt x="22" y="16"/>
                      <a:pt x="23" y="14"/>
                    </a:cubicBezTo>
                    <a:cubicBezTo>
                      <a:pt x="25" y="12"/>
                      <a:pt x="25" y="10"/>
                      <a:pt x="24" y="7"/>
                    </a:cubicBezTo>
                    <a:cubicBezTo>
                      <a:pt x="24" y="4"/>
                      <a:pt x="22" y="2"/>
                      <a:pt x="19" y="1"/>
                    </a:cubicBezTo>
                    <a:cubicBezTo>
                      <a:pt x="17" y="0"/>
                      <a:pt x="13" y="0"/>
                      <a:pt x="10" y="0"/>
                    </a:cubicBezTo>
                    <a:cubicBezTo>
                      <a:pt x="7" y="1"/>
                      <a:pt x="4" y="3"/>
                      <a:pt x="2" y="5"/>
                    </a:cubicBezTo>
                    <a:cubicBezTo>
                      <a:pt x="0" y="7"/>
                      <a:pt x="0" y="10"/>
                      <a:pt x="0" y="13"/>
                    </a:cubicBezTo>
                    <a:cubicBezTo>
                      <a:pt x="1" y="15"/>
                      <a:pt x="2" y="17"/>
                      <a:pt x="4" y="18"/>
                    </a:cubicBezTo>
                    <a:cubicBezTo>
                      <a:pt x="5" y="19"/>
                      <a:pt x="8" y="20"/>
                      <a:pt x="10" y="20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6" y="16"/>
                      <a:pt x="4" y="15"/>
                      <a:pt x="3" y="12"/>
                    </a:cubicBezTo>
                    <a:cubicBezTo>
                      <a:pt x="3" y="10"/>
                      <a:pt x="3" y="8"/>
                      <a:pt x="5" y="7"/>
                    </a:cubicBezTo>
                    <a:cubicBezTo>
                      <a:pt x="6" y="6"/>
                      <a:pt x="8" y="5"/>
                      <a:pt x="11" y="4"/>
                    </a:cubicBezTo>
                    <a:cubicBezTo>
                      <a:pt x="14" y="3"/>
                      <a:pt x="16" y="3"/>
                      <a:pt x="18" y="4"/>
                    </a:cubicBezTo>
                    <a:cubicBezTo>
                      <a:pt x="20" y="5"/>
                      <a:pt x="21" y="6"/>
                      <a:pt x="2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84" name="Freeform 175"/>
              <p:cNvSpPr/>
              <p:nvPr/>
            </p:nvSpPr>
            <p:spPr bwMode="auto">
              <a:xfrm>
                <a:off x="1733550" y="4521201"/>
                <a:ext cx="112713" cy="74613"/>
              </a:xfrm>
              <a:custGeom>
                <a:avLst/>
                <a:gdLst>
                  <a:gd name="T0" fmla="*/ 7 w 30"/>
                  <a:gd name="T1" fmla="*/ 12 h 20"/>
                  <a:gd name="T2" fmla="*/ 21 w 30"/>
                  <a:gd name="T3" fmla="*/ 8 h 20"/>
                  <a:gd name="T4" fmla="*/ 22 w 30"/>
                  <a:gd name="T5" fmla="*/ 14 h 20"/>
                  <a:gd name="T6" fmla="*/ 25 w 30"/>
                  <a:gd name="T7" fmla="*/ 13 h 20"/>
                  <a:gd name="T8" fmla="*/ 24 w 30"/>
                  <a:gd name="T9" fmla="*/ 8 h 20"/>
                  <a:gd name="T10" fmla="*/ 30 w 30"/>
                  <a:gd name="T11" fmla="*/ 7 h 20"/>
                  <a:gd name="T12" fmla="*/ 29 w 30"/>
                  <a:gd name="T13" fmla="*/ 3 h 20"/>
                  <a:gd name="T14" fmla="*/ 23 w 30"/>
                  <a:gd name="T15" fmla="*/ 4 h 20"/>
                  <a:gd name="T16" fmla="*/ 22 w 30"/>
                  <a:gd name="T17" fmla="*/ 0 h 20"/>
                  <a:gd name="T18" fmla="*/ 19 w 30"/>
                  <a:gd name="T19" fmla="*/ 1 h 20"/>
                  <a:gd name="T20" fmla="*/ 20 w 30"/>
                  <a:gd name="T21" fmla="*/ 5 h 20"/>
                  <a:gd name="T22" fmla="*/ 6 w 30"/>
                  <a:gd name="T23" fmla="*/ 8 h 20"/>
                  <a:gd name="T24" fmla="*/ 1 w 30"/>
                  <a:gd name="T25" fmla="*/ 16 h 20"/>
                  <a:gd name="T26" fmla="*/ 2 w 30"/>
                  <a:gd name="T27" fmla="*/ 20 h 20"/>
                  <a:gd name="T28" fmla="*/ 5 w 30"/>
                  <a:gd name="T29" fmla="*/ 19 h 20"/>
                  <a:gd name="T30" fmla="*/ 4 w 30"/>
                  <a:gd name="T31" fmla="*/ 16 h 20"/>
                  <a:gd name="T32" fmla="*/ 7 w 30"/>
                  <a:gd name="T33" fmla="*/ 1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0" h="20">
                    <a:moveTo>
                      <a:pt x="7" y="12"/>
                    </a:moveTo>
                    <a:cubicBezTo>
                      <a:pt x="21" y="8"/>
                      <a:pt x="21" y="8"/>
                      <a:pt x="21" y="8"/>
                    </a:cubicBezTo>
                    <a:cubicBezTo>
                      <a:pt x="22" y="14"/>
                      <a:pt x="22" y="14"/>
                      <a:pt x="22" y="14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30" y="7"/>
                      <a:pt x="30" y="7"/>
                      <a:pt x="30" y="7"/>
                    </a:cubicBezTo>
                    <a:cubicBezTo>
                      <a:pt x="29" y="3"/>
                      <a:pt x="29" y="3"/>
                      <a:pt x="29" y="3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2" y="9"/>
                      <a:pt x="0" y="12"/>
                      <a:pt x="1" y="16"/>
                    </a:cubicBezTo>
                    <a:cubicBezTo>
                      <a:pt x="1" y="17"/>
                      <a:pt x="1" y="18"/>
                      <a:pt x="2" y="20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4" y="18"/>
                      <a:pt x="4" y="17"/>
                      <a:pt x="4" y="16"/>
                    </a:cubicBezTo>
                    <a:cubicBezTo>
                      <a:pt x="3" y="14"/>
                      <a:pt x="4" y="12"/>
                      <a:pt x="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85" name="Freeform 176"/>
              <p:cNvSpPr>
                <a:spLocks noEditPoints="1"/>
              </p:cNvSpPr>
              <p:nvPr/>
            </p:nvSpPr>
            <p:spPr bwMode="auto">
              <a:xfrm>
                <a:off x="1749425" y="4584701"/>
                <a:ext cx="93663" cy="82550"/>
              </a:xfrm>
              <a:custGeom>
                <a:avLst/>
                <a:gdLst>
                  <a:gd name="T0" fmla="*/ 24 w 25"/>
                  <a:gd name="T1" fmla="*/ 9 h 22"/>
                  <a:gd name="T2" fmla="*/ 19 w 25"/>
                  <a:gd name="T3" fmla="*/ 2 h 22"/>
                  <a:gd name="T4" fmla="*/ 10 w 25"/>
                  <a:gd name="T5" fmla="*/ 1 h 22"/>
                  <a:gd name="T6" fmla="*/ 2 w 25"/>
                  <a:gd name="T7" fmla="*/ 6 h 22"/>
                  <a:gd name="T8" fmla="*/ 0 w 25"/>
                  <a:gd name="T9" fmla="*/ 14 h 22"/>
                  <a:gd name="T10" fmla="*/ 5 w 25"/>
                  <a:gd name="T11" fmla="*/ 21 h 22"/>
                  <a:gd name="T12" fmla="*/ 15 w 25"/>
                  <a:gd name="T13" fmla="*/ 22 h 22"/>
                  <a:gd name="T14" fmla="*/ 23 w 25"/>
                  <a:gd name="T15" fmla="*/ 17 h 22"/>
                  <a:gd name="T16" fmla="*/ 24 w 25"/>
                  <a:gd name="T17" fmla="*/ 9 h 22"/>
                  <a:gd name="T18" fmla="*/ 6 w 25"/>
                  <a:gd name="T19" fmla="*/ 18 h 22"/>
                  <a:gd name="T20" fmla="*/ 3 w 25"/>
                  <a:gd name="T21" fmla="*/ 14 h 22"/>
                  <a:gd name="T22" fmla="*/ 4 w 25"/>
                  <a:gd name="T23" fmla="*/ 9 h 22"/>
                  <a:gd name="T24" fmla="*/ 11 w 25"/>
                  <a:gd name="T25" fmla="*/ 5 h 22"/>
                  <a:gd name="T26" fmla="*/ 18 w 25"/>
                  <a:gd name="T27" fmla="*/ 5 h 22"/>
                  <a:gd name="T28" fmla="*/ 21 w 25"/>
                  <a:gd name="T29" fmla="*/ 9 h 22"/>
                  <a:gd name="T30" fmla="*/ 20 w 25"/>
                  <a:gd name="T31" fmla="*/ 14 h 22"/>
                  <a:gd name="T32" fmla="*/ 14 w 25"/>
                  <a:gd name="T33" fmla="*/ 18 h 22"/>
                  <a:gd name="T34" fmla="*/ 6 w 25"/>
                  <a:gd name="T35" fmla="*/ 1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5" h="22">
                    <a:moveTo>
                      <a:pt x="24" y="9"/>
                    </a:moveTo>
                    <a:cubicBezTo>
                      <a:pt x="24" y="6"/>
                      <a:pt x="22" y="4"/>
                      <a:pt x="19" y="2"/>
                    </a:cubicBezTo>
                    <a:cubicBezTo>
                      <a:pt x="17" y="1"/>
                      <a:pt x="14" y="0"/>
                      <a:pt x="10" y="1"/>
                    </a:cubicBezTo>
                    <a:cubicBezTo>
                      <a:pt x="7" y="2"/>
                      <a:pt x="4" y="4"/>
                      <a:pt x="2" y="6"/>
                    </a:cubicBezTo>
                    <a:cubicBezTo>
                      <a:pt x="0" y="8"/>
                      <a:pt x="0" y="11"/>
                      <a:pt x="0" y="14"/>
                    </a:cubicBezTo>
                    <a:cubicBezTo>
                      <a:pt x="1" y="17"/>
                      <a:pt x="3" y="19"/>
                      <a:pt x="5" y="21"/>
                    </a:cubicBezTo>
                    <a:cubicBezTo>
                      <a:pt x="8" y="22"/>
                      <a:pt x="11" y="22"/>
                      <a:pt x="15" y="22"/>
                    </a:cubicBezTo>
                    <a:cubicBezTo>
                      <a:pt x="18" y="21"/>
                      <a:pt x="21" y="19"/>
                      <a:pt x="23" y="17"/>
                    </a:cubicBezTo>
                    <a:cubicBezTo>
                      <a:pt x="24" y="15"/>
                      <a:pt x="25" y="12"/>
                      <a:pt x="24" y="9"/>
                    </a:cubicBezTo>
                    <a:close/>
                    <a:moveTo>
                      <a:pt x="6" y="18"/>
                    </a:moveTo>
                    <a:cubicBezTo>
                      <a:pt x="5" y="17"/>
                      <a:pt x="4" y="15"/>
                      <a:pt x="3" y="14"/>
                    </a:cubicBezTo>
                    <a:cubicBezTo>
                      <a:pt x="3" y="12"/>
                      <a:pt x="3" y="10"/>
                      <a:pt x="4" y="9"/>
                    </a:cubicBezTo>
                    <a:cubicBezTo>
                      <a:pt x="5" y="7"/>
                      <a:pt x="8" y="6"/>
                      <a:pt x="11" y="5"/>
                    </a:cubicBezTo>
                    <a:cubicBezTo>
                      <a:pt x="14" y="4"/>
                      <a:pt x="16" y="4"/>
                      <a:pt x="18" y="5"/>
                    </a:cubicBezTo>
                    <a:cubicBezTo>
                      <a:pt x="20" y="6"/>
                      <a:pt x="21" y="8"/>
                      <a:pt x="21" y="9"/>
                    </a:cubicBezTo>
                    <a:cubicBezTo>
                      <a:pt x="22" y="11"/>
                      <a:pt x="21" y="13"/>
                      <a:pt x="20" y="14"/>
                    </a:cubicBezTo>
                    <a:cubicBezTo>
                      <a:pt x="19" y="16"/>
                      <a:pt x="17" y="17"/>
                      <a:pt x="14" y="18"/>
                    </a:cubicBezTo>
                    <a:cubicBezTo>
                      <a:pt x="11" y="18"/>
                      <a:pt x="8" y="18"/>
                      <a:pt x="6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86" name="Freeform 177"/>
              <p:cNvSpPr/>
              <p:nvPr/>
            </p:nvSpPr>
            <p:spPr bwMode="auto">
              <a:xfrm>
                <a:off x="1763713" y="4675188"/>
                <a:ext cx="98425" cy="46038"/>
              </a:xfrm>
              <a:custGeom>
                <a:avLst/>
                <a:gdLst>
                  <a:gd name="T0" fmla="*/ 26 w 26"/>
                  <a:gd name="T1" fmla="*/ 10 h 12"/>
                  <a:gd name="T2" fmla="*/ 24 w 26"/>
                  <a:gd name="T3" fmla="*/ 7 h 12"/>
                  <a:gd name="T4" fmla="*/ 19 w 26"/>
                  <a:gd name="T5" fmla="*/ 5 h 12"/>
                  <a:gd name="T6" fmla="*/ 24 w 26"/>
                  <a:gd name="T7" fmla="*/ 3 h 12"/>
                  <a:gd name="T8" fmla="*/ 23 w 26"/>
                  <a:gd name="T9" fmla="*/ 0 h 12"/>
                  <a:gd name="T10" fmla="*/ 0 w 26"/>
                  <a:gd name="T11" fmla="*/ 6 h 12"/>
                  <a:gd name="T12" fmla="*/ 1 w 26"/>
                  <a:gd name="T13" fmla="*/ 9 h 12"/>
                  <a:gd name="T14" fmla="*/ 13 w 26"/>
                  <a:gd name="T15" fmla="*/ 6 h 12"/>
                  <a:gd name="T16" fmla="*/ 19 w 26"/>
                  <a:gd name="T17" fmla="*/ 7 h 12"/>
                  <a:gd name="T18" fmla="*/ 23 w 26"/>
                  <a:gd name="T19" fmla="*/ 11 h 12"/>
                  <a:gd name="T20" fmla="*/ 23 w 26"/>
                  <a:gd name="T21" fmla="*/ 12 h 12"/>
                  <a:gd name="T22" fmla="*/ 26 w 26"/>
                  <a:gd name="T23" fmla="*/ 11 h 12"/>
                  <a:gd name="T24" fmla="*/ 26 w 26"/>
                  <a:gd name="T25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" h="12">
                    <a:moveTo>
                      <a:pt x="26" y="10"/>
                    </a:moveTo>
                    <a:cubicBezTo>
                      <a:pt x="26" y="9"/>
                      <a:pt x="25" y="8"/>
                      <a:pt x="24" y="7"/>
                    </a:cubicBezTo>
                    <a:cubicBezTo>
                      <a:pt x="23" y="6"/>
                      <a:pt x="21" y="5"/>
                      <a:pt x="19" y="5"/>
                    </a:cubicBezTo>
                    <a:cubicBezTo>
                      <a:pt x="24" y="3"/>
                      <a:pt x="24" y="3"/>
                      <a:pt x="24" y="3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6" y="6"/>
                      <a:pt x="18" y="6"/>
                      <a:pt x="19" y="7"/>
                    </a:cubicBezTo>
                    <a:cubicBezTo>
                      <a:pt x="21" y="8"/>
                      <a:pt x="22" y="10"/>
                      <a:pt x="23" y="11"/>
                    </a:cubicBezTo>
                    <a:cubicBezTo>
                      <a:pt x="23" y="12"/>
                      <a:pt x="23" y="12"/>
                      <a:pt x="23" y="12"/>
                    </a:cubicBezTo>
                    <a:cubicBezTo>
                      <a:pt x="26" y="11"/>
                      <a:pt x="26" y="11"/>
                      <a:pt x="26" y="11"/>
                    </a:cubicBezTo>
                    <a:cubicBezTo>
                      <a:pt x="26" y="11"/>
                      <a:pt x="26" y="10"/>
                      <a:pt x="26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87" name="Freeform 178"/>
              <p:cNvSpPr/>
              <p:nvPr/>
            </p:nvSpPr>
            <p:spPr bwMode="auto">
              <a:xfrm>
                <a:off x="2057400" y="2638426"/>
                <a:ext cx="115888" cy="98425"/>
              </a:xfrm>
              <a:custGeom>
                <a:avLst/>
                <a:gdLst>
                  <a:gd name="T0" fmla="*/ 23 w 31"/>
                  <a:gd name="T1" fmla="*/ 1 h 26"/>
                  <a:gd name="T2" fmla="*/ 20 w 31"/>
                  <a:gd name="T3" fmla="*/ 1 h 26"/>
                  <a:gd name="T4" fmla="*/ 15 w 31"/>
                  <a:gd name="T5" fmla="*/ 7 h 26"/>
                  <a:gd name="T6" fmla="*/ 12 w 31"/>
                  <a:gd name="T7" fmla="*/ 4 h 26"/>
                  <a:gd name="T8" fmla="*/ 8 w 31"/>
                  <a:gd name="T9" fmla="*/ 4 h 26"/>
                  <a:gd name="T10" fmla="*/ 3 w 31"/>
                  <a:gd name="T11" fmla="*/ 10 h 26"/>
                  <a:gd name="T12" fmla="*/ 2 w 31"/>
                  <a:gd name="T13" fmla="*/ 6 h 26"/>
                  <a:gd name="T14" fmla="*/ 0 w 31"/>
                  <a:gd name="T15" fmla="*/ 7 h 26"/>
                  <a:gd name="T16" fmla="*/ 5 w 31"/>
                  <a:gd name="T17" fmla="*/ 26 h 26"/>
                  <a:gd name="T18" fmla="*/ 8 w 31"/>
                  <a:gd name="T19" fmla="*/ 25 h 26"/>
                  <a:gd name="T20" fmla="*/ 5 w 31"/>
                  <a:gd name="T21" fmla="*/ 14 h 26"/>
                  <a:gd name="T22" fmla="*/ 5 w 31"/>
                  <a:gd name="T23" fmla="*/ 9 h 26"/>
                  <a:gd name="T24" fmla="*/ 8 w 31"/>
                  <a:gd name="T25" fmla="*/ 6 h 26"/>
                  <a:gd name="T26" fmla="*/ 11 w 31"/>
                  <a:gd name="T27" fmla="*/ 7 h 26"/>
                  <a:gd name="T28" fmla="*/ 13 w 31"/>
                  <a:gd name="T29" fmla="*/ 10 h 26"/>
                  <a:gd name="T30" fmla="*/ 16 w 31"/>
                  <a:gd name="T31" fmla="*/ 23 h 26"/>
                  <a:gd name="T32" fmla="*/ 19 w 31"/>
                  <a:gd name="T33" fmla="*/ 22 h 26"/>
                  <a:gd name="T34" fmla="*/ 16 w 31"/>
                  <a:gd name="T35" fmla="*/ 11 h 26"/>
                  <a:gd name="T36" fmla="*/ 17 w 31"/>
                  <a:gd name="T37" fmla="*/ 6 h 26"/>
                  <a:gd name="T38" fmla="*/ 20 w 31"/>
                  <a:gd name="T39" fmla="*/ 3 h 26"/>
                  <a:gd name="T40" fmla="*/ 22 w 31"/>
                  <a:gd name="T41" fmla="*/ 4 h 26"/>
                  <a:gd name="T42" fmla="*/ 24 w 31"/>
                  <a:gd name="T43" fmla="*/ 5 h 26"/>
                  <a:gd name="T44" fmla="*/ 25 w 31"/>
                  <a:gd name="T45" fmla="*/ 8 h 26"/>
                  <a:gd name="T46" fmla="*/ 28 w 31"/>
                  <a:gd name="T47" fmla="*/ 20 h 26"/>
                  <a:gd name="T48" fmla="*/ 31 w 31"/>
                  <a:gd name="T49" fmla="*/ 19 h 26"/>
                  <a:gd name="T50" fmla="*/ 28 w 31"/>
                  <a:gd name="T51" fmla="*/ 7 h 26"/>
                  <a:gd name="T52" fmla="*/ 26 w 31"/>
                  <a:gd name="T53" fmla="*/ 3 h 26"/>
                  <a:gd name="T54" fmla="*/ 23 w 31"/>
                  <a:gd name="T55" fmla="*/ 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1" h="26">
                    <a:moveTo>
                      <a:pt x="23" y="1"/>
                    </a:moveTo>
                    <a:cubicBezTo>
                      <a:pt x="22" y="0"/>
                      <a:pt x="21" y="0"/>
                      <a:pt x="20" y="1"/>
                    </a:cubicBezTo>
                    <a:cubicBezTo>
                      <a:pt x="17" y="1"/>
                      <a:pt x="15" y="3"/>
                      <a:pt x="15" y="7"/>
                    </a:cubicBezTo>
                    <a:cubicBezTo>
                      <a:pt x="14" y="6"/>
                      <a:pt x="13" y="5"/>
                      <a:pt x="12" y="4"/>
                    </a:cubicBezTo>
                    <a:cubicBezTo>
                      <a:pt x="11" y="4"/>
                      <a:pt x="10" y="3"/>
                      <a:pt x="8" y="4"/>
                    </a:cubicBezTo>
                    <a:cubicBezTo>
                      <a:pt x="6" y="4"/>
                      <a:pt x="4" y="6"/>
                      <a:pt x="3" y="10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4" y="12"/>
                      <a:pt x="4" y="10"/>
                      <a:pt x="5" y="9"/>
                    </a:cubicBezTo>
                    <a:cubicBezTo>
                      <a:pt x="6" y="8"/>
                      <a:pt x="7" y="7"/>
                      <a:pt x="8" y="6"/>
                    </a:cubicBezTo>
                    <a:cubicBezTo>
                      <a:pt x="9" y="6"/>
                      <a:pt x="10" y="6"/>
                      <a:pt x="11" y="7"/>
                    </a:cubicBezTo>
                    <a:cubicBezTo>
                      <a:pt x="12" y="7"/>
                      <a:pt x="12" y="8"/>
                      <a:pt x="13" y="10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9" y="22"/>
                      <a:pt x="19" y="22"/>
                      <a:pt x="19" y="22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6" y="9"/>
                      <a:pt x="16" y="7"/>
                      <a:pt x="17" y="6"/>
                    </a:cubicBezTo>
                    <a:cubicBezTo>
                      <a:pt x="17" y="5"/>
                      <a:pt x="18" y="4"/>
                      <a:pt x="20" y="3"/>
                    </a:cubicBezTo>
                    <a:cubicBezTo>
                      <a:pt x="20" y="3"/>
                      <a:pt x="21" y="3"/>
                      <a:pt x="22" y="4"/>
                    </a:cubicBezTo>
                    <a:cubicBezTo>
                      <a:pt x="23" y="4"/>
                      <a:pt x="23" y="4"/>
                      <a:pt x="24" y="5"/>
                    </a:cubicBezTo>
                    <a:cubicBezTo>
                      <a:pt x="24" y="6"/>
                      <a:pt x="24" y="7"/>
                      <a:pt x="25" y="8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31" y="19"/>
                      <a:pt x="31" y="19"/>
                      <a:pt x="31" y="19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7" y="5"/>
                      <a:pt x="27" y="4"/>
                      <a:pt x="26" y="3"/>
                    </a:cubicBezTo>
                    <a:cubicBezTo>
                      <a:pt x="26" y="2"/>
                      <a:pt x="25" y="1"/>
                      <a:pt x="2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88" name="Freeform 179"/>
              <p:cNvSpPr>
                <a:spLocks noEditPoints="1"/>
              </p:cNvSpPr>
              <p:nvPr/>
            </p:nvSpPr>
            <p:spPr bwMode="auto">
              <a:xfrm>
                <a:off x="2178050" y="2620963"/>
                <a:ext cx="74613" cy="82550"/>
              </a:xfrm>
              <a:custGeom>
                <a:avLst/>
                <a:gdLst>
                  <a:gd name="T0" fmla="*/ 17 w 20"/>
                  <a:gd name="T1" fmla="*/ 7 h 22"/>
                  <a:gd name="T2" fmla="*/ 13 w 20"/>
                  <a:gd name="T3" fmla="*/ 1 h 22"/>
                  <a:gd name="T4" fmla="*/ 7 w 20"/>
                  <a:gd name="T5" fmla="*/ 1 h 22"/>
                  <a:gd name="T6" fmla="*/ 0 w 20"/>
                  <a:gd name="T7" fmla="*/ 8 h 22"/>
                  <a:gd name="T8" fmla="*/ 3 w 20"/>
                  <a:gd name="T9" fmla="*/ 8 h 22"/>
                  <a:gd name="T10" fmla="*/ 7 w 20"/>
                  <a:gd name="T11" fmla="*/ 3 h 22"/>
                  <a:gd name="T12" fmla="*/ 10 w 20"/>
                  <a:gd name="T13" fmla="*/ 3 h 22"/>
                  <a:gd name="T14" fmla="*/ 12 w 20"/>
                  <a:gd name="T15" fmla="*/ 4 h 22"/>
                  <a:gd name="T16" fmla="*/ 14 w 20"/>
                  <a:gd name="T17" fmla="*/ 7 h 22"/>
                  <a:gd name="T18" fmla="*/ 11 w 20"/>
                  <a:gd name="T19" fmla="*/ 8 h 22"/>
                  <a:gd name="T20" fmla="*/ 3 w 20"/>
                  <a:gd name="T21" fmla="*/ 12 h 22"/>
                  <a:gd name="T22" fmla="*/ 2 w 20"/>
                  <a:gd name="T23" fmla="*/ 18 h 22"/>
                  <a:gd name="T24" fmla="*/ 5 w 20"/>
                  <a:gd name="T25" fmla="*/ 21 h 22"/>
                  <a:gd name="T26" fmla="*/ 10 w 20"/>
                  <a:gd name="T27" fmla="*/ 22 h 22"/>
                  <a:gd name="T28" fmla="*/ 16 w 20"/>
                  <a:gd name="T29" fmla="*/ 16 h 22"/>
                  <a:gd name="T30" fmla="*/ 17 w 20"/>
                  <a:gd name="T31" fmla="*/ 19 h 22"/>
                  <a:gd name="T32" fmla="*/ 20 w 20"/>
                  <a:gd name="T33" fmla="*/ 18 h 22"/>
                  <a:gd name="T34" fmla="*/ 19 w 20"/>
                  <a:gd name="T35" fmla="*/ 15 h 22"/>
                  <a:gd name="T36" fmla="*/ 17 w 20"/>
                  <a:gd name="T37" fmla="*/ 7 h 22"/>
                  <a:gd name="T38" fmla="*/ 14 w 20"/>
                  <a:gd name="T39" fmla="*/ 16 h 22"/>
                  <a:gd name="T40" fmla="*/ 10 w 20"/>
                  <a:gd name="T41" fmla="*/ 19 h 22"/>
                  <a:gd name="T42" fmla="*/ 7 w 20"/>
                  <a:gd name="T43" fmla="*/ 19 h 22"/>
                  <a:gd name="T44" fmla="*/ 5 w 20"/>
                  <a:gd name="T45" fmla="*/ 17 h 22"/>
                  <a:gd name="T46" fmla="*/ 6 w 20"/>
                  <a:gd name="T47" fmla="*/ 13 h 22"/>
                  <a:gd name="T48" fmla="*/ 11 w 20"/>
                  <a:gd name="T49" fmla="*/ 10 h 22"/>
                  <a:gd name="T50" fmla="*/ 14 w 20"/>
                  <a:gd name="T51" fmla="*/ 10 h 22"/>
                  <a:gd name="T52" fmla="*/ 15 w 20"/>
                  <a:gd name="T53" fmla="*/ 11 h 22"/>
                  <a:gd name="T54" fmla="*/ 14 w 20"/>
                  <a:gd name="T5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0" h="22">
                    <a:moveTo>
                      <a:pt x="17" y="7"/>
                    </a:moveTo>
                    <a:cubicBezTo>
                      <a:pt x="16" y="4"/>
                      <a:pt x="15" y="2"/>
                      <a:pt x="13" y="1"/>
                    </a:cubicBezTo>
                    <a:cubicBezTo>
                      <a:pt x="12" y="0"/>
                      <a:pt x="10" y="0"/>
                      <a:pt x="7" y="1"/>
                    </a:cubicBezTo>
                    <a:cubicBezTo>
                      <a:pt x="2" y="2"/>
                      <a:pt x="0" y="4"/>
                      <a:pt x="0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5"/>
                      <a:pt x="4" y="4"/>
                      <a:pt x="7" y="3"/>
                    </a:cubicBezTo>
                    <a:cubicBezTo>
                      <a:pt x="8" y="3"/>
                      <a:pt x="10" y="3"/>
                      <a:pt x="10" y="3"/>
                    </a:cubicBezTo>
                    <a:cubicBezTo>
                      <a:pt x="11" y="3"/>
                      <a:pt x="12" y="3"/>
                      <a:pt x="12" y="4"/>
                    </a:cubicBezTo>
                    <a:cubicBezTo>
                      <a:pt x="13" y="5"/>
                      <a:pt x="13" y="6"/>
                      <a:pt x="14" y="7"/>
                    </a:cubicBezTo>
                    <a:cubicBezTo>
                      <a:pt x="12" y="8"/>
                      <a:pt x="12" y="8"/>
                      <a:pt x="11" y="8"/>
                    </a:cubicBezTo>
                    <a:cubicBezTo>
                      <a:pt x="7" y="9"/>
                      <a:pt x="4" y="10"/>
                      <a:pt x="3" y="12"/>
                    </a:cubicBezTo>
                    <a:cubicBezTo>
                      <a:pt x="2" y="14"/>
                      <a:pt x="1" y="16"/>
                      <a:pt x="2" y="18"/>
                    </a:cubicBezTo>
                    <a:cubicBezTo>
                      <a:pt x="2" y="19"/>
                      <a:pt x="3" y="20"/>
                      <a:pt x="5" y="21"/>
                    </a:cubicBezTo>
                    <a:cubicBezTo>
                      <a:pt x="6" y="22"/>
                      <a:pt x="8" y="22"/>
                      <a:pt x="10" y="22"/>
                    </a:cubicBezTo>
                    <a:cubicBezTo>
                      <a:pt x="13" y="21"/>
                      <a:pt x="15" y="19"/>
                      <a:pt x="16" y="16"/>
                    </a:cubicBezTo>
                    <a:cubicBezTo>
                      <a:pt x="16" y="18"/>
                      <a:pt x="17" y="19"/>
                      <a:pt x="17" y="19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20" y="17"/>
                      <a:pt x="19" y="16"/>
                      <a:pt x="19" y="15"/>
                    </a:cubicBezTo>
                    <a:lnTo>
                      <a:pt x="17" y="7"/>
                    </a:lnTo>
                    <a:close/>
                    <a:moveTo>
                      <a:pt x="14" y="16"/>
                    </a:moveTo>
                    <a:cubicBezTo>
                      <a:pt x="13" y="18"/>
                      <a:pt x="12" y="19"/>
                      <a:pt x="10" y="19"/>
                    </a:cubicBezTo>
                    <a:cubicBezTo>
                      <a:pt x="9" y="20"/>
                      <a:pt x="8" y="19"/>
                      <a:pt x="7" y="19"/>
                    </a:cubicBezTo>
                    <a:cubicBezTo>
                      <a:pt x="6" y="19"/>
                      <a:pt x="5" y="18"/>
                      <a:pt x="5" y="17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7" y="12"/>
                      <a:pt x="9" y="11"/>
                      <a:pt x="11" y="10"/>
                    </a:cubicBezTo>
                    <a:cubicBezTo>
                      <a:pt x="12" y="10"/>
                      <a:pt x="13" y="10"/>
                      <a:pt x="14" y="10"/>
                    </a:cubicBezTo>
                    <a:cubicBezTo>
                      <a:pt x="14" y="10"/>
                      <a:pt x="15" y="11"/>
                      <a:pt x="15" y="11"/>
                    </a:cubicBezTo>
                    <a:cubicBezTo>
                      <a:pt x="15" y="13"/>
                      <a:pt x="15" y="14"/>
                      <a:pt x="14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89" name="Freeform 180"/>
              <p:cNvSpPr/>
              <p:nvPr/>
            </p:nvSpPr>
            <p:spPr bwMode="auto">
              <a:xfrm>
                <a:off x="2255838" y="2597151"/>
                <a:ext cx="76200" cy="87313"/>
              </a:xfrm>
              <a:custGeom>
                <a:avLst/>
                <a:gdLst>
                  <a:gd name="T0" fmla="*/ 12 w 20"/>
                  <a:gd name="T1" fmla="*/ 1 h 23"/>
                  <a:gd name="T2" fmla="*/ 8 w 20"/>
                  <a:gd name="T3" fmla="*/ 1 h 23"/>
                  <a:gd name="T4" fmla="*/ 3 w 20"/>
                  <a:gd name="T5" fmla="*/ 6 h 23"/>
                  <a:gd name="T6" fmla="*/ 2 w 20"/>
                  <a:gd name="T7" fmla="*/ 3 h 23"/>
                  <a:gd name="T8" fmla="*/ 0 w 20"/>
                  <a:gd name="T9" fmla="*/ 4 h 23"/>
                  <a:gd name="T10" fmla="*/ 5 w 20"/>
                  <a:gd name="T11" fmla="*/ 23 h 23"/>
                  <a:gd name="T12" fmla="*/ 8 w 20"/>
                  <a:gd name="T13" fmla="*/ 22 h 23"/>
                  <a:gd name="T14" fmla="*/ 5 w 20"/>
                  <a:gd name="T15" fmla="*/ 12 h 23"/>
                  <a:gd name="T16" fmla="*/ 5 w 20"/>
                  <a:gd name="T17" fmla="*/ 6 h 23"/>
                  <a:gd name="T18" fmla="*/ 9 w 20"/>
                  <a:gd name="T19" fmla="*/ 3 h 23"/>
                  <a:gd name="T20" fmla="*/ 12 w 20"/>
                  <a:gd name="T21" fmla="*/ 4 h 23"/>
                  <a:gd name="T22" fmla="*/ 14 w 20"/>
                  <a:gd name="T23" fmla="*/ 7 h 23"/>
                  <a:gd name="T24" fmla="*/ 17 w 20"/>
                  <a:gd name="T25" fmla="*/ 20 h 23"/>
                  <a:gd name="T26" fmla="*/ 20 w 20"/>
                  <a:gd name="T27" fmla="*/ 19 h 23"/>
                  <a:gd name="T28" fmla="*/ 17 w 20"/>
                  <a:gd name="T29" fmla="*/ 8 h 23"/>
                  <a:gd name="T30" fmla="*/ 15 w 20"/>
                  <a:gd name="T31" fmla="*/ 3 h 23"/>
                  <a:gd name="T32" fmla="*/ 12 w 20"/>
                  <a:gd name="T33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0" h="23">
                    <a:moveTo>
                      <a:pt x="12" y="1"/>
                    </a:moveTo>
                    <a:cubicBezTo>
                      <a:pt x="11" y="0"/>
                      <a:pt x="10" y="0"/>
                      <a:pt x="8" y="1"/>
                    </a:cubicBezTo>
                    <a:cubicBezTo>
                      <a:pt x="6" y="1"/>
                      <a:pt x="4" y="3"/>
                      <a:pt x="3" y="6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5" y="23"/>
                      <a:pt x="5" y="23"/>
                      <a:pt x="5" y="23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0"/>
                      <a:pt x="5" y="8"/>
                      <a:pt x="5" y="6"/>
                    </a:cubicBezTo>
                    <a:cubicBezTo>
                      <a:pt x="6" y="5"/>
                      <a:pt x="7" y="4"/>
                      <a:pt x="9" y="3"/>
                    </a:cubicBezTo>
                    <a:cubicBezTo>
                      <a:pt x="10" y="3"/>
                      <a:pt x="11" y="3"/>
                      <a:pt x="12" y="4"/>
                    </a:cubicBezTo>
                    <a:cubicBezTo>
                      <a:pt x="13" y="4"/>
                      <a:pt x="13" y="5"/>
                      <a:pt x="14" y="7"/>
                    </a:cubicBezTo>
                    <a:cubicBezTo>
                      <a:pt x="17" y="20"/>
                      <a:pt x="17" y="20"/>
                      <a:pt x="17" y="20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6" y="5"/>
                      <a:pt x="16" y="4"/>
                      <a:pt x="15" y="3"/>
                    </a:cubicBezTo>
                    <a:cubicBezTo>
                      <a:pt x="15" y="2"/>
                      <a:pt x="14" y="1"/>
                      <a:pt x="1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90" name="Freeform 181"/>
              <p:cNvSpPr>
                <a:spLocks noEditPoints="1"/>
              </p:cNvSpPr>
              <p:nvPr/>
            </p:nvSpPr>
            <p:spPr bwMode="auto">
              <a:xfrm>
                <a:off x="2335213" y="2579688"/>
                <a:ext cx="76200" cy="82550"/>
              </a:xfrm>
              <a:custGeom>
                <a:avLst/>
                <a:gdLst>
                  <a:gd name="T0" fmla="*/ 17 w 20"/>
                  <a:gd name="T1" fmla="*/ 6 h 22"/>
                  <a:gd name="T2" fmla="*/ 13 w 20"/>
                  <a:gd name="T3" fmla="*/ 1 h 22"/>
                  <a:gd name="T4" fmla="*/ 7 w 20"/>
                  <a:gd name="T5" fmla="*/ 0 h 22"/>
                  <a:gd name="T6" fmla="*/ 0 w 20"/>
                  <a:gd name="T7" fmla="*/ 8 h 22"/>
                  <a:gd name="T8" fmla="*/ 3 w 20"/>
                  <a:gd name="T9" fmla="*/ 8 h 22"/>
                  <a:gd name="T10" fmla="*/ 7 w 20"/>
                  <a:gd name="T11" fmla="*/ 3 h 22"/>
                  <a:gd name="T12" fmla="*/ 11 w 20"/>
                  <a:gd name="T13" fmla="*/ 3 h 22"/>
                  <a:gd name="T14" fmla="*/ 13 w 20"/>
                  <a:gd name="T15" fmla="*/ 4 h 22"/>
                  <a:gd name="T16" fmla="*/ 14 w 20"/>
                  <a:gd name="T17" fmla="*/ 7 h 22"/>
                  <a:gd name="T18" fmla="*/ 11 w 20"/>
                  <a:gd name="T19" fmla="*/ 8 h 22"/>
                  <a:gd name="T20" fmla="*/ 3 w 20"/>
                  <a:gd name="T21" fmla="*/ 12 h 22"/>
                  <a:gd name="T22" fmla="*/ 2 w 20"/>
                  <a:gd name="T23" fmla="*/ 17 h 22"/>
                  <a:gd name="T24" fmla="*/ 5 w 20"/>
                  <a:gd name="T25" fmla="*/ 21 h 22"/>
                  <a:gd name="T26" fmla="*/ 10 w 20"/>
                  <a:gd name="T27" fmla="*/ 22 h 22"/>
                  <a:gd name="T28" fmla="*/ 16 w 20"/>
                  <a:gd name="T29" fmla="*/ 16 h 22"/>
                  <a:gd name="T30" fmla="*/ 17 w 20"/>
                  <a:gd name="T31" fmla="*/ 19 h 22"/>
                  <a:gd name="T32" fmla="*/ 20 w 20"/>
                  <a:gd name="T33" fmla="*/ 18 h 22"/>
                  <a:gd name="T34" fmla="*/ 19 w 20"/>
                  <a:gd name="T35" fmla="*/ 15 h 22"/>
                  <a:gd name="T36" fmla="*/ 17 w 20"/>
                  <a:gd name="T37" fmla="*/ 6 h 22"/>
                  <a:gd name="T38" fmla="*/ 14 w 20"/>
                  <a:gd name="T39" fmla="*/ 16 h 22"/>
                  <a:gd name="T40" fmla="*/ 10 w 20"/>
                  <a:gd name="T41" fmla="*/ 19 h 22"/>
                  <a:gd name="T42" fmla="*/ 7 w 20"/>
                  <a:gd name="T43" fmla="*/ 19 h 22"/>
                  <a:gd name="T44" fmla="*/ 5 w 20"/>
                  <a:gd name="T45" fmla="*/ 17 h 22"/>
                  <a:gd name="T46" fmla="*/ 6 w 20"/>
                  <a:gd name="T47" fmla="*/ 13 h 22"/>
                  <a:gd name="T48" fmla="*/ 12 w 20"/>
                  <a:gd name="T49" fmla="*/ 10 h 22"/>
                  <a:gd name="T50" fmla="*/ 14 w 20"/>
                  <a:gd name="T51" fmla="*/ 9 h 22"/>
                  <a:gd name="T52" fmla="*/ 15 w 20"/>
                  <a:gd name="T53" fmla="*/ 11 h 22"/>
                  <a:gd name="T54" fmla="*/ 14 w 20"/>
                  <a:gd name="T5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0" h="22">
                    <a:moveTo>
                      <a:pt x="17" y="6"/>
                    </a:moveTo>
                    <a:cubicBezTo>
                      <a:pt x="16" y="3"/>
                      <a:pt x="15" y="2"/>
                      <a:pt x="13" y="1"/>
                    </a:cubicBezTo>
                    <a:cubicBezTo>
                      <a:pt x="12" y="0"/>
                      <a:pt x="10" y="0"/>
                      <a:pt x="7" y="0"/>
                    </a:cubicBezTo>
                    <a:cubicBezTo>
                      <a:pt x="2" y="2"/>
                      <a:pt x="0" y="4"/>
                      <a:pt x="0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5"/>
                      <a:pt x="4" y="4"/>
                      <a:pt x="7" y="3"/>
                    </a:cubicBezTo>
                    <a:cubicBezTo>
                      <a:pt x="9" y="3"/>
                      <a:pt x="10" y="2"/>
                      <a:pt x="11" y="3"/>
                    </a:cubicBezTo>
                    <a:cubicBezTo>
                      <a:pt x="11" y="3"/>
                      <a:pt x="12" y="3"/>
                      <a:pt x="13" y="4"/>
                    </a:cubicBezTo>
                    <a:cubicBezTo>
                      <a:pt x="13" y="5"/>
                      <a:pt x="13" y="6"/>
                      <a:pt x="14" y="7"/>
                    </a:cubicBezTo>
                    <a:cubicBezTo>
                      <a:pt x="13" y="7"/>
                      <a:pt x="12" y="8"/>
                      <a:pt x="11" y="8"/>
                    </a:cubicBezTo>
                    <a:cubicBezTo>
                      <a:pt x="7" y="9"/>
                      <a:pt x="5" y="10"/>
                      <a:pt x="3" y="12"/>
                    </a:cubicBezTo>
                    <a:cubicBezTo>
                      <a:pt x="2" y="14"/>
                      <a:pt x="1" y="15"/>
                      <a:pt x="2" y="17"/>
                    </a:cubicBezTo>
                    <a:cubicBezTo>
                      <a:pt x="2" y="19"/>
                      <a:pt x="3" y="20"/>
                      <a:pt x="5" y="21"/>
                    </a:cubicBezTo>
                    <a:cubicBezTo>
                      <a:pt x="6" y="22"/>
                      <a:pt x="8" y="22"/>
                      <a:pt x="10" y="22"/>
                    </a:cubicBezTo>
                    <a:cubicBezTo>
                      <a:pt x="14" y="21"/>
                      <a:pt x="15" y="19"/>
                      <a:pt x="16" y="16"/>
                    </a:cubicBezTo>
                    <a:cubicBezTo>
                      <a:pt x="17" y="17"/>
                      <a:pt x="17" y="19"/>
                      <a:pt x="17" y="19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20" y="17"/>
                      <a:pt x="19" y="16"/>
                      <a:pt x="19" y="15"/>
                    </a:cubicBezTo>
                    <a:lnTo>
                      <a:pt x="17" y="6"/>
                    </a:lnTo>
                    <a:close/>
                    <a:moveTo>
                      <a:pt x="14" y="16"/>
                    </a:moveTo>
                    <a:cubicBezTo>
                      <a:pt x="13" y="17"/>
                      <a:pt x="12" y="19"/>
                      <a:pt x="10" y="19"/>
                    </a:cubicBezTo>
                    <a:cubicBezTo>
                      <a:pt x="9" y="19"/>
                      <a:pt x="8" y="19"/>
                      <a:pt x="7" y="19"/>
                    </a:cubicBezTo>
                    <a:cubicBezTo>
                      <a:pt x="6" y="18"/>
                      <a:pt x="5" y="18"/>
                      <a:pt x="5" y="17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7" y="12"/>
                      <a:pt x="9" y="11"/>
                      <a:pt x="12" y="10"/>
                    </a:cubicBezTo>
                    <a:cubicBezTo>
                      <a:pt x="12" y="10"/>
                      <a:pt x="13" y="10"/>
                      <a:pt x="14" y="9"/>
                    </a:cubicBezTo>
                    <a:cubicBezTo>
                      <a:pt x="15" y="10"/>
                      <a:pt x="15" y="10"/>
                      <a:pt x="15" y="11"/>
                    </a:cubicBezTo>
                    <a:cubicBezTo>
                      <a:pt x="15" y="13"/>
                      <a:pt x="15" y="14"/>
                      <a:pt x="14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91" name="Freeform 182"/>
              <p:cNvSpPr>
                <a:spLocks noEditPoints="1"/>
              </p:cNvSpPr>
              <p:nvPr/>
            </p:nvSpPr>
            <p:spPr bwMode="auto">
              <a:xfrm>
                <a:off x="2414588" y="2541588"/>
                <a:ext cx="85725" cy="123825"/>
              </a:xfrm>
              <a:custGeom>
                <a:avLst/>
                <a:gdLst>
                  <a:gd name="T0" fmla="*/ 17 w 23"/>
                  <a:gd name="T1" fmla="*/ 21 h 33"/>
                  <a:gd name="T2" fmla="*/ 12 w 23"/>
                  <a:gd name="T3" fmla="*/ 21 h 33"/>
                  <a:gd name="T4" fmla="*/ 7 w 23"/>
                  <a:gd name="T5" fmla="*/ 22 h 33"/>
                  <a:gd name="T6" fmla="*/ 5 w 23"/>
                  <a:gd name="T7" fmla="*/ 21 h 33"/>
                  <a:gd name="T8" fmla="*/ 6 w 23"/>
                  <a:gd name="T9" fmla="*/ 20 h 33"/>
                  <a:gd name="T10" fmla="*/ 7 w 23"/>
                  <a:gd name="T11" fmla="*/ 19 h 33"/>
                  <a:gd name="T12" fmla="*/ 8 w 23"/>
                  <a:gd name="T13" fmla="*/ 19 h 33"/>
                  <a:gd name="T14" fmla="*/ 10 w 23"/>
                  <a:gd name="T15" fmla="*/ 18 h 33"/>
                  <a:gd name="T16" fmla="*/ 15 w 23"/>
                  <a:gd name="T17" fmla="*/ 15 h 33"/>
                  <a:gd name="T18" fmla="*/ 15 w 23"/>
                  <a:gd name="T19" fmla="*/ 10 h 33"/>
                  <a:gd name="T20" fmla="*/ 12 w 23"/>
                  <a:gd name="T21" fmla="*/ 6 h 33"/>
                  <a:gd name="T22" fmla="*/ 13 w 23"/>
                  <a:gd name="T23" fmla="*/ 4 h 33"/>
                  <a:gd name="T24" fmla="*/ 16 w 23"/>
                  <a:gd name="T25" fmla="*/ 3 h 33"/>
                  <a:gd name="T26" fmla="*/ 15 w 23"/>
                  <a:gd name="T27" fmla="*/ 0 h 33"/>
                  <a:gd name="T28" fmla="*/ 14 w 23"/>
                  <a:gd name="T29" fmla="*/ 0 h 33"/>
                  <a:gd name="T30" fmla="*/ 11 w 23"/>
                  <a:gd name="T31" fmla="*/ 2 h 33"/>
                  <a:gd name="T32" fmla="*/ 10 w 23"/>
                  <a:gd name="T33" fmla="*/ 5 h 33"/>
                  <a:gd name="T34" fmla="*/ 6 w 23"/>
                  <a:gd name="T35" fmla="*/ 5 h 33"/>
                  <a:gd name="T36" fmla="*/ 2 w 23"/>
                  <a:gd name="T37" fmla="*/ 8 h 33"/>
                  <a:gd name="T38" fmla="*/ 1 w 23"/>
                  <a:gd name="T39" fmla="*/ 14 h 33"/>
                  <a:gd name="T40" fmla="*/ 4 w 23"/>
                  <a:gd name="T41" fmla="*/ 18 h 33"/>
                  <a:gd name="T42" fmla="*/ 3 w 23"/>
                  <a:gd name="T43" fmla="*/ 22 h 33"/>
                  <a:gd name="T44" fmla="*/ 5 w 23"/>
                  <a:gd name="T45" fmla="*/ 25 h 33"/>
                  <a:gd name="T46" fmla="*/ 4 w 23"/>
                  <a:gd name="T47" fmla="*/ 30 h 33"/>
                  <a:gd name="T48" fmla="*/ 7 w 23"/>
                  <a:gd name="T49" fmla="*/ 33 h 33"/>
                  <a:gd name="T50" fmla="*/ 14 w 23"/>
                  <a:gd name="T51" fmla="*/ 32 h 33"/>
                  <a:gd name="T52" fmla="*/ 22 w 23"/>
                  <a:gd name="T53" fmla="*/ 24 h 33"/>
                  <a:gd name="T54" fmla="*/ 20 w 23"/>
                  <a:gd name="T55" fmla="*/ 21 h 33"/>
                  <a:gd name="T56" fmla="*/ 17 w 23"/>
                  <a:gd name="T57" fmla="*/ 21 h 33"/>
                  <a:gd name="T58" fmla="*/ 4 w 23"/>
                  <a:gd name="T59" fmla="*/ 9 h 33"/>
                  <a:gd name="T60" fmla="*/ 7 w 23"/>
                  <a:gd name="T61" fmla="*/ 7 h 33"/>
                  <a:gd name="T62" fmla="*/ 10 w 23"/>
                  <a:gd name="T63" fmla="*/ 8 h 33"/>
                  <a:gd name="T64" fmla="*/ 12 w 23"/>
                  <a:gd name="T65" fmla="*/ 11 h 33"/>
                  <a:gd name="T66" fmla="*/ 12 w 23"/>
                  <a:gd name="T67" fmla="*/ 14 h 33"/>
                  <a:gd name="T68" fmla="*/ 9 w 23"/>
                  <a:gd name="T69" fmla="*/ 16 h 33"/>
                  <a:gd name="T70" fmla="*/ 6 w 23"/>
                  <a:gd name="T71" fmla="*/ 16 h 33"/>
                  <a:gd name="T72" fmla="*/ 4 w 23"/>
                  <a:gd name="T73" fmla="*/ 13 h 33"/>
                  <a:gd name="T74" fmla="*/ 4 w 23"/>
                  <a:gd name="T75" fmla="*/ 9 h 33"/>
                  <a:gd name="T76" fmla="*/ 18 w 23"/>
                  <a:gd name="T77" fmla="*/ 28 h 33"/>
                  <a:gd name="T78" fmla="*/ 13 w 23"/>
                  <a:gd name="T79" fmla="*/ 30 h 33"/>
                  <a:gd name="T80" fmla="*/ 9 w 23"/>
                  <a:gd name="T81" fmla="*/ 30 h 33"/>
                  <a:gd name="T82" fmla="*/ 6 w 23"/>
                  <a:gd name="T83" fmla="*/ 28 h 33"/>
                  <a:gd name="T84" fmla="*/ 8 w 23"/>
                  <a:gd name="T85" fmla="*/ 25 h 33"/>
                  <a:gd name="T86" fmla="*/ 13 w 23"/>
                  <a:gd name="T87" fmla="*/ 24 h 33"/>
                  <a:gd name="T88" fmla="*/ 16 w 23"/>
                  <a:gd name="T89" fmla="*/ 24 h 33"/>
                  <a:gd name="T90" fmla="*/ 18 w 23"/>
                  <a:gd name="T91" fmla="*/ 24 h 33"/>
                  <a:gd name="T92" fmla="*/ 19 w 23"/>
                  <a:gd name="T93" fmla="*/ 25 h 33"/>
                  <a:gd name="T94" fmla="*/ 18 w 23"/>
                  <a:gd name="T95" fmla="*/ 2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3" h="33">
                    <a:moveTo>
                      <a:pt x="17" y="21"/>
                    </a:moveTo>
                    <a:cubicBezTo>
                      <a:pt x="16" y="21"/>
                      <a:pt x="14" y="21"/>
                      <a:pt x="12" y="21"/>
                    </a:cubicBezTo>
                    <a:cubicBezTo>
                      <a:pt x="9" y="22"/>
                      <a:pt x="8" y="22"/>
                      <a:pt x="7" y="22"/>
                    </a:cubicBezTo>
                    <a:cubicBezTo>
                      <a:pt x="6" y="22"/>
                      <a:pt x="6" y="22"/>
                      <a:pt x="5" y="21"/>
                    </a:cubicBezTo>
                    <a:cubicBezTo>
                      <a:pt x="5" y="21"/>
                      <a:pt x="5" y="20"/>
                      <a:pt x="6" y="20"/>
                    </a:cubicBezTo>
                    <a:cubicBezTo>
                      <a:pt x="6" y="19"/>
                      <a:pt x="7" y="19"/>
                      <a:pt x="7" y="19"/>
                    </a:cubicBezTo>
                    <a:cubicBezTo>
                      <a:pt x="7" y="19"/>
                      <a:pt x="8" y="19"/>
                      <a:pt x="8" y="19"/>
                    </a:cubicBezTo>
                    <a:cubicBezTo>
                      <a:pt x="9" y="19"/>
                      <a:pt x="9" y="19"/>
                      <a:pt x="10" y="18"/>
                    </a:cubicBezTo>
                    <a:cubicBezTo>
                      <a:pt x="12" y="18"/>
                      <a:pt x="14" y="17"/>
                      <a:pt x="15" y="15"/>
                    </a:cubicBezTo>
                    <a:cubicBezTo>
                      <a:pt x="16" y="13"/>
                      <a:pt x="16" y="12"/>
                      <a:pt x="15" y="10"/>
                    </a:cubicBezTo>
                    <a:cubicBezTo>
                      <a:pt x="15" y="8"/>
                      <a:pt x="14" y="7"/>
                      <a:pt x="12" y="6"/>
                    </a:cubicBezTo>
                    <a:cubicBezTo>
                      <a:pt x="12" y="5"/>
                      <a:pt x="12" y="4"/>
                      <a:pt x="13" y="4"/>
                    </a:cubicBezTo>
                    <a:cubicBezTo>
                      <a:pt x="13" y="3"/>
                      <a:pt x="14" y="3"/>
                      <a:pt x="16" y="3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4" y="0"/>
                      <a:pt x="14" y="0"/>
                    </a:cubicBezTo>
                    <a:cubicBezTo>
                      <a:pt x="13" y="1"/>
                      <a:pt x="12" y="1"/>
                      <a:pt x="11" y="2"/>
                    </a:cubicBezTo>
                    <a:cubicBezTo>
                      <a:pt x="11" y="3"/>
                      <a:pt x="10" y="4"/>
                      <a:pt x="10" y="5"/>
                    </a:cubicBezTo>
                    <a:cubicBezTo>
                      <a:pt x="9" y="5"/>
                      <a:pt x="8" y="5"/>
                      <a:pt x="6" y="5"/>
                    </a:cubicBezTo>
                    <a:cubicBezTo>
                      <a:pt x="4" y="6"/>
                      <a:pt x="3" y="7"/>
                      <a:pt x="2" y="8"/>
                    </a:cubicBezTo>
                    <a:cubicBezTo>
                      <a:pt x="0" y="10"/>
                      <a:pt x="0" y="12"/>
                      <a:pt x="1" y="14"/>
                    </a:cubicBezTo>
                    <a:cubicBezTo>
                      <a:pt x="1" y="16"/>
                      <a:pt x="2" y="17"/>
                      <a:pt x="4" y="18"/>
                    </a:cubicBezTo>
                    <a:cubicBezTo>
                      <a:pt x="3" y="19"/>
                      <a:pt x="2" y="21"/>
                      <a:pt x="3" y="22"/>
                    </a:cubicBezTo>
                    <a:cubicBezTo>
                      <a:pt x="3" y="24"/>
                      <a:pt x="4" y="24"/>
                      <a:pt x="5" y="25"/>
                    </a:cubicBezTo>
                    <a:cubicBezTo>
                      <a:pt x="4" y="26"/>
                      <a:pt x="3" y="28"/>
                      <a:pt x="4" y="30"/>
                    </a:cubicBezTo>
                    <a:cubicBezTo>
                      <a:pt x="4" y="31"/>
                      <a:pt x="5" y="32"/>
                      <a:pt x="7" y="33"/>
                    </a:cubicBezTo>
                    <a:cubicBezTo>
                      <a:pt x="8" y="33"/>
                      <a:pt x="11" y="33"/>
                      <a:pt x="14" y="32"/>
                    </a:cubicBezTo>
                    <a:cubicBezTo>
                      <a:pt x="20" y="31"/>
                      <a:pt x="23" y="28"/>
                      <a:pt x="22" y="24"/>
                    </a:cubicBezTo>
                    <a:cubicBezTo>
                      <a:pt x="22" y="23"/>
                      <a:pt x="21" y="22"/>
                      <a:pt x="20" y="21"/>
                    </a:cubicBezTo>
                    <a:cubicBezTo>
                      <a:pt x="19" y="21"/>
                      <a:pt x="18" y="21"/>
                      <a:pt x="17" y="21"/>
                    </a:cubicBezTo>
                    <a:close/>
                    <a:moveTo>
                      <a:pt x="4" y="9"/>
                    </a:moveTo>
                    <a:cubicBezTo>
                      <a:pt x="5" y="8"/>
                      <a:pt x="6" y="8"/>
                      <a:pt x="7" y="7"/>
                    </a:cubicBezTo>
                    <a:cubicBezTo>
                      <a:pt x="8" y="7"/>
                      <a:pt x="9" y="7"/>
                      <a:pt x="10" y="8"/>
                    </a:cubicBezTo>
                    <a:cubicBezTo>
                      <a:pt x="11" y="8"/>
                      <a:pt x="12" y="9"/>
                      <a:pt x="12" y="11"/>
                    </a:cubicBezTo>
                    <a:cubicBezTo>
                      <a:pt x="13" y="12"/>
                      <a:pt x="13" y="13"/>
                      <a:pt x="12" y="14"/>
                    </a:cubicBezTo>
                    <a:cubicBezTo>
                      <a:pt x="11" y="15"/>
                      <a:pt x="10" y="16"/>
                      <a:pt x="9" y="16"/>
                    </a:cubicBezTo>
                    <a:cubicBezTo>
                      <a:pt x="8" y="16"/>
                      <a:pt x="7" y="16"/>
                      <a:pt x="6" y="16"/>
                    </a:cubicBezTo>
                    <a:cubicBezTo>
                      <a:pt x="5" y="15"/>
                      <a:pt x="4" y="14"/>
                      <a:pt x="4" y="13"/>
                    </a:cubicBezTo>
                    <a:cubicBezTo>
                      <a:pt x="3" y="12"/>
                      <a:pt x="4" y="10"/>
                      <a:pt x="4" y="9"/>
                    </a:cubicBezTo>
                    <a:close/>
                    <a:moveTo>
                      <a:pt x="18" y="28"/>
                    </a:moveTo>
                    <a:cubicBezTo>
                      <a:pt x="16" y="29"/>
                      <a:pt x="15" y="30"/>
                      <a:pt x="13" y="30"/>
                    </a:cubicBezTo>
                    <a:cubicBezTo>
                      <a:pt x="12" y="30"/>
                      <a:pt x="10" y="31"/>
                      <a:pt x="9" y="30"/>
                    </a:cubicBezTo>
                    <a:cubicBezTo>
                      <a:pt x="7" y="30"/>
                      <a:pt x="7" y="29"/>
                      <a:pt x="6" y="28"/>
                    </a:cubicBezTo>
                    <a:cubicBezTo>
                      <a:pt x="6" y="27"/>
                      <a:pt x="7" y="26"/>
                      <a:pt x="8" y="25"/>
                    </a:cubicBezTo>
                    <a:cubicBezTo>
                      <a:pt x="9" y="25"/>
                      <a:pt x="10" y="25"/>
                      <a:pt x="13" y="24"/>
                    </a:cubicBezTo>
                    <a:cubicBezTo>
                      <a:pt x="14" y="24"/>
                      <a:pt x="16" y="24"/>
                      <a:pt x="16" y="24"/>
                    </a:cubicBezTo>
                    <a:cubicBezTo>
                      <a:pt x="17" y="23"/>
                      <a:pt x="18" y="24"/>
                      <a:pt x="18" y="24"/>
                    </a:cubicBezTo>
                    <a:cubicBezTo>
                      <a:pt x="19" y="24"/>
                      <a:pt x="19" y="25"/>
                      <a:pt x="19" y="25"/>
                    </a:cubicBezTo>
                    <a:cubicBezTo>
                      <a:pt x="19" y="26"/>
                      <a:pt x="19" y="27"/>
                      <a:pt x="18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92" name="Freeform 183"/>
              <p:cNvSpPr>
                <a:spLocks noEditPoints="1"/>
              </p:cNvSpPr>
              <p:nvPr/>
            </p:nvSpPr>
            <p:spPr bwMode="auto">
              <a:xfrm>
                <a:off x="2486025" y="2538413"/>
                <a:ext cx="74613" cy="82550"/>
              </a:xfrm>
              <a:custGeom>
                <a:avLst/>
                <a:gdLst>
                  <a:gd name="T0" fmla="*/ 14 w 20"/>
                  <a:gd name="T1" fmla="*/ 2 h 22"/>
                  <a:gd name="T2" fmla="*/ 7 w 20"/>
                  <a:gd name="T3" fmla="*/ 1 h 22"/>
                  <a:gd name="T4" fmla="*/ 2 w 20"/>
                  <a:gd name="T5" fmla="*/ 5 h 22"/>
                  <a:gd name="T6" fmla="*/ 1 w 20"/>
                  <a:gd name="T7" fmla="*/ 13 h 22"/>
                  <a:gd name="T8" fmla="*/ 6 w 20"/>
                  <a:gd name="T9" fmla="*/ 20 h 22"/>
                  <a:gd name="T10" fmla="*/ 13 w 20"/>
                  <a:gd name="T11" fmla="*/ 21 h 22"/>
                  <a:gd name="T12" fmla="*/ 18 w 20"/>
                  <a:gd name="T13" fmla="*/ 18 h 22"/>
                  <a:gd name="T14" fmla="*/ 20 w 20"/>
                  <a:gd name="T15" fmla="*/ 13 h 22"/>
                  <a:gd name="T16" fmla="*/ 17 w 20"/>
                  <a:gd name="T17" fmla="*/ 14 h 22"/>
                  <a:gd name="T18" fmla="*/ 12 w 20"/>
                  <a:gd name="T19" fmla="*/ 19 h 22"/>
                  <a:gd name="T20" fmla="*/ 8 w 20"/>
                  <a:gd name="T21" fmla="*/ 18 h 22"/>
                  <a:gd name="T22" fmla="*/ 5 w 20"/>
                  <a:gd name="T23" fmla="*/ 13 h 22"/>
                  <a:gd name="T24" fmla="*/ 19 w 20"/>
                  <a:gd name="T25" fmla="*/ 9 h 22"/>
                  <a:gd name="T26" fmla="*/ 14 w 20"/>
                  <a:gd name="T27" fmla="*/ 2 h 22"/>
                  <a:gd name="T28" fmla="*/ 4 w 20"/>
                  <a:gd name="T29" fmla="*/ 10 h 22"/>
                  <a:gd name="T30" fmla="*/ 5 w 20"/>
                  <a:gd name="T31" fmla="*/ 6 h 22"/>
                  <a:gd name="T32" fmla="*/ 8 w 20"/>
                  <a:gd name="T33" fmla="*/ 3 h 22"/>
                  <a:gd name="T34" fmla="*/ 11 w 20"/>
                  <a:gd name="T35" fmla="*/ 3 h 22"/>
                  <a:gd name="T36" fmla="*/ 14 w 20"/>
                  <a:gd name="T37" fmla="*/ 5 h 22"/>
                  <a:gd name="T38" fmla="*/ 15 w 20"/>
                  <a:gd name="T39" fmla="*/ 8 h 22"/>
                  <a:gd name="T40" fmla="*/ 4 w 20"/>
                  <a:gd name="T41" fmla="*/ 1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" h="22">
                    <a:moveTo>
                      <a:pt x="14" y="2"/>
                    </a:moveTo>
                    <a:cubicBezTo>
                      <a:pt x="12" y="0"/>
                      <a:pt x="10" y="0"/>
                      <a:pt x="7" y="1"/>
                    </a:cubicBezTo>
                    <a:cubicBezTo>
                      <a:pt x="5" y="1"/>
                      <a:pt x="3" y="3"/>
                      <a:pt x="2" y="5"/>
                    </a:cubicBezTo>
                    <a:cubicBezTo>
                      <a:pt x="1" y="8"/>
                      <a:pt x="0" y="10"/>
                      <a:pt x="1" y="13"/>
                    </a:cubicBezTo>
                    <a:cubicBezTo>
                      <a:pt x="2" y="17"/>
                      <a:pt x="4" y="19"/>
                      <a:pt x="6" y="20"/>
                    </a:cubicBezTo>
                    <a:cubicBezTo>
                      <a:pt x="8" y="22"/>
                      <a:pt x="10" y="22"/>
                      <a:pt x="13" y="21"/>
                    </a:cubicBezTo>
                    <a:cubicBezTo>
                      <a:pt x="15" y="21"/>
                      <a:pt x="16" y="20"/>
                      <a:pt x="18" y="18"/>
                    </a:cubicBezTo>
                    <a:cubicBezTo>
                      <a:pt x="19" y="17"/>
                      <a:pt x="19" y="15"/>
                      <a:pt x="20" y="13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6" y="16"/>
                      <a:pt x="15" y="18"/>
                      <a:pt x="12" y="19"/>
                    </a:cubicBezTo>
                    <a:cubicBezTo>
                      <a:pt x="11" y="19"/>
                      <a:pt x="10" y="19"/>
                      <a:pt x="8" y="18"/>
                    </a:cubicBezTo>
                    <a:cubicBezTo>
                      <a:pt x="7" y="18"/>
                      <a:pt x="5" y="16"/>
                      <a:pt x="5" y="13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18" y="6"/>
                      <a:pt x="16" y="3"/>
                      <a:pt x="14" y="2"/>
                    </a:cubicBezTo>
                    <a:close/>
                    <a:moveTo>
                      <a:pt x="4" y="10"/>
                    </a:moveTo>
                    <a:cubicBezTo>
                      <a:pt x="4" y="9"/>
                      <a:pt x="4" y="7"/>
                      <a:pt x="5" y="6"/>
                    </a:cubicBezTo>
                    <a:cubicBezTo>
                      <a:pt x="6" y="4"/>
                      <a:pt x="7" y="3"/>
                      <a:pt x="8" y="3"/>
                    </a:cubicBezTo>
                    <a:cubicBezTo>
                      <a:pt x="9" y="3"/>
                      <a:pt x="10" y="3"/>
                      <a:pt x="11" y="3"/>
                    </a:cubicBezTo>
                    <a:cubicBezTo>
                      <a:pt x="12" y="4"/>
                      <a:pt x="13" y="4"/>
                      <a:pt x="14" y="5"/>
                    </a:cubicBezTo>
                    <a:cubicBezTo>
                      <a:pt x="14" y="6"/>
                      <a:pt x="15" y="7"/>
                      <a:pt x="15" y="8"/>
                    </a:cubicBezTo>
                    <a:lnTo>
                      <a:pt x="4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93" name="Freeform 184"/>
              <p:cNvSpPr/>
              <p:nvPr/>
            </p:nvSpPr>
            <p:spPr bwMode="auto">
              <a:xfrm>
                <a:off x="2565400" y="2508251"/>
                <a:ext cx="115888" cy="93663"/>
              </a:xfrm>
              <a:custGeom>
                <a:avLst/>
                <a:gdLst>
                  <a:gd name="T0" fmla="*/ 23 w 31"/>
                  <a:gd name="T1" fmla="*/ 0 h 25"/>
                  <a:gd name="T2" fmla="*/ 20 w 31"/>
                  <a:gd name="T3" fmla="*/ 0 h 25"/>
                  <a:gd name="T4" fmla="*/ 15 w 31"/>
                  <a:gd name="T5" fmla="*/ 6 h 25"/>
                  <a:gd name="T6" fmla="*/ 12 w 31"/>
                  <a:gd name="T7" fmla="*/ 3 h 25"/>
                  <a:gd name="T8" fmla="*/ 8 w 31"/>
                  <a:gd name="T9" fmla="*/ 3 h 25"/>
                  <a:gd name="T10" fmla="*/ 3 w 31"/>
                  <a:gd name="T11" fmla="*/ 9 h 25"/>
                  <a:gd name="T12" fmla="*/ 2 w 31"/>
                  <a:gd name="T13" fmla="*/ 5 h 25"/>
                  <a:gd name="T14" fmla="*/ 0 w 31"/>
                  <a:gd name="T15" fmla="*/ 6 h 25"/>
                  <a:gd name="T16" fmla="*/ 5 w 31"/>
                  <a:gd name="T17" fmla="*/ 25 h 25"/>
                  <a:gd name="T18" fmla="*/ 8 w 31"/>
                  <a:gd name="T19" fmla="*/ 25 h 25"/>
                  <a:gd name="T20" fmla="*/ 5 w 31"/>
                  <a:gd name="T21" fmla="*/ 13 h 25"/>
                  <a:gd name="T22" fmla="*/ 5 w 31"/>
                  <a:gd name="T23" fmla="*/ 8 h 25"/>
                  <a:gd name="T24" fmla="*/ 8 w 31"/>
                  <a:gd name="T25" fmla="*/ 6 h 25"/>
                  <a:gd name="T26" fmla="*/ 11 w 31"/>
                  <a:gd name="T27" fmla="*/ 6 h 25"/>
                  <a:gd name="T28" fmla="*/ 13 w 31"/>
                  <a:gd name="T29" fmla="*/ 9 h 25"/>
                  <a:gd name="T30" fmla="*/ 16 w 31"/>
                  <a:gd name="T31" fmla="*/ 22 h 25"/>
                  <a:gd name="T32" fmla="*/ 19 w 31"/>
                  <a:gd name="T33" fmla="*/ 21 h 25"/>
                  <a:gd name="T34" fmla="*/ 16 w 31"/>
                  <a:gd name="T35" fmla="*/ 11 h 25"/>
                  <a:gd name="T36" fmla="*/ 17 w 31"/>
                  <a:gd name="T37" fmla="*/ 5 h 25"/>
                  <a:gd name="T38" fmla="*/ 20 w 31"/>
                  <a:gd name="T39" fmla="*/ 3 h 25"/>
                  <a:gd name="T40" fmla="*/ 22 w 31"/>
                  <a:gd name="T41" fmla="*/ 3 h 25"/>
                  <a:gd name="T42" fmla="*/ 24 w 31"/>
                  <a:gd name="T43" fmla="*/ 4 h 25"/>
                  <a:gd name="T44" fmla="*/ 25 w 31"/>
                  <a:gd name="T45" fmla="*/ 7 h 25"/>
                  <a:gd name="T46" fmla="*/ 28 w 31"/>
                  <a:gd name="T47" fmla="*/ 19 h 25"/>
                  <a:gd name="T48" fmla="*/ 31 w 31"/>
                  <a:gd name="T49" fmla="*/ 18 h 25"/>
                  <a:gd name="T50" fmla="*/ 28 w 31"/>
                  <a:gd name="T51" fmla="*/ 6 h 25"/>
                  <a:gd name="T52" fmla="*/ 26 w 31"/>
                  <a:gd name="T53" fmla="*/ 2 h 25"/>
                  <a:gd name="T54" fmla="*/ 23 w 31"/>
                  <a:gd name="T55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1" h="25">
                    <a:moveTo>
                      <a:pt x="23" y="0"/>
                    </a:moveTo>
                    <a:cubicBezTo>
                      <a:pt x="22" y="0"/>
                      <a:pt x="21" y="0"/>
                      <a:pt x="20" y="0"/>
                    </a:cubicBezTo>
                    <a:cubicBezTo>
                      <a:pt x="17" y="1"/>
                      <a:pt x="15" y="3"/>
                      <a:pt x="15" y="6"/>
                    </a:cubicBezTo>
                    <a:cubicBezTo>
                      <a:pt x="14" y="5"/>
                      <a:pt x="13" y="4"/>
                      <a:pt x="12" y="3"/>
                    </a:cubicBezTo>
                    <a:cubicBezTo>
                      <a:pt x="11" y="3"/>
                      <a:pt x="10" y="3"/>
                      <a:pt x="8" y="3"/>
                    </a:cubicBezTo>
                    <a:cubicBezTo>
                      <a:pt x="6" y="4"/>
                      <a:pt x="4" y="6"/>
                      <a:pt x="3" y="9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5" y="25"/>
                      <a:pt x="5" y="25"/>
                      <a:pt x="5" y="25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4" y="11"/>
                      <a:pt x="4" y="10"/>
                      <a:pt x="5" y="8"/>
                    </a:cubicBezTo>
                    <a:cubicBezTo>
                      <a:pt x="6" y="7"/>
                      <a:pt x="7" y="6"/>
                      <a:pt x="8" y="6"/>
                    </a:cubicBezTo>
                    <a:cubicBezTo>
                      <a:pt x="9" y="6"/>
                      <a:pt x="10" y="6"/>
                      <a:pt x="11" y="6"/>
                    </a:cubicBezTo>
                    <a:cubicBezTo>
                      <a:pt x="12" y="7"/>
                      <a:pt x="12" y="8"/>
                      <a:pt x="13" y="9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9" y="21"/>
                      <a:pt x="19" y="21"/>
                      <a:pt x="19" y="21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6" y="8"/>
                      <a:pt x="16" y="7"/>
                      <a:pt x="17" y="5"/>
                    </a:cubicBezTo>
                    <a:cubicBezTo>
                      <a:pt x="17" y="4"/>
                      <a:pt x="18" y="3"/>
                      <a:pt x="20" y="3"/>
                    </a:cubicBezTo>
                    <a:cubicBezTo>
                      <a:pt x="20" y="3"/>
                      <a:pt x="21" y="3"/>
                      <a:pt x="22" y="3"/>
                    </a:cubicBezTo>
                    <a:cubicBezTo>
                      <a:pt x="23" y="3"/>
                      <a:pt x="23" y="4"/>
                      <a:pt x="24" y="4"/>
                    </a:cubicBezTo>
                    <a:cubicBezTo>
                      <a:pt x="24" y="5"/>
                      <a:pt x="24" y="6"/>
                      <a:pt x="25" y="7"/>
                    </a:cubicBezTo>
                    <a:cubicBezTo>
                      <a:pt x="28" y="19"/>
                      <a:pt x="28" y="19"/>
                      <a:pt x="28" y="19"/>
                    </a:cubicBezTo>
                    <a:cubicBezTo>
                      <a:pt x="31" y="18"/>
                      <a:pt x="31" y="18"/>
                      <a:pt x="31" y="18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7" y="5"/>
                      <a:pt x="27" y="3"/>
                      <a:pt x="26" y="2"/>
                    </a:cubicBezTo>
                    <a:cubicBezTo>
                      <a:pt x="26" y="1"/>
                      <a:pt x="25" y="1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94" name="Freeform 185"/>
              <p:cNvSpPr>
                <a:spLocks noEditPoints="1"/>
              </p:cNvSpPr>
              <p:nvPr/>
            </p:nvSpPr>
            <p:spPr bwMode="auto">
              <a:xfrm>
                <a:off x="2684463" y="2484438"/>
                <a:ext cx="71438" cy="82550"/>
              </a:xfrm>
              <a:custGeom>
                <a:avLst/>
                <a:gdLst>
                  <a:gd name="T0" fmla="*/ 14 w 19"/>
                  <a:gd name="T1" fmla="*/ 2 h 22"/>
                  <a:gd name="T2" fmla="*/ 7 w 19"/>
                  <a:gd name="T3" fmla="*/ 1 h 22"/>
                  <a:gd name="T4" fmla="*/ 1 w 19"/>
                  <a:gd name="T5" fmla="*/ 5 h 22"/>
                  <a:gd name="T6" fmla="*/ 1 w 19"/>
                  <a:gd name="T7" fmla="*/ 14 h 22"/>
                  <a:gd name="T8" fmla="*/ 5 w 19"/>
                  <a:gd name="T9" fmla="*/ 20 h 22"/>
                  <a:gd name="T10" fmla="*/ 12 w 19"/>
                  <a:gd name="T11" fmla="*/ 21 h 22"/>
                  <a:gd name="T12" fmla="*/ 17 w 19"/>
                  <a:gd name="T13" fmla="*/ 18 h 22"/>
                  <a:gd name="T14" fmla="*/ 19 w 19"/>
                  <a:gd name="T15" fmla="*/ 13 h 22"/>
                  <a:gd name="T16" fmla="*/ 16 w 19"/>
                  <a:gd name="T17" fmla="*/ 14 h 22"/>
                  <a:gd name="T18" fmla="*/ 12 w 19"/>
                  <a:gd name="T19" fmla="*/ 19 h 22"/>
                  <a:gd name="T20" fmla="*/ 8 w 19"/>
                  <a:gd name="T21" fmla="*/ 18 h 22"/>
                  <a:gd name="T22" fmla="*/ 4 w 19"/>
                  <a:gd name="T23" fmla="*/ 13 h 22"/>
                  <a:gd name="T24" fmla="*/ 18 w 19"/>
                  <a:gd name="T25" fmla="*/ 9 h 22"/>
                  <a:gd name="T26" fmla="*/ 14 w 19"/>
                  <a:gd name="T27" fmla="*/ 2 h 22"/>
                  <a:gd name="T28" fmla="*/ 4 w 19"/>
                  <a:gd name="T29" fmla="*/ 11 h 22"/>
                  <a:gd name="T30" fmla="*/ 4 w 19"/>
                  <a:gd name="T31" fmla="*/ 6 h 22"/>
                  <a:gd name="T32" fmla="*/ 8 w 19"/>
                  <a:gd name="T33" fmla="*/ 3 h 22"/>
                  <a:gd name="T34" fmla="*/ 11 w 19"/>
                  <a:gd name="T35" fmla="*/ 3 h 22"/>
                  <a:gd name="T36" fmla="*/ 13 w 19"/>
                  <a:gd name="T37" fmla="*/ 5 h 22"/>
                  <a:gd name="T38" fmla="*/ 14 w 19"/>
                  <a:gd name="T39" fmla="*/ 8 h 22"/>
                  <a:gd name="T40" fmla="*/ 4 w 19"/>
                  <a:gd name="T41" fmla="*/ 1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9" h="22">
                    <a:moveTo>
                      <a:pt x="14" y="2"/>
                    </a:moveTo>
                    <a:cubicBezTo>
                      <a:pt x="12" y="0"/>
                      <a:pt x="10" y="0"/>
                      <a:pt x="7" y="1"/>
                    </a:cubicBezTo>
                    <a:cubicBezTo>
                      <a:pt x="5" y="2"/>
                      <a:pt x="3" y="3"/>
                      <a:pt x="1" y="5"/>
                    </a:cubicBezTo>
                    <a:cubicBezTo>
                      <a:pt x="0" y="8"/>
                      <a:pt x="0" y="10"/>
                      <a:pt x="1" y="14"/>
                    </a:cubicBezTo>
                    <a:cubicBezTo>
                      <a:pt x="2" y="17"/>
                      <a:pt x="3" y="19"/>
                      <a:pt x="5" y="20"/>
                    </a:cubicBezTo>
                    <a:cubicBezTo>
                      <a:pt x="7" y="22"/>
                      <a:pt x="10" y="22"/>
                      <a:pt x="12" y="21"/>
                    </a:cubicBezTo>
                    <a:cubicBezTo>
                      <a:pt x="14" y="21"/>
                      <a:pt x="16" y="20"/>
                      <a:pt x="17" y="18"/>
                    </a:cubicBezTo>
                    <a:cubicBezTo>
                      <a:pt x="18" y="17"/>
                      <a:pt x="19" y="15"/>
                      <a:pt x="19" y="13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6" y="16"/>
                      <a:pt x="14" y="18"/>
                      <a:pt x="12" y="19"/>
                    </a:cubicBezTo>
                    <a:cubicBezTo>
                      <a:pt x="11" y="19"/>
                      <a:pt x="9" y="19"/>
                      <a:pt x="8" y="18"/>
                    </a:cubicBezTo>
                    <a:cubicBezTo>
                      <a:pt x="6" y="18"/>
                      <a:pt x="5" y="16"/>
                      <a:pt x="4" y="13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7" y="6"/>
                      <a:pt x="16" y="3"/>
                      <a:pt x="14" y="2"/>
                    </a:cubicBezTo>
                    <a:close/>
                    <a:moveTo>
                      <a:pt x="4" y="11"/>
                    </a:moveTo>
                    <a:cubicBezTo>
                      <a:pt x="3" y="9"/>
                      <a:pt x="4" y="7"/>
                      <a:pt x="4" y="6"/>
                    </a:cubicBezTo>
                    <a:cubicBezTo>
                      <a:pt x="5" y="4"/>
                      <a:pt x="6" y="4"/>
                      <a:pt x="8" y="3"/>
                    </a:cubicBezTo>
                    <a:cubicBezTo>
                      <a:pt x="9" y="3"/>
                      <a:pt x="10" y="3"/>
                      <a:pt x="11" y="3"/>
                    </a:cubicBezTo>
                    <a:cubicBezTo>
                      <a:pt x="12" y="4"/>
                      <a:pt x="13" y="4"/>
                      <a:pt x="13" y="5"/>
                    </a:cubicBezTo>
                    <a:cubicBezTo>
                      <a:pt x="14" y="6"/>
                      <a:pt x="14" y="7"/>
                      <a:pt x="14" y="8"/>
                    </a:cubicBezTo>
                    <a:lnTo>
                      <a:pt x="4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95" name="Freeform 186"/>
              <p:cNvSpPr/>
              <p:nvPr/>
            </p:nvSpPr>
            <p:spPr bwMode="auto">
              <a:xfrm>
                <a:off x="2760663" y="2466976"/>
                <a:ext cx="79375" cy="82550"/>
              </a:xfrm>
              <a:custGeom>
                <a:avLst/>
                <a:gdLst>
                  <a:gd name="T0" fmla="*/ 13 w 21"/>
                  <a:gd name="T1" fmla="*/ 0 h 22"/>
                  <a:gd name="T2" fmla="*/ 9 w 21"/>
                  <a:gd name="T3" fmla="*/ 0 h 22"/>
                  <a:gd name="T4" fmla="*/ 4 w 21"/>
                  <a:gd name="T5" fmla="*/ 6 h 22"/>
                  <a:gd name="T6" fmla="*/ 3 w 21"/>
                  <a:gd name="T7" fmla="*/ 2 h 22"/>
                  <a:gd name="T8" fmla="*/ 0 w 21"/>
                  <a:gd name="T9" fmla="*/ 3 h 22"/>
                  <a:gd name="T10" fmla="*/ 5 w 21"/>
                  <a:gd name="T11" fmla="*/ 22 h 22"/>
                  <a:gd name="T12" fmla="*/ 8 w 21"/>
                  <a:gd name="T13" fmla="*/ 22 h 22"/>
                  <a:gd name="T14" fmla="*/ 6 w 21"/>
                  <a:gd name="T15" fmla="*/ 11 h 22"/>
                  <a:gd name="T16" fmla="*/ 6 w 21"/>
                  <a:gd name="T17" fmla="*/ 6 h 22"/>
                  <a:gd name="T18" fmla="*/ 9 w 21"/>
                  <a:gd name="T19" fmla="*/ 3 h 22"/>
                  <a:gd name="T20" fmla="*/ 12 w 21"/>
                  <a:gd name="T21" fmla="*/ 3 h 22"/>
                  <a:gd name="T22" fmla="*/ 15 w 21"/>
                  <a:gd name="T23" fmla="*/ 7 h 22"/>
                  <a:gd name="T24" fmla="*/ 18 w 21"/>
                  <a:gd name="T25" fmla="*/ 19 h 22"/>
                  <a:gd name="T26" fmla="*/ 21 w 21"/>
                  <a:gd name="T27" fmla="*/ 18 h 22"/>
                  <a:gd name="T28" fmla="*/ 18 w 21"/>
                  <a:gd name="T29" fmla="*/ 7 h 22"/>
                  <a:gd name="T30" fmla="*/ 16 w 21"/>
                  <a:gd name="T31" fmla="*/ 2 h 22"/>
                  <a:gd name="T32" fmla="*/ 13 w 21"/>
                  <a:gd name="T3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1" h="22">
                    <a:moveTo>
                      <a:pt x="13" y="0"/>
                    </a:moveTo>
                    <a:cubicBezTo>
                      <a:pt x="12" y="0"/>
                      <a:pt x="11" y="0"/>
                      <a:pt x="9" y="0"/>
                    </a:cubicBezTo>
                    <a:cubicBezTo>
                      <a:pt x="7" y="1"/>
                      <a:pt x="5" y="3"/>
                      <a:pt x="4" y="6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5" y="9"/>
                      <a:pt x="5" y="7"/>
                      <a:pt x="6" y="6"/>
                    </a:cubicBezTo>
                    <a:cubicBezTo>
                      <a:pt x="7" y="4"/>
                      <a:pt x="8" y="3"/>
                      <a:pt x="9" y="3"/>
                    </a:cubicBezTo>
                    <a:cubicBezTo>
                      <a:pt x="10" y="2"/>
                      <a:pt x="11" y="3"/>
                      <a:pt x="12" y="3"/>
                    </a:cubicBezTo>
                    <a:cubicBezTo>
                      <a:pt x="13" y="4"/>
                      <a:pt x="14" y="5"/>
                      <a:pt x="15" y="7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17" y="5"/>
                      <a:pt x="16" y="3"/>
                      <a:pt x="16" y="2"/>
                    </a:cubicBezTo>
                    <a:cubicBezTo>
                      <a:pt x="15" y="1"/>
                      <a:pt x="14" y="1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96" name="Freeform 187"/>
              <p:cNvSpPr/>
              <p:nvPr/>
            </p:nvSpPr>
            <p:spPr bwMode="auto">
              <a:xfrm>
                <a:off x="2832100" y="2432051"/>
                <a:ext cx="63500" cy="98425"/>
              </a:xfrm>
              <a:custGeom>
                <a:avLst/>
                <a:gdLst>
                  <a:gd name="T0" fmla="*/ 14 w 17"/>
                  <a:gd name="T1" fmla="*/ 22 h 26"/>
                  <a:gd name="T2" fmla="*/ 10 w 17"/>
                  <a:gd name="T3" fmla="*/ 20 h 26"/>
                  <a:gd name="T4" fmla="*/ 7 w 17"/>
                  <a:gd name="T5" fmla="*/ 8 h 26"/>
                  <a:gd name="T6" fmla="*/ 11 w 17"/>
                  <a:gd name="T7" fmla="*/ 7 h 26"/>
                  <a:gd name="T8" fmla="*/ 10 w 17"/>
                  <a:gd name="T9" fmla="*/ 4 h 26"/>
                  <a:gd name="T10" fmla="*/ 6 w 17"/>
                  <a:gd name="T11" fmla="*/ 5 h 26"/>
                  <a:gd name="T12" fmla="*/ 5 w 17"/>
                  <a:gd name="T13" fmla="*/ 0 h 26"/>
                  <a:gd name="T14" fmla="*/ 2 w 17"/>
                  <a:gd name="T15" fmla="*/ 1 h 26"/>
                  <a:gd name="T16" fmla="*/ 3 w 17"/>
                  <a:gd name="T17" fmla="*/ 6 h 26"/>
                  <a:gd name="T18" fmla="*/ 0 w 17"/>
                  <a:gd name="T19" fmla="*/ 7 h 26"/>
                  <a:gd name="T20" fmla="*/ 0 w 17"/>
                  <a:gd name="T21" fmla="*/ 9 h 26"/>
                  <a:gd name="T22" fmla="*/ 4 w 17"/>
                  <a:gd name="T23" fmla="*/ 9 h 26"/>
                  <a:gd name="T24" fmla="*/ 7 w 17"/>
                  <a:gd name="T25" fmla="*/ 20 h 26"/>
                  <a:gd name="T26" fmla="*/ 14 w 17"/>
                  <a:gd name="T27" fmla="*/ 25 h 26"/>
                  <a:gd name="T28" fmla="*/ 17 w 17"/>
                  <a:gd name="T29" fmla="*/ 24 h 26"/>
                  <a:gd name="T30" fmla="*/ 16 w 17"/>
                  <a:gd name="T31" fmla="*/ 21 h 26"/>
                  <a:gd name="T32" fmla="*/ 14 w 17"/>
                  <a:gd name="T33" fmla="*/ 2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" h="26">
                    <a:moveTo>
                      <a:pt x="14" y="22"/>
                    </a:moveTo>
                    <a:cubicBezTo>
                      <a:pt x="12" y="23"/>
                      <a:pt x="10" y="22"/>
                      <a:pt x="10" y="20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7" y="20"/>
                      <a:pt x="7" y="20"/>
                      <a:pt x="7" y="20"/>
                    </a:cubicBezTo>
                    <a:cubicBezTo>
                      <a:pt x="8" y="24"/>
                      <a:pt x="10" y="26"/>
                      <a:pt x="14" y="25"/>
                    </a:cubicBezTo>
                    <a:cubicBezTo>
                      <a:pt x="15" y="24"/>
                      <a:pt x="16" y="24"/>
                      <a:pt x="17" y="24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5" y="22"/>
                      <a:pt x="14" y="22"/>
                      <a:pt x="14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97" name="Freeform 188"/>
              <p:cNvSpPr>
                <a:spLocks noEditPoints="1"/>
              </p:cNvSpPr>
              <p:nvPr/>
            </p:nvSpPr>
            <p:spPr bwMode="auto">
              <a:xfrm>
                <a:off x="3181350" y="4006851"/>
                <a:ext cx="585788" cy="623888"/>
              </a:xfrm>
              <a:custGeom>
                <a:avLst/>
                <a:gdLst>
                  <a:gd name="T0" fmla="*/ 62 w 156"/>
                  <a:gd name="T1" fmla="*/ 118 h 166"/>
                  <a:gd name="T2" fmla="*/ 95 w 156"/>
                  <a:gd name="T3" fmla="*/ 130 h 166"/>
                  <a:gd name="T4" fmla="*/ 77 w 156"/>
                  <a:gd name="T5" fmla="*/ 94 h 166"/>
                  <a:gd name="T6" fmla="*/ 70 w 156"/>
                  <a:gd name="T7" fmla="*/ 95 h 166"/>
                  <a:gd name="T8" fmla="*/ 12 w 156"/>
                  <a:gd name="T9" fmla="*/ 80 h 166"/>
                  <a:gd name="T10" fmla="*/ 39 w 156"/>
                  <a:gd name="T11" fmla="*/ 20 h 166"/>
                  <a:gd name="T12" fmla="*/ 32 w 156"/>
                  <a:gd name="T13" fmla="*/ 6 h 166"/>
                  <a:gd name="T14" fmla="*/ 44 w 156"/>
                  <a:gd name="T15" fmla="*/ 0 h 166"/>
                  <a:gd name="T16" fmla="*/ 51 w 156"/>
                  <a:gd name="T17" fmla="*/ 14 h 166"/>
                  <a:gd name="T18" fmla="*/ 114 w 156"/>
                  <a:gd name="T19" fmla="*/ 29 h 166"/>
                  <a:gd name="T20" fmla="*/ 86 w 156"/>
                  <a:gd name="T21" fmla="*/ 43 h 166"/>
                  <a:gd name="T22" fmla="*/ 61 w 156"/>
                  <a:gd name="T23" fmla="*/ 34 h 166"/>
                  <a:gd name="T24" fmla="*/ 77 w 156"/>
                  <a:gd name="T25" fmla="*/ 65 h 166"/>
                  <a:gd name="T26" fmla="*/ 88 w 156"/>
                  <a:gd name="T27" fmla="*/ 63 h 166"/>
                  <a:gd name="T28" fmla="*/ 148 w 156"/>
                  <a:gd name="T29" fmla="*/ 83 h 166"/>
                  <a:gd name="T30" fmla="*/ 117 w 156"/>
                  <a:gd name="T31" fmla="*/ 145 h 166"/>
                  <a:gd name="T32" fmla="*/ 125 w 156"/>
                  <a:gd name="T33" fmla="*/ 160 h 166"/>
                  <a:gd name="T34" fmla="*/ 113 w 156"/>
                  <a:gd name="T35" fmla="*/ 166 h 166"/>
                  <a:gd name="T36" fmla="*/ 106 w 156"/>
                  <a:gd name="T37" fmla="*/ 151 h 166"/>
                  <a:gd name="T38" fmla="*/ 34 w 156"/>
                  <a:gd name="T39" fmla="*/ 132 h 166"/>
                  <a:gd name="T40" fmla="*/ 62 w 156"/>
                  <a:gd name="T41" fmla="*/ 118 h 166"/>
                  <a:gd name="T42" fmla="*/ 49 w 156"/>
                  <a:gd name="T43" fmla="*/ 40 h 166"/>
                  <a:gd name="T44" fmla="*/ 39 w 156"/>
                  <a:gd name="T45" fmla="*/ 64 h 166"/>
                  <a:gd name="T46" fmla="*/ 64 w 156"/>
                  <a:gd name="T47" fmla="*/ 69 h 166"/>
                  <a:gd name="T48" fmla="*/ 49 w 156"/>
                  <a:gd name="T49" fmla="*/ 40 h 166"/>
                  <a:gd name="T50" fmla="*/ 107 w 156"/>
                  <a:gd name="T51" fmla="*/ 125 h 166"/>
                  <a:gd name="T52" fmla="*/ 120 w 156"/>
                  <a:gd name="T53" fmla="*/ 97 h 166"/>
                  <a:gd name="T54" fmla="*/ 90 w 156"/>
                  <a:gd name="T55" fmla="*/ 91 h 166"/>
                  <a:gd name="T56" fmla="*/ 107 w 156"/>
                  <a:gd name="T57" fmla="*/ 125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56" h="166">
                    <a:moveTo>
                      <a:pt x="62" y="118"/>
                    </a:moveTo>
                    <a:cubicBezTo>
                      <a:pt x="69" y="131"/>
                      <a:pt x="82" y="134"/>
                      <a:pt x="95" y="130"/>
                    </a:cubicBezTo>
                    <a:cubicBezTo>
                      <a:pt x="77" y="94"/>
                      <a:pt x="77" y="94"/>
                      <a:pt x="77" y="94"/>
                    </a:cubicBezTo>
                    <a:cubicBezTo>
                      <a:pt x="75" y="94"/>
                      <a:pt x="72" y="95"/>
                      <a:pt x="70" y="95"/>
                    </a:cubicBezTo>
                    <a:cubicBezTo>
                      <a:pt x="48" y="101"/>
                      <a:pt x="24" y="104"/>
                      <a:pt x="12" y="80"/>
                    </a:cubicBezTo>
                    <a:cubicBezTo>
                      <a:pt x="0" y="56"/>
                      <a:pt x="16" y="33"/>
                      <a:pt x="39" y="20"/>
                    </a:cubicBezTo>
                    <a:cubicBezTo>
                      <a:pt x="32" y="6"/>
                      <a:pt x="32" y="6"/>
                      <a:pt x="32" y="6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51" y="14"/>
                      <a:pt x="51" y="14"/>
                      <a:pt x="51" y="14"/>
                    </a:cubicBezTo>
                    <a:cubicBezTo>
                      <a:pt x="75" y="4"/>
                      <a:pt x="100" y="5"/>
                      <a:pt x="114" y="29"/>
                    </a:cubicBezTo>
                    <a:cubicBezTo>
                      <a:pt x="86" y="43"/>
                      <a:pt x="86" y="43"/>
                      <a:pt x="86" y="43"/>
                    </a:cubicBezTo>
                    <a:cubicBezTo>
                      <a:pt x="81" y="34"/>
                      <a:pt x="70" y="30"/>
                      <a:pt x="61" y="34"/>
                    </a:cubicBezTo>
                    <a:cubicBezTo>
                      <a:pt x="77" y="65"/>
                      <a:pt x="77" y="65"/>
                      <a:pt x="77" y="65"/>
                    </a:cubicBezTo>
                    <a:cubicBezTo>
                      <a:pt x="80" y="64"/>
                      <a:pt x="84" y="64"/>
                      <a:pt x="88" y="63"/>
                    </a:cubicBezTo>
                    <a:cubicBezTo>
                      <a:pt x="132" y="52"/>
                      <a:pt x="142" y="72"/>
                      <a:pt x="148" y="83"/>
                    </a:cubicBezTo>
                    <a:cubicBezTo>
                      <a:pt x="153" y="93"/>
                      <a:pt x="156" y="123"/>
                      <a:pt x="117" y="145"/>
                    </a:cubicBezTo>
                    <a:cubicBezTo>
                      <a:pt x="125" y="160"/>
                      <a:pt x="125" y="160"/>
                      <a:pt x="125" y="160"/>
                    </a:cubicBezTo>
                    <a:cubicBezTo>
                      <a:pt x="113" y="166"/>
                      <a:pt x="113" y="166"/>
                      <a:pt x="113" y="166"/>
                    </a:cubicBezTo>
                    <a:cubicBezTo>
                      <a:pt x="106" y="151"/>
                      <a:pt x="106" y="151"/>
                      <a:pt x="106" y="151"/>
                    </a:cubicBezTo>
                    <a:cubicBezTo>
                      <a:pt x="75" y="164"/>
                      <a:pt x="51" y="158"/>
                      <a:pt x="34" y="132"/>
                    </a:cubicBezTo>
                    <a:lnTo>
                      <a:pt x="62" y="118"/>
                    </a:lnTo>
                    <a:close/>
                    <a:moveTo>
                      <a:pt x="49" y="40"/>
                    </a:moveTo>
                    <a:cubicBezTo>
                      <a:pt x="41" y="45"/>
                      <a:pt x="34" y="54"/>
                      <a:pt x="39" y="64"/>
                    </a:cubicBezTo>
                    <a:cubicBezTo>
                      <a:pt x="43" y="71"/>
                      <a:pt x="50" y="73"/>
                      <a:pt x="64" y="69"/>
                    </a:cubicBezTo>
                    <a:lnTo>
                      <a:pt x="49" y="40"/>
                    </a:lnTo>
                    <a:close/>
                    <a:moveTo>
                      <a:pt x="107" y="125"/>
                    </a:moveTo>
                    <a:cubicBezTo>
                      <a:pt x="116" y="119"/>
                      <a:pt x="125" y="108"/>
                      <a:pt x="120" y="97"/>
                    </a:cubicBezTo>
                    <a:cubicBezTo>
                      <a:pt x="115" y="87"/>
                      <a:pt x="107" y="87"/>
                      <a:pt x="90" y="91"/>
                    </a:cubicBezTo>
                    <a:lnTo>
                      <a:pt x="107" y="12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98" name="Freeform 189"/>
              <p:cNvSpPr/>
              <p:nvPr/>
            </p:nvSpPr>
            <p:spPr bwMode="auto">
              <a:xfrm>
                <a:off x="4038600" y="2132013"/>
                <a:ext cx="93663" cy="93663"/>
              </a:xfrm>
              <a:custGeom>
                <a:avLst/>
                <a:gdLst>
                  <a:gd name="T0" fmla="*/ 23 w 25"/>
                  <a:gd name="T1" fmla="*/ 8 h 25"/>
                  <a:gd name="T2" fmla="*/ 7 w 25"/>
                  <a:gd name="T3" fmla="*/ 23 h 25"/>
                  <a:gd name="T4" fmla="*/ 1 w 25"/>
                  <a:gd name="T5" fmla="*/ 23 h 25"/>
                  <a:gd name="T6" fmla="*/ 1 w 25"/>
                  <a:gd name="T7" fmla="*/ 17 h 25"/>
                  <a:gd name="T8" fmla="*/ 18 w 25"/>
                  <a:gd name="T9" fmla="*/ 2 h 25"/>
                  <a:gd name="T10" fmla="*/ 23 w 25"/>
                  <a:gd name="T11" fmla="*/ 2 h 25"/>
                  <a:gd name="T12" fmla="*/ 23 w 25"/>
                  <a:gd name="T13" fmla="*/ 8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25">
                    <a:moveTo>
                      <a:pt x="23" y="8"/>
                    </a:moveTo>
                    <a:cubicBezTo>
                      <a:pt x="7" y="23"/>
                      <a:pt x="7" y="23"/>
                      <a:pt x="7" y="23"/>
                    </a:cubicBezTo>
                    <a:cubicBezTo>
                      <a:pt x="5" y="25"/>
                      <a:pt x="3" y="25"/>
                      <a:pt x="1" y="23"/>
                    </a:cubicBezTo>
                    <a:cubicBezTo>
                      <a:pt x="0" y="21"/>
                      <a:pt x="0" y="19"/>
                      <a:pt x="1" y="17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9" y="0"/>
                      <a:pt x="22" y="1"/>
                      <a:pt x="23" y="2"/>
                    </a:cubicBezTo>
                    <a:cubicBezTo>
                      <a:pt x="25" y="4"/>
                      <a:pt x="25" y="6"/>
                      <a:pt x="23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99" name="Freeform 190"/>
              <p:cNvSpPr/>
              <p:nvPr/>
            </p:nvSpPr>
            <p:spPr bwMode="auto">
              <a:xfrm>
                <a:off x="3624263" y="2105026"/>
                <a:ext cx="112713" cy="117475"/>
              </a:xfrm>
              <a:custGeom>
                <a:avLst/>
                <a:gdLst>
                  <a:gd name="T0" fmla="*/ 29 w 30"/>
                  <a:gd name="T1" fmla="*/ 30 h 31"/>
                  <a:gd name="T2" fmla="*/ 23 w 30"/>
                  <a:gd name="T3" fmla="*/ 30 h 31"/>
                  <a:gd name="T4" fmla="*/ 1 w 30"/>
                  <a:gd name="T5" fmla="*/ 7 h 31"/>
                  <a:gd name="T6" fmla="*/ 2 w 30"/>
                  <a:gd name="T7" fmla="*/ 1 h 31"/>
                  <a:gd name="T8" fmla="*/ 7 w 30"/>
                  <a:gd name="T9" fmla="*/ 1 h 31"/>
                  <a:gd name="T10" fmla="*/ 29 w 30"/>
                  <a:gd name="T11" fmla="*/ 24 h 31"/>
                  <a:gd name="T12" fmla="*/ 29 w 30"/>
                  <a:gd name="T13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31">
                    <a:moveTo>
                      <a:pt x="29" y="30"/>
                    </a:moveTo>
                    <a:cubicBezTo>
                      <a:pt x="27" y="31"/>
                      <a:pt x="25" y="31"/>
                      <a:pt x="23" y="30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0" y="3"/>
                      <a:pt x="2" y="1"/>
                    </a:cubicBezTo>
                    <a:cubicBezTo>
                      <a:pt x="3" y="0"/>
                      <a:pt x="6" y="0"/>
                      <a:pt x="7" y="1"/>
                    </a:cubicBezTo>
                    <a:cubicBezTo>
                      <a:pt x="29" y="24"/>
                      <a:pt x="29" y="24"/>
                      <a:pt x="29" y="24"/>
                    </a:cubicBezTo>
                    <a:cubicBezTo>
                      <a:pt x="30" y="26"/>
                      <a:pt x="30" y="28"/>
                      <a:pt x="29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00" name="Freeform 191"/>
              <p:cNvSpPr/>
              <p:nvPr/>
            </p:nvSpPr>
            <p:spPr bwMode="auto">
              <a:xfrm>
                <a:off x="3535363" y="2360613"/>
                <a:ext cx="127000" cy="34925"/>
              </a:xfrm>
              <a:custGeom>
                <a:avLst/>
                <a:gdLst>
                  <a:gd name="T0" fmla="*/ 33 w 34"/>
                  <a:gd name="T1" fmla="*/ 7 h 9"/>
                  <a:gd name="T2" fmla="*/ 30 w 34"/>
                  <a:gd name="T3" fmla="*/ 8 h 9"/>
                  <a:gd name="T4" fmla="*/ 4 w 34"/>
                  <a:gd name="T5" fmla="*/ 9 h 9"/>
                  <a:gd name="T6" fmla="*/ 0 w 34"/>
                  <a:gd name="T7" fmla="*/ 5 h 9"/>
                  <a:gd name="T8" fmla="*/ 4 w 34"/>
                  <a:gd name="T9" fmla="*/ 1 h 9"/>
                  <a:gd name="T10" fmla="*/ 30 w 34"/>
                  <a:gd name="T11" fmla="*/ 0 h 9"/>
                  <a:gd name="T12" fmla="*/ 34 w 34"/>
                  <a:gd name="T13" fmla="*/ 4 h 9"/>
                  <a:gd name="T14" fmla="*/ 33 w 34"/>
                  <a:gd name="T15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9">
                    <a:moveTo>
                      <a:pt x="33" y="7"/>
                    </a:moveTo>
                    <a:cubicBezTo>
                      <a:pt x="32" y="8"/>
                      <a:pt x="31" y="8"/>
                      <a:pt x="30" y="8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1" y="9"/>
                      <a:pt x="0" y="7"/>
                      <a:pt x="0" y="5"/>
                    </a:cubicBezTo>
                    <a:cubicBezTo>
                      <a:pt x="0" y="3"/>
                      <a:pt x="1" y="1"/>
                      <a:pt x="4" y="1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2" y="0"/>
                      <a:pt x="34" y="2"/>
                      <a:pt x="34" y="4"/>
                    </a:cubicBezTo>
                    <a:cubicBezTo>
                      <a:pt x="34" y="6"/>
                      <a:pt x="33" y="7"/>
                      <a:pt x="3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01" name="Freeform 192"/>
              <p:cNvSpPr/>
              <p:nvPr/>
            </p:nvSpPr>
            <p:spPr bwMode="auto">
              <a:xfrm>
                <a:off x="3884613" y="2033588"/>
                <a:ext cx="36513" cy="128588"/>
              </a:xfrm>
              <a:custGeom>
                <a:avLst/>
                <a:gdLst>
                  <a:gd name="T0" fmla="*/ 7 w 10"/>
                  <a:gd name="T1" fmla="*/ 33 h 34"/>
                  <a:gd name="T2" fmla="*/ 4 w 10"/>
                  <a:gd name="T3" fmla="*/ 34 h 34"/>
                  <a:gd name="T4" fmla="*/ 0 w 10"/>
                  <a:gd name="T5" fmla="*/ 30 h 34"/>
                  <a:gd name="T6" fmla="*/ 2 w 10"/>
                  <a:gd name="T7" fmla="*/ 4 h 34"/>
                  <a:gd name="T8" fmla="*/ 6 w 10"/>
                  <a:gd name="T9" fmla="*/ 0 h 34"/>
                  <a:gd name="T10" fmla="*/ 10 w 10"/>
                  <a:gd name="T11" fmla="*/ 4 h 34"/>
                  <a:gd name="T12" fmla="*/ 8 w 10"/>
                  <a:gd name="T13" fmla="*/ 30 h 34"/>
                  <a:gd name="T14" fmla="*/ 7 w 10"/>
                  <a:gd name="T15" fmla="*/ 3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34">
                    <a:moveTo>
                      <a:pt x="7" y="33"/>
                    </a:moveTo>
                    <a:cubicBezTo>
                      <a:pt x="6" y="34"/>
                      <a:pt x="5" y="34"/>
                      <a:pt x="4" y="34"/>
                    </a:cubicBezTo>
                    <a:cubicBezTo>
                      <a:pt x="1" y="34"/>
                      <a:pt x="0" y="32"/>
                      <a:pt x="0" y="30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2" y="1"/>
                      <a:pt x="4" y="0"/>
                      <a:pt x="6" y="0"/>
                    </a:cubicBezTo>
                    <a:cubicBezTo>
                      <a:pt x="8" y="0"/>
                      <a:pt x="10" y="2"/>
                      <a:pt x="10" y="4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8" y="31"/>
                      <a:pt x="7" y="32"/>
                      <a:pt x="7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02" name="Freeform 193"/>
              <p:cNvSpPr>
                <a:spLocks noEditPoints="1"/>
              </p:cNvSpPr>
              <p:nvPr/>
            </p:nvSpPr>
            <p:spPr bwMode="auto">
              <a:xfrm>
                <a:off x="3695700" y="2200276"/>
                <a:ext cx="398463" cy="536575"/>
              </a:xfrm>
              <a:custGeom>
                <a:avLst/>
                <a:gdLst>
                  <a:gd name="T0" fmla="*/ 95 w 106"/>
                  <a:gd name="T1" fmla="*/ 29 h 143"/>
                  <a:gd name="T2" fmla="*/ 94 w 106"/>
                  <a:gd name="T3" fmla="*/ 26 h 143"/>
                  <a:gd name="T4" fmla="*/ 89 w 106"/>
                  <a:gd name="T5" fmla="*/ 19 h 143"/>
                  <a:gd name="T6" fmla="*/ 86 w 106"/>
                  <a:gd name="T7" fmla="*/ 16 h 143"/>
                  <a:gd name="T8" fmla="*/ 85 w 106"/>
                  <a:gd name="T9" fmla="*/ 15 h 143"/>
                  <a:gd name="T10" fmla="*/ 34 w 106"/>
                  <a:gd name="T11" fmla="*/ 5 h 143"/>
                  <a:gd name="T12" fmla="*/ 59 w 106"/>
                  <a:gd name="T13" fmla="*/ 108 h 143"/>
                  <a:gd name="T14" fmla="*/ 60 w 106"/>
                  <a:gd name="T15" fmla="*/ 111 h 143"/>
                  <a:gd name="T16" fmla="*/ 61 w 106"/>
                  <a:gd name="T17" fmla="*/ 115 h 143"/>
                  <a:gd name="T18" fmla="*/ 61 w 106"/>
                  <a:gd name="T19" fmla="*/ 116 h 143"/>
                  <a:gd name="T20" fmla="*/ 64 w 106"/>
                  <a:gd name="T21" fmla="*/ 121 h 143"/>
                  <a:gd name="T22" fmla="*/ 64 w 106"/>
                  <a:gd name="T23" fmla="*/ 128 h 143"/>
                  <a:gd name="T24" fmla="*/ 69 w 106"/>
                  <a:gd name="T25" fmla="*/ 133 h 143"/>
                  <a:gd name="T26" fmla="*/ 70 w 106"/>
                  <a:gd name="T27" fmla="*/ 135 h 143"/>
                  <a:gd name="T28" fmla="*/ 70 w 106"/>
                  <a:gd name="T29" fmla="*/ 136 h 143"/>
                  <a:gd name="T30" fmla="*/ 79 w 106"/>
                  <a:gd name="T31" fmla="*/ 141 h 143"/>
                  <a:gd name="T32" fmla="*/ 85 w 106"/>
                  <a:gd name="T33" fmla="*/ 141 h 143"/>
                  <a:gd name="T34" fmla="*/ 99 w 106"/>
                  <a:gd name="T35" fmla="*/ 135 h 143"/>
                  <a:gd name="T36" fmla="*/ 102 w 106"/>
                  <a:gd name="T37" fmla="*/ 131 h 143"/>
                  <a:gd name="T38" fmla="*/ 105 w 106"/>
                  <a:gd name="T39" fmla="*/ 121 h 143"/>
                  <a:gd name="T40" fmla="*/ 102 w 106"/>
                  <a:gd name="T41" fmla="*/ 115 h 143"/>
                  <a:gd name="T42" fmla="*/ 99 w 106"/>
                  <a:gd name="T43" fmla="*/ 110 h 143"/>
                  <a:gd name="T44" fmla="*/ 99 w 106"/>
                  <a:gd name="T45" fmla="*/ 102 h 143"/>
                  <a:gd name="T46" fmla="*/ 93 w 106"/>
                  <a:gd name="T47" fmla="*/ 94 h 143"/>
                  <a:gd name="T48" fmla="*/ 93 w 106"/>
                  <a:gd name="T49" fmla="*/ 94 h 143"/>
                  <a:gd name="T50" fmla="*/ 92 w 106"/>
                  <a:gd name="T51" fmla="*/ 93 h 143"/>
                  <a:gd name="T52" fmla="*/ 79 w 106"/>
                  <a:gd name="T53" fmla="*/ 97 h 143"/>
                  <a:gd name="T54" fmla="*/ 72 w 106"/>
                  <a:gd name="T55" fmla="*/ 100 h 143"/>
                  <a:gd name="T56" fmla="*/ 59 w 106"/>
                  <a:gd name="T57" fmla="*/ 100 h 143"/>
                  <a:gd name="T58" fmla="*/ 37 w 106"/>
                  <a:gd name="T59" fmla="*/ 13 h 143"/>
                  <a:gd name="T60" fmla="*/ 81 w 106"/>
                  <a:gd name="T61" fmla="*/ 21 h 143"/>
                  <a:gd name="T62" fmla="*/ 82 w 106"/>
                  <a:gd name="T63" fmla="*/ 22 h 143"/>
                  <a:gd name="T64" fmla="*/ 84 w 106"/>
                  <a:gd name="T65" fmla="*/ 24 h 143"/>
                  <a:gd name="T66" fmla="*/ 88 w 106"/>
                  <a:gd name="T67" fmla="*/ 31 h 143"/>
                  <a:gd name="T68" fmla="*/ 89 w 106"/>
                  <a:gd name="T69" fmla="*/ 33 h 143"/>
                  <a:gd name="T70" fmla="*/ 87 w 106"/>
                  <a:gd name="T71" fmla="*/ 88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6" h="143">
                    <a:moveTo>
                      <a:pt x="96" y="31"/>
                    </a:moveTo>
                    <a:cubicBezTo>
                      <a:pt x="96" y="31"/>
                      <a:pt x="96" y="30"/>
                      <a:pt x="95" y="29"/>
                    </a:cubicBezTo>
                    <a:cubicBezTo>
                      <a:pt x="95" y="29"/>
                      <a:pt x="95" y="28"/>
                      <a:pt x="95" y="28"/>
                    </a:cubicBezTo>
                    <a:cubicBezTo>
                      <a:pt x="94" y="27"/>
                      <a:pt x="94" y="27"/>
                      <a:pt x="94" y="26"/>
                    </a:cubicBezTo>
                    <a:cubicBezTo>
                      <a:pt x="93" y="24"/>
                      <a:pt x="92" y="22"/>
                      <a:pt x="90" y="21"/>
                    </a:cubicBezTo>
                    <a:cubicBezTo>
                      <a:pt x="90" y="20"/>
                      <a:pt x="89" y="19"/>
                      <a:pt x="89" y="19"/>
                    </a:cubicBezTo>
                    <a:cubicBezTo>
                      <a:pt x="88" y="18"/>
                      <a:pt x="87" y="17"/>
                      <a:pt x="87" y="16"/>
                    </a:cubicBezTo>
                    <a:cubicBezTo>
                      <a:pt x="86" y="16"/>
                      <a:pt x="86" y="16"/>
                      <a:pt x="86" y="16"/>
                    </a:cubicBezTo>
                    <a:cubicBezTo>
                      <a:pt x="86" y="15"/>
                      <a:pt x="86" y="15"/>
                      <a:pt x="86" y="15"/>
                    </a:cubicBezTo>
                    <a:cubicBezTo>
                      <a:pt x="85" y="15"/>
                      <a:pt x="85" y="15"/>
                      <a:pt x="85" y="15"/>
                    </a:cubicBezTo>
                    <a:cubicBezTo>
                      <a:pt x="81" y="11"/>
                      <a:pt x="77" y="8"/>
                      <a:pt x="72" y="6"/>
                    </a:cubicBezTo>
                    <a:cubicBezTo>
                      <a:pt x="60" y="0"/>
                      <a:pt x="46" y="0"/>
                      <a:pt x="34" y="5"/>
                    </a:cubicBezTo>
                    <a:cubicBezTo>
                      <a:pt x="10" y="16"/>
                      <a:pt x="0" y="43"/>
                      <a:pt x="10" y="67"/>
                    </a:cubicBezTo>
                    <a:cubicBezTo>
                      <a:pt x="18" y="84"/>
                      <a:pt x="42" y="93"/>
                      <a:pt x="59" y="108"/>
                    </a:cubicBezTo>
                    <a:cubicBezTo>
                      <a:pt x="58" y="108"/>
                      <a:pt x="58" y="108"/>
                      <a:pt x="58" y="109"/>
                    </a:cubicBezTo>
                    <a:cubicBezTo>
                      <a:pt x="60" y="111"/>
                      <a:pt x="60" y="111"/>
                      <a:pt x="60" y="111"/>
                    </a:cubicBezTo>
                    <a:cubicBezTo>
                      <a:pt x="60" y="111"/>
                      <a:pt x="60" y="111"/>
                      <a:pt x="60" y="111"/>
                    </a:cubicBezTo>
                    <a:cubicBezTo>
                      <a:pt x="61" y="115"/>
                      <a:pt x="61" y="115"/>
                      <a:pt x="61" y="115"/>
                    </a:cubicBezTo>
                    <a:cubicBezTo>
                      <a:pt x="61" y="115"/>
                      <a:pt x="61" y="115"/>
                      <a:pt x="61" y="115"/>
                    </a:cubicBezTo>
                    <a:cubicBezTo>
                      <a:pt x="61" y="116"/>
                      <a:pt x="61" y="116"/>
                      <a:pt x="61" y="116"/>
                    </a:cubicBezTo>
                    <a:cubicBezTo>
                      <a:pt x="60" y="117"/>
                      <a:pt x="60" y="118"/>
                      <a:pt x="60" y="119"/>
                    </a:cubicBezTo>
                    <a:cubicBezTo>
                      <a:pt x="61" y="120"/>
                      <a:pt x="62" y="121"/>
                      <a:pt x="64" y="121"/>
                    </a:cubicBezTo>
                    <a:cubicBezTo>
                      <a:pt x="65" y="125"/>
                      <a:pt x="65" y="125"/>
                      <a:pt x="65" y="125"/>
                    </a:cubicBezTo>
                    <a:cubicBezTo>
                      <a:pt x="64" y="126"/>
                      <a:pt x="64" y="127"/>
                      <a:pt x="64" y="128"/>
                    </a:cubicBezTo>
                    <a:cubicBezTo>
                      <a:pt x="65" y="129"/>
                      <a:pt x="66" y="129"/>
                      <a:pt x="68" y="130"/>
                    </a:cubicBezTo>
                    <a:cubicBezTo>
                      <a:pt x="69" y="133"/>
                      <a:pt x="69" y="133"/>
                      <a:pt x="69" y="133"/>
                    </a:cubicBezTo>
                    <a:cubicBezTo>
                      <a:pt x="69" y="133"/>
                      <a:pt x="69" y="133"/>
                      <a:pt x="69" y="133"/>
                    </a:cubicBezTo>
                    <a:cubicBezTo>
                      <a:pt x="70" y="135"/>
                      <a:pt x="70" y="135"/>
                      <a:pt x="70" y="135"/>
                    </a:cubicBezTo>
                    <a:cubicBezTo>
                      <a:pt x="70" y="135"/>
                      <a:pt x="70" y="135"/>
                      <a:pt x="70" y="135"/>
                    </a:cubicBezTo>
                    <a:cubicBezTo>
                      <a:pt x="70" y="136"/>
                      <a:pt x="70" y="136"/>
                      <a:pt x="70" y="136"/>
                    </a:cubicBezTo>
                    <a:cubicBezTo>
                      <a:pt x="71" y="137"/>
                      <a:pt x="72" y="138"/>
                      <a:pt x="75" y="138"/>
                    </a:cubicBezTo>
                    <a:cubicBezTo>
                      <a:pt x="77" y="139"/>
                      <a:pt x="78" y="140"/>
                      <a:pt x="79" y="141"/>
                    </a:cubicBezTo>
                    <a:cubicBezTo>
                      <a:pt x="80" y="142"/>
                      <a:pt x="81" y="143"/>
                      <a:pt x="82" y="142"/>
                    </a:cubicBezTo>
                    <a:cubicBezTo>
                      <a:pt x="83" y="142"/>
                      <a:pt x="84" y="142"/>
                      <a:pt x="85" y="141"/>
                    </a:cubicBezTo>
                    <a:cubicBezTo>
                      <a:pt x="88" y="142"/>
                      <a:pt x="90" y="142"/>
                      <a:pt x="93" y="141"/>
                    </a:cubicBezTo>
                    <a:cubicBezTo>
                      <a:pt x="96" y="140"/>
                      <a:pt x="98" y="138"/>
                      <a:pt x="99" y="135"/>
                    </a:cubicBezTo>
                    <a:cubicBezTo>
                      <a:pt x="100" y="135"/>
                      <a:pt x="100" y="135"/>
                      <a:pt x="100" y="134"/>
                    </a:cubicBezTo>
                    <a:cubicBezTo>
                      <a:pt x="102" y="134"/>
                      <a:pt x="102" y="132"/>
                      <a:pt x="102" y="131"/>
                    </a:cubicBezTo>
                    <a:cubicBezTo>
                      <a:pt x="102" y="130"/>
                      <a:pt x="102" y="128"/>
                      <a:pt x="103" y="127"/>
                    </a:cubicBezTo>
                    <a:cubicBezTo>
                      <a:pt x="105" y="124"/>
                      <a:pt x="106" y="122"/>
                      <a:pt x="105" y="121"/>
                    </a:cubicBezTo>
                    <a:cubicBezTo>
                      <a:pt x="105" y="120"/>
                      <a:pt x="104" y="120"/>
                      <a:pt x="104" y="120"/>
                    </a:cubicBezTo>
                    <a:cubicBezTo>
                      <a:pt x="102" y="115"/>
                      <a:pt x="102" y="115"/>
                      <a:pt x="102" y="115"/>
                    </a:cubicBezTo>
                    <a:cubicBezTo>
                      <a:pt x="103" y="113"/>
                      <a:pt x="103" y="112"/>
                      <a:pt x="103" y="111"/>
                    </a:cubicBezTo>
                    <a:cubicBezTo>
                      <a:pt x="102" y="110"/>
                      <a:pt x="101" y="109"/>
                      <a:pt x="99" y="110"/>
                    </a:cubicBezTo>
                    <a:cubicBezTo>
                      <a:pt x="98" y="106"/>
                      <a:pt x="98" y="106"/>
                      <a:pt x="98" y="106"/>
                    </a:cubicBezTo>
                    <a:cubicBezTo>
                      <a:pt x="99" y="104"/>
                      <a:pt x="99" y="103"/>
                      <a:pt x="99" y="102"/>
                    </a:cubicBezTo>
                    <a:cubicBezTo>
                      <a:pt x="98" y="101"/>
                      <a:pt x="97" y="100"/>
                      <a:pt x="95" y="100"/>
                    </a:cubicBezTo>
                    <a:cubicBezTo>
                      <a:pt x="93" y="94"/>
                      <a:pt x="93" y="94"/>
                      <a:pt x="93" y="94"/>
                    </a:cubicBezTo>
                    <a:cubicBezTo>
                      <a:pt x="93" y="94"/>
                      <a:pt x="93" y="94"/>
                      <a:pt x="93" y="94"/>
                    </a:cubicBezTo>
                    <a:cubicBezTo>
                      <a:pt x="93" y="94"/>
                      <a:pt x="93" y="94"/>
                      <a:pt x="93" y="94"/>
                    </a:cubicBezTo>
                    <a:cubicBezTo>
                      <a:pt x="93" y="94"/>
                      <a:pt x="93" y="94"/>
                      <a:pt x="93" y="94"/>
                    </a:cubicBezTo>
                    <a:cubicBezTo>
                      <a:pt x="92" y="93"/>
                      <a:pt x="92" y="93"/>
                      <a:pt x="92" y="93"/>
                    </a:cubicBezTo>
                    <a:cubicBezTo>
                      <a:pt x="90" y="73"/>
                      <a:pt x="103" y="49"/>
                      <a:pt x="96" y="31"/>
                    </a:cubicBezTo>
                    <a:close/>
                    <a:moveTo>
                      <a:pt x="79" y="97"/>
                    </a:moveTo>
                    <a:cubicBezTo>
                      <a:pt x="77" y="98"/>
                      <a:pt x="76" y="98"/>
                      <a:pt x="75" y="99"/>
                    </a:cubicBezTo>
                    <a:cubicBezTo>
                      <a:pt x="74" y="99"/>
                      <a:pt x="73" y="100"/>
                      <a:pt x="72" y="100"/>
                    </a:cubicBezTo>
                    <a:moveTo>
                      <a:pt x="69" y="101"/>
                    </a:moveTo>
                    <a:cubicBezTo>
                      <a:pt x="65" y="102"/>
                      <a:pt x="62" y="103"/>
                      <a:pt x="59" y="100"/>
                    </a:cubicBezTo>
                    <a:cubicBezTo>
                      <a:pt x="45" y="88"/>
                      <a:pt x="24" y="80"/>
                      <a:pt x="17" y="65"/>
                    </a:cubicBezTo>
                    <a:cubicBezTo>
                      <a:pt x="8" y="45"/>
                      <a:pt x="17" y="22"/>
                      <a:pt x="37" y="13"/>
                    </a:cubicBezTo>
                    <a:cubicBezTo>
                      <a:pt x="48" y="8"/>
                      <a:pt x="60" y="9"/>
                      <a:pt x="69" y="13"/>
                    </a:cubicBezTo>
                    <a:cubicBezTo>
                      <a:pt x="74" y="15"/>
                      <a:pt x="78" y="18"/>
                      <a:pt x="81" y="21"/>
                    </a:cubicBezTo>
                    <a:cubicBezTo>
                      <a:pt x="81" y="21"/>
                      <a:pt x="81" y="21"/>
                      <a:pt x="81" y="21"/>
                    </a:cubicBezTo>
                    <a:cubicBezTo>
                      <a:pt x="82" y="22"/>
                      <a:pt x="82" y="22"/>
                      <a:pt x="82" y="22"/>
                    </a:cubicBezTo>
                    <a:cubicBezTo>
                      <a:pt x="82" y="22"/>
                      <a:pt x="82" y="22"/>
                      <a:pt x="82" y="22"/>
                    </a:cubicBezTo>
                    <a:cubicBezTo>
                      <a:pt x="83" y="23"/>
                      <a:pt x="83" y="24"/>
                      <a:pt x="84" y="24"/>
                    </a:cubicBezTo>
                    <a:cubicBezTo>
                      <a:pt x="84" y="25"/>
                      <a:pt x="85" y="25"/>
                      <a:pt x="85" y="26"/>
                    </a:cubicBezTo>
                    <a:cubicBezTo>
                      <a:pt x="86" y="27"/>
                      <a:pt x="87" y="29"/>
                      <a:pt x="88" y="31"/>
                    </a:cubicBezTo>
                    <a:cubicBezTo>
                      <a:pt x="88" y="31"/>
                      <a:pt x="89" y="32"/>
                      <a:pt x="89" y="32"/>
                    </a:cubicBezTo>
                    <a:cubicBezTo>
                      <a:pt x="89" y="32"/>
                      <a:pt x="89" y="33"/>
                      <a:pt x="89" y="33"/>
                    </a:cubicBezTo>
                    <a:cubicBezTo>
                      <a:pt x="90" y="34"/>
                      <a:pt x="90" y="35"/>
                      <a:pt x="90" y="35"/>
                    </a:cubicBezTo>
                    <a:cubicBezTo>
                      <a:pt x="96" y="50"/>
                      <a:pt x="85" y="70"/>
                      <a:pt x="87" y="88"/>
                    </a:cubicBezTo>
                    <a:cubicBezTo>
                      <a:pt x="87" y="92"/>
                      <a:pt x="85" y="94"/>
                      <a:pt x="81" y="9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03" name="Freeform 194"/>
              <p:cNvSpPr/>
              <p:nvPr/>
            </p:nvSpPr>
            <p:spPr bwMode="auto">
              <a:xfrm>
                <a:off x="1606550" y="2816226"/>
                <a:ext cx="590550" cy="552450"/>
              </a:xfrm>
              <a:custGeom>
                <a:avLst/>
                <a:gdLst>
                  <a:gd name="T0" fmla="*/ 151 w 157"/>
                  <a:gd name="T1" fmla="*/ 6 h 147"/>
                  <a:gd name="T2" fmla="*/ 151 w 157"/>
                  <a:gd name="T3" fmla="*/ 6 h 147"/>
                  <a:gd name="T4" fmla="*/ 151 w 157"/>
                  <a:gd name="T5" fmla="*/ 5 h 147"/>
                  <a:gd name="T6" fmla="*/ 150 w 157"/>
                  <a:gd name="T7" fmla="*/ 4 h 147"/>
                  <a:gd name="T8" fmla="*/ 150 w 157"/>
                  <a:gd name="T9" fmla="*/ 3 h 147"/>
                  <a:gd name="T10" fmla="*/ 147 w 157"/>
                  <a:gd name="T11" fmla="*/ 1 h 147"/>
                  <a:gd name="T12" fmla="*/ 146 w 157"/>
                  <a:gd name="T13" fmla="*/ 1 h 147"/>
                  <a:gd name="T14" fmla="*/ 145 w 157"/>
                  <a:gd name="T15" fmla="*/ 1 h 147"/>
                  <a:gd name="T16" fmla="*/ 144 w 157"/>
                  <a:gd name="T17" fmla="*/ 1 h 147"/>
                  <a:gd name="T18" fmla="*/ 144 w 157"/>
                  <a:gd name="T19" fmla="*/ 1 h 147"/>
                  <a:gd name="T20" fmla="*/ 142 w 157"/>
                  <a:gd name="T21" fmla="*/ 1 h 147"/>
                  <a:gd name="T22" fmla="*/ 103 w 157"/>
                  <a:gd name="T23" fmla="*/ 6 h 147"/>
                  <a:gd name="T24" fmla="*/ 95 w 157"/>
                  <a:gd name="T25" fmla="*/ 16 h 147"/>
                  <a:gd name="T26" fmla="*/ 105 w 157"/>
                  <a:gd name="T27" fmla="*/ 23 h 147"/>
                  <a:gd name="T28" fmla="*/ 123 w 157"/>
                  <a:gd name="T29" fmla="*/ 21 h 147"/>
                  <a:gd name="T30" fmla="*/ 93 w 157"/>
                  <a:gd name="T31" fmla="*/ 63 h 147"/>
                  <a:gd name="T32" fmla="*/ 55 w 157"/>
                  <a:gd name="T33" fmla="*/ 68 h 147"/>
                  <a:gd name="T34" fmla="*/ 55 w 157"/>
                  <a:gd name="T35" fmla="*/ 68 h 147"/>
                  <a:gd name="T36" fmla="*/ 54 w 157"/>
                  <a:gd name="T37" fmla="*/ 68 h 147"/>
                  <a:gd name="T38" fmla="*/ 53 w 157"/>
                  <a:gd name="T39" fmla="*/ 69 h 147"/>
                  <a:gd name="T40" fmla="*/ 53 w 157"/>
                  <a:gd name="T41" fmla="*/ 69 h 147"/>
                  <a:gd name="T42" fmla="*/ 48 w 157"/>
                  <a:gd name="T43" fmla="*/ 73 h 147"/>
                  <a:gd name="T44" fmla="*/ 3 w 157"/>
                  <a:gd name="T45" fmla="*/ 133 h 147"/>
                  <a:gd name="T46" fmla="*/ 5 w 157"/>
                  <a:gd name="T47" fmla="*/ 145 h 147"/>
                  <a:gd name="T48" fmla="*/ 11 w 157"/>
                  <a:gd name="T49" fmla="*/ 147 h 147"/>
                  <a:gd name="T50" fmla="*/ 17 w 157"/>
                  <a:gd name="T51" fmla="*/ 143 h 147"/>
                  <a:gd name="T52" fmla="*/ 61 w 157"/>
                  <a:gd name="T53" fmla="*/ 85 h 147"/>
                  <a:gd name="T54" fmla="*/ 99 w 157"/>
                  <a:gd name="T55" fmla="*/ 80 h 147"/>
                  <a:gd name="T56" fmla="*/ 99 w 157"/>
                  <a:gd name="T57" fmla="*/ 80 h 147"/>
                  <a:gd name="T58" fmla="*/ 99 w 157"/>
                  <a:gd name="T59" fmla="*/ 80 h 147"/>
                  <a:gd name="T60" fmla="*/ 99 w 157"/>
                  <a:gd name="T61" fmla="*/ 80 h 147"/>
                  <a:gd name="T62" fmla="*/ 100 w 157"/>
                  <a:gd name="T63" fmla="*/ 80 h 147"/>
                  <a:gd name="T64" fmla="*/ 101 w 157"/>
                  <a:gd name="T65" fmla="*/ 79 h 147"/>
                  <a:gd name="T66" fmla="*/ 106 w 157"/>
                  <a:gd name="T67" fmla="*/ 75 h 147"/>
                  <a:gd name="T68" fmla="*/ 137 w 157"/>
                  <a:gd name="T69" fmla="*/ 32 h 147"/>
                  <a:gd name="T70" fmla="*/ 139 w 157"/>
                  <a:gd name="T71" fmla="*/ 45 h 147"/>
                  <a:gd name="T72" fmla="*/ 149 w 157"/>
                  <a:gd name="T73" fmla="*/ 53 h 147"/>
                  <a:gd name="T74" fmla="*/ 157 w 157"/>
                  <a:gd name="T75" fmla="*/ 43 h 147"/>
                  <a:gd name="T76" fmla="*/ 152 w 157"/>
                  <a:gd name="T77" fmla="*/ 8 h 147"/>
                  <a:gd name="T78" fmla="*/ 151 w 157"/>
                  <a:gd name="T79" fmla="*/ 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57" h="147">
                    <a:moveTo>
                      <a:pt x="151" y="6"/>
                    </a:moveTo>
                    <a:cubicBezTo>
                      <a:pt x="151" y="6"/>
                      <a:pt x="151" y="6"/>
                      <a:pt x="151" y="6"/>
                    </a:cubicBezTo>
                    <a:cubicBezTo>
                      <a:pt x="151" y="5"/>
                      <a:pt x="151" y="5"/>
                      <a:pt x="151" y="5"/>
                    </a:cubicBezTo>
                    <a:cubicBezTo>
                      <a:pt x="150" y="4"/>
                      <a:pt x="150" y="4"/>
                      <a:pt x="150" y="4"/>
                    </a:cubicBezTo>
                    <a:cubicBezTo>
                      <a:pt x="150" y="3"/>
                      <a:pt x="150" y="3"/>
                      <a:pt x="150" y="3"/>
                    </a:cubicBezTo>
                    <a:cubicBezTo>
                      <a:pt x="149" y="3"/>
                      <a:pt x="148" y="2"/>
                      <a:pt x="147" y="1"/>
                    </a:cubicBezTo>
                    <a:cubicBezTo>
                      <a:pt x="146" y="1"/>
                      <a:pt x="146" y="1"/>
                      <a:pt x="146" y="1"/>
                    </a:cubicBezTo>
                    <a:cubicBezTo>
                      <a:pt x="145" y="1"/>
                      <a:pt x="145" y="1"/>
                      <a:pt x="145" y="1"/>
                    </a:cubicBezTo>
                    <a:cubicBezTo>
                      <a:pt x="144" y="1"/>
                      <a:pt x="144" y="1"/>
                      <a:pt x="144" y="1"/>
                    </a:cubicBezTo>
                    <a:cubicBezTo>
                      <a:pt x="144" y="1"/>
                      <a:pt x="144" y="1"/>
                      <a:pt x="144" y="1"/>
                    </a:cubicBezTo>
                    <a:cubicBezTo>
                      <a:pt x="143" y="0"/>
                      <a:pt x="142" y="1"/>
                      <a:pt x="142" y="1"/>
                    </a:cubicBezTo>
                    <a:cubicBezTo>
                      <a:pt x="103" y="6"/>
                      <a:pt x="103" y="6"/>
                      <a:pt x="103" y="6"/>
                    </a:cubicBezTo>
                    <a:cubicBezTo>
                      <a:pt x="98" y="7"/>
                      <a:pt x="95" y="11"/>
                      <a:pt x="95" y="16"/>
                    </a:cubicBezTo>
                    <a:cubicBezTo>
                      <a:pt x="96" y="21"/>
                      <a:pt x="101" y="24"/>
                      <a:pt x="105" y="23"/>
                    </a:cubicBezTo>
                    <a:cubicBezTo>
                      <a:pt x="123" y="21"/>
                      <a:pt x="123" y="21"/>
                      <a:pt x="123" y="21"/>
                    </a:cubicBezTo>
                    <a:cubicBezTo>
                      <a:pt x="93" y="63"/>
                      <a:pt x="93" y="63"/>
                      <a:pt x="93" y="63"/>
                    </a:cubicBezTo>
                    <a:cubicBezTo>
                      <a:pt x="55" y="68"/>
                      <a:pt x="55" y="68"/>
                      <a:pt x="55" y="68"/>
                    </a:cubicBezTo>
                    <a:cubicBezTo>
                      <a:pt x="55" y="68"/>
                      <a:pt x="55" y="68"/>
                      <a:pt x="55" y="68"/>
                    </a:cubicBezTo>
                    <a:cubicBezTo>
                      <a:pt x="54" y="68"/>
                      <a:pt x="54" y="68"/>
                      <a:pt x="54" y="68"/>
                    </a:cubicBezTo>
                    <a:cubicBezTo>
                      <a:pt x="53" y="69"/>
                      <a:pt x="53" y="69"/>
                      <a:pt x="53" y="69"/>
                    </a:cubicBezTo>
                    <a:cubicBezTo>
                      <a:pt x="53" y="69"/>
                      <a:pt x="53" y="69"/>
                      <a:pt x="53" y="69"/>
                    </a:cubicBezTo>
                    <a:cubicBezTo>
                      <a:pt x="51" y="69"/>
                      <a:pt x="49" y="71"/>
                      <a:pt x="48" y="73"/>
                    </a:cubicBezTo>
                    <a:cubicBezTo>
                      <a:pt x="3" y="133"/>
                      <a:pt x="3" y="133"/>
                      <a:pt x="3" y="133"/>
                    </a:cubicBezTo>
                    <a:cubicBezTo>
                      <a:pt x="0" y="137"/>
                      <a:pt x="1" y="142"/>
                      <a:pt x="5" y="145"/>
                    </a:cubicBezTo>
                    <a:cubicBezTo>
                      <a:pt x="7" y="146"/>
                      <a:pt x="9" y="147"/>
                      <a:pt x="11" y="147"/>
                    </a:cubicBezTo>
                    <a:cubicBezTo>
                      <a:pt x="13" y="146"/>
                      <a:pt x="15" y="145"/>
                      <a:pt x="17" y="143"/>
                    </a:cubicBezTo>
                    <a:cubicBezTo>
                      <a:pt x="61" y="85"/>
                      <a:pt x="61" y="85"/>
                      <a:pt x="61" y="85"/>
                    </a:cubicBezTo>
                    <a:cubicBezTo>
                      <a:pt x="99" y="80"/>
                      <a:pt x="99" y="80"/>
                      <a:pt x="99" y="80"/>
                    </a:cubicBezTo>
                    <a:cubicBezTo>
                      <a:pt x="99" y="80"/>
                      <a:pt x="99" y="80"/>
                      <a:pt x="99" y="80"/>
                    </a:cubicBezTo>
                    <a:cubicBezTo>
                      <a:pt x="99" y="80"/>
                      <a:pt x="99" y="80"/>
                      <a:pt x="99" y="80"/>
                    </a:cubicBezTo>
                    <a:cubicBezTo>
                      <a:pt x="99" y="80"/>
                      <a:pt x="99" y="80"/>
                      <a:pt x="99" y="80"/>
                    </a:cubicBezTo>
                    <a:cubicBezTo>
                      <a:pt x="100" y="80"/>
                      <a:pt x="100" y="80"/>
                      <a:pt x="100" y="80"/>
                    </a:cubicBezTo>
                    <a:cubicBezTo>
                      <a:pt x="100" y="80"/>
                      <a:pt x="100" y="79"/>
                      <a:pt x="101" y="79"/>
                    </a:cubicBezTo>
                    <a:cubicBezTo>
                      <a:pt x="103" y="79"/>
                      <a:pt x="105" y="77"/>
                      <a:pt x="106" y="75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9" y="45"/>
                      <a:pt x="139" y="45"/>
                      <a:pt x="139" y="45"/>
                    </a:cubicBezTo>
                    <a:cubicBezTo>
                      <a:pt x="140" y="50"/>
                      <a:pt x="144" y="53"/>
                      <a:pt x="149" y="53"/>
                    </a:cubicBezTo>
                    <a:cubicBezTo>
                      <a:pt x="154" y="52"/>
                      <a:pt x="157" y="48"/>
                      <a:pt x="157" y="43"/>
                    </a:cubicBezTo>
                    <a:cubicBezTo>
                      <a:pt x="152" y="8"/>
                      <a:pt x="152" y="8"/>
                      <a:pt x="152" y="8"/>
                    </a:cubicBezTo>
                    <a:cubicBezTo>
                      <a:pt x="152" y="8"/>
                      <a:pt x="152" y="7"/>
                      <a:pt x="15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04" name="Freeform 195"/>
              <p:cNvSpPr/>
              <p:nvPr/>
            </p:nvSpPr>
            <p:spPr bwMode="auto">
              <a:xfrm>
                <a:off x="1335088" y="1779588"/>
                <a:ext cx="312738" cy="701675"/>
              </a:xfrm>
              <a:custGeom>
                <a:avLst/>
                <a:gdLst>
                  <a:gd name="T0" fmla="*/ 81 w 83"/>
                  <a:gd name="T1" fmla="*/ 176 h 187"/>
                  <a:gd name="T2" fmla="*/ 77 w 83"/>
                  <a:gd name="T3" fmla="*/ 186 h 187"/>
                  <a:gd name="T4" fmla="*/ 68 w 83"/>
                  <a:gd name="T5" fmla="*/ 182 h 187"/>
                  <a:gd name="T6" fmla="*/ 2 w 83"/>
                  <a:gd name="T7" fmla="*/ 11 h 187"/>
                  <a:gd name="T8" fmla="*/ 6 w 83"/>
                  <a:gd name="T9" fmla="*/ 2 h 187"/>
                  <a:gd name="T10" fmla="*/ 16 w 83"/>
                  <a:gd name="T11" fmla="*/ 6 h 187"/>
                  <a:gd name="T12" fmla="*/ 81 w 83"/>
                  <a:gd name="T13" fmla="*/ 176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3" h="187">
                    <a:moveTo>
                      <a:pt x="81" y="176"/>
                    </a:moveTo>
                    <a:cubicBezTo>
                      <a:pt x="83" y="180"/>
                      <a:pt x="81" y="184"/>
                      <a:pt x="77" y="186"/>
                    </a:cubicBezTo>
                    <a:cubicBezTo>
                      <a:pt x="73" y="187"/>
                      <a:pt x="69" y="186"/>
                      <a:pt x="68" y="182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0" y="8"/>
                      <a:pt x="2" y="3"/>
                      <a:pt x="6" y="2"/>
                    </a:cubicBezTo>
                    <a:cubicBezTo>
                      <a:pt x="10" y="0"/>
                      <a:pt x="14" y="2"/>
                      <a:pt x="16" y="6"/>
                    </a:cubicBezTo>
                    <a:lnTo>
                      <a:pt x="81" y="1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05" name="Freeform 196"/>
              <p:cNvSpPr/>
              <p:nvPr/>
            </p:nvSpPr>
            <p:spPr bwMode="auto">
              <a:xfrm>
                <a:off x="1598613" y="2087563"/>
                <a:ext cx="925513" cy="390525"/>
              </a:xfrm>
              <a:custGeom>
                <a:avLst/>
                <a:gdLst>
                  <a:gd name="T0" fmla="*/ 13 w 246"/>
                  <a:gd name="T1" fmla="*/ 103 h 104"/>
                  <a:gd name="T2" fmla="*/ 1 w 246"/>
                  <a:gd name="T3" fmla="*/ 99 h 104"/>
                  <a:gd name="T4" fmla="*/ 7 w 246"/>
                  <a:gd name="T5" fmla="*/ 89 h 104"/>
                  <a:gd name="T6" fmla="*/ 232 w 246"/>
                  <a:gd name="T7" fmla="*/ 2 h 104"/>
                  <a:gd name="T8" fmla="*/ 244 w 246"/>
                  <a:gd name="T9" fmla="*/ 5 h 104"/>
                  <a:gd name="T10" fmla="*/ 238 w 246"/>
                  <a:gd name="T11" fmla="*/ 16 h 104"/>
                  <a:gd name="T12" fmla="*/ 13 w 246"/>
                  <a:gd name="T13" fmla="*/ 103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6" h="104">
                    <a:moveTo>
                      <a:pt x="13" y="103"/>
                    </a:moveTo>
                    <a:cubicBezTo>
                      <a:pt x="8" y="104"/>
                      <a:pt x="2" y="103"/>
                      <a:pt x="1" y="99"/>
                    </a:cubicBezTo>
                    <a:cubicBezTo>
                      <a:pt x="0" y="95"/>
                      <a:pt x="2" y="91"/>
                      <a:pt x="7" y="89"/>
                    </a:cubicBezTo>
                    <a:cubicBezTo>
                      <a:pt x="232" y="2"/>
                      <a:pt x="232" y="2"/>
                      <a:pt x="232" y="2"/>
                    </a:cubicBezTo>
                    <a:cubicBezTo>
                      <a:pt x="237" y="0"/>
                      <a:pt x="243" y="2"/>
                      <a:pt x="244" y="5"/>
                    </a:cubicBezTo>
                    <a:cubicBezTo>
                      <a:pt x="246" y="9"/>
                      <a:pt x="243" y="14"/>
                      <a:pt x="238" y="16"/>
                    </a:cubicBezTo>
                    <a:lnTo>
                      <a:pt x="13" y="1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06" name="Freeform 197"/>
              <p:cNvSpPr/>
              <p:nvPr/>
            </p:nvSpPr>
            <p:spPr bwMode="auto">
              <a:xfrm>
                <a:off x="2414588" y="903288"/>
                <a:ext cx="228600" cy="417513"/>
              </a:xfrm>
              <a:custGeom>
                <a:avLst/>
                <a:gdLst>
                  <a:gd name="T0" fmla="*/ 31 w 144"/>
                  <a:gd name="T1" fmla="*/ 0 h 263"/>
                  <a:gd name="T2" fmla="*/ 144 w 144"/>
                  <a:gd name="T3" fmla="*/ 12 h 263"/>
                  <a:gd name="T4" fmla="*/ 114 w 144"/>
                  <a:gd name="T5" fmla="*/ 263 h 263"/>
                  <a:gd name="T6" fmla="*/ 0 w 144"/>
                  <a:gd name="T7" fmla="*/ 249 h 263"/>
                  <a:gd name="T8" fmla="*/ 31 w 144"/>
                  <a:gd name="T9" fmla="*/ 0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" h="263">
                    <a:moveTo>
                      <a:pt x="31" y="0"/>
                    </a:moveTo>
                    <a:lnTo>
                      <a:pt x="144" y="12"/>
                    </a:lnTo>
                    <a:lnTo>
                      <a:pt x="114" y="263"/>
                    </a:lnTo>
                    <a:lnTo>
                      <a:pt x="0" y="249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07" name="Freeform 198"/>
              <p:cNvSpPr/>
              <p:nvPr/>
            </p:nvSpPr>
            <p:spPr bwMode="auto">
              <a:xfrm>
                <a:off x="2636838" y="1087438"/>
                <a:ext cx="209550" cy="258763"/>
              </a:xfrm>
              <a:custGeom>
                <a:avLst/>
                <a:gdLst>
                  <a:gd name="T0" fmla="*/ 19 w 132"/>
                  <a:gd name="T1" fmla="*/ 0 h 163"/>
                  <a:gd name="T2" fmla="*/ 132 w 132"/>
                  <a:gd name="T3" fmla="*/ 14 h 163"/>
                  <a:gd name="T4" fmla="*/ 116 w 132"/>
                  <a:gd name="T5" fmla="*/ 163 h 163"/>
                  <a:gd name="T6" fmla="*/ 0 w 132"/>
                  <a:gd name="T7" fmla="*/ 149 h 163"/>
                  <a:gd name="T8" fmla="*/ 19 w 132"/>
                  <a:gd name="T9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2" h="163">
                    <a:moveTo>
                      <a:pt x="19" y="0"/>
                    </a:moveTo>
                    <a:lnTo>
                      <a:pt x="132" y="14"/>
                    </a:lnTo>
                    <a:lnTo>
                      <a:pt x="116" y="163"/>
                    </a:lnTo>
                    <a:lnTo>
                      <a:pt x="0" y="149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08" name="Freeform 199"/>
              <p:cNvSpPr/>
              <p:nvPr/>
            </p:nvSpPr>
            <p:spPr bwMode="auto">
              <a:xfrm>
                <a:off x="2865438" y="1290638"/>
                <a:ext cx="187325" cy="82550"/>
              </a:xfrm>
              <a:custGeom>
                <a:avLst/>
                <a:gdLst>
                  <a:gd name="T0" fmla="*/ 5 w 118"/>
                  <a:gd name="T1" fmla="*/ 0 h 52"/>
                  <a:gd name="T2" fmla="*/ 118 w 118"/>
                  <a:gd name="T3" fmla="*/ 14 h 52"/>
                  <a:gd name="T4" fmla="*/ 114 w 118"/>
                  <a:gd name="T5" fmla="*/ 52 h 52"/>
                  <a:gd name="T6" fmla="*/ 0 w 118"/>
                  <a:gd name="T7" fmla="*/ 40 h 52"/>
                  <a:gd name="T8" fmla="*/ 5 w 118"/>
                  <a:gd name="T9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8" h="52">
                    <a:moveTo>
                      <a:pt x="5" y="0"/>
                    </a:moveTo>
                    <a:lnTo>
                      <a:pt x="118" y="14"/>
                    </a:lnTo>
                    <a:lnTo>
                      <a:pt x="114" y="52"/>
                    </a:lnTo>
                    <a:lnTo>
                      <a:pt x="0" y="4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09" name="Freeform 200"/>
              <p:cNvSpPr/>
              <p:nvPr/>
            </p:nvSpPr>
            <p:spPr bwMode="auto">
              <a:xfrm>
                <a:off x="1065213" y="2763838"/>
                <a:ext cx="596900" cy="476250"/>
              </a:xfrm>
              <a:custGeom>
                <a:avLst/>
                <a:gdLst>
                  <a:gd name="T0" fmla="*/ 150 w 159"/>
                  <a:gd name="T1" fmla="*/ 7 h 127"/>
                  <a:gd name="T2" fmla="*/ 124 w 159"/>
                  <a:gd name="T3" fmla="*/ 9 h 127"/>
                  <a:gd name="T4" fmla="*/ 99 w 159"/>
                  <a:gd name="T5" fmla="*/ 39 h 127"/>
                  <a:gd name="T6" fmla="*/ 68 w 159"/>
                  <a:gd name="T7" fmla="*/ 76 h 127"/>
                  <a:gd name="T8" fmla="*/ 52 w 159"/>
                  <a:gd name="T9" fmla="*/ 54 h 127"/>
                  <a:gd name="T10" fmla="*/ 0 w 159"/>
                  <a:gd name="T11" fmla="*/ 45 h 127"/>
                  <a:gd name="T12" fmla="*/ 52 w 159"/>
                  <a:gd name="T13" fmla="*/ 118 h 127"/>
                  <a:gd name="T14" fmla="*/ 63 w 159"/>
                  <a:gd name="T15" fmla="*/ 125 h 127"/>
                  <a:gd name="T16" fmla="*/ 64 w 159"/>
                  <a:gd name="T17" fmla="*/ 125 h 127"/>
                  <a:gd name="T18" fmla="*/ 64 w 159"/>
                  <a:gd name="T19" fmla="*/ 126 h 127"/>
                  <a:gd name="T20" fmla="*/ 82 w 159"/>
                  <a:gd name="T21" fmla="*/ 119 h 127"/>
                  <a:gd name="T22" fmla="*/ 152 w 159"/>
                  <a:gd name="T23" fmla="*/ 33 h 127"/>
                  <a:gd name="T24" fmla="*/ 150 w 159"/>
                  <a:gd name="T25" fmla="*/ 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9" h="127">
                    <a:moveTo>
                      <a:pt x="150" y="7"/>
                    </a:moveTo>
                    <a:cubicBezTo>
                      <a:pt x="142" y="0"/>
                      <a:pt x="130" y="1"/>
                      <a:pt x="124" y="9"/>
                    </a:cubicBezTo>
                    <a:cubicBezTo>
                      <a:pt x="99" y="39"/>
                      <a:pt x="99" y="39"/>
                      <a:pt x="99" y="39"/>
                    </a:cubicBezTo>
                    <a:cubicBezTo>
                      <a:pt x="68" y="76"/>
                      <a:pt x="68" y="76"/>
                      <a:pt x="68" y="76"/>
                    </a:cubicBezTo>
                    <a:cubicBezTo>
                      <a:pt x="52" y="54"/>
                      <a:pt x="52" y="54"/>
                      <a:pt x="52" y="5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52" y="118"/>
                      <a:pt x="52" y="118"/>
                      <a:pt x="52" y="118"/>
                    </a:cubicBezTo>
                    <a:cubicBezTo>
                      <a:pt x="55" y="122"/>
                      <a:pt x="59" y="125"/>
                      <a:pt x="63" y="125"/>
                    </a:cubicBezTo>
                    <a:cubicBezTo>
                      <a:pt x="64" y="125"/>
                      <a:pt x="64" y="125"/>
                      <a:pt x="64" y="125"/>
                    </a:cubicBezTo>
                    <a:cubicBezTo>
                      <a:pt x="64" y="126"/>
                      <a:pt x="64" y="126"/>
                      <a:pt x="64" y="126"/>
                    </a:cubicBezTo>
                    <a:cubicBezTo>
                      <a:pt x="71" y="127"/>
                      <a:pt x="77" y="124"/>
                      <a:pt x="82" y="119"/>
                    </a:cubicBezTo>
                    <a:cubicBezTo>
                      <a:pt x="152" y="33"/>
                      <a:pt x="152" y="33"/>
                      <a:pt x="152" y="33"/>
                    </a:cubicBezTo>
                    <a:cubicBezTo>
                      <a:pt x="159" y="25"/>
                      <a:pt x="158" y="13"/>
                      <a:pt x="15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10" name="Freeform 201"/>
              <p:cNvSpPr/>
              <p:nvPr/>
            </p:nvSpPr>
            <p:spPr bwMode="auto">
              <a:xfrm>
                <a:off x="3128963" y="1060451"/>
                <a:ext cx="714375" cy="725488"/>
              </a:xfrm>
              <a:custGeom>
                <a:avLst/>
                <a:gdLst>
                  <a:gd name="T0" fmla="*/ 113 w 190"/>
                  <a:gd name="T1" fmla="*/ 5 h 193"/>
                  <a:gd name="T2" fmla="*/ 22 w 190"/>
                  <a:gd name="T3" fmla="*/ 51 h 193"/>
                  <a:gd name="T4" fmla="*/ 60 w 190"/>
                  <a:gd name="T5" fmla="*/ 170 h 193"/>
                  <a:gd name="T6" fmla="*/ 179 w 190"/>
                  <a:gd name="T7" fmla="*/ 133 h 193"/>
                  <a:gd name="T8" fmla="*/ 188 w 190"/>
                  <a:gd name="T9" fmla="*/ 84 h 193"/>
                  <a:gd name="T10" fmla="*/ 101 w 190"/>
                  <a:gd name="T11" fmla="*/ 92 h 193"/>
                  <a:gd name="T12" fmla="*/ 113 w 190"/>
                  <a:gd name="T13" fmla="*/ 5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0" h="193">
                    <a:moveTo>
                      <a:pt x="113" y="5"/>
                    </a:moveTo>
                    <a:cubicBezTo>
                      <a:pt x="77" y="0"/>
                      <a:pt x="40" y="17"/>
                      <a:pt x="22" y="51"/>
                    </a:cubicBezTo>
                    <a:cubicBezTo>
                      <a:pt x="0" y="94"/>
                      <a:pt x="17" y="148"/>
                      <a:pt x="60" y="170"/>
                    </a:cubicBezTo>
                    <a:cubicBezTo>
                      <a:pt x="103" y="193"/>
                      <a:pt x="156" y="176"/>
                      <a:pt x="179" y="133"/>
                    </a:cubicBezTo>
                    <a:cubicBezTo>
                      <a:pt x="187" y="117"/>
                      <a:pt x="190" y="100"/>
                      <a:pt x="188" y="84"/>
                    </a:cubicBezTo>
                    <a:cubicBezTo>
                      <a:pt x="101" y="92"/>
                      <a:pt x="101" y="92"/>
                      <a:pt x="101" y="92"/>
                    </a:cubicBezTo>
                    <a:lnTo>
                      <a:pt x="113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11" name="Freeform 202"/>
              <p:cNvSpPr/>
              <p:nvPr/>
            </p:nvSpPr>
            <p:spPr bwMode="auto">
              <a:xfrm>
                <a:off x="3598863" y="971551"/>
                <a:ext cx="330200" cy="330200"/>
              </a:xfrm>
              <a:custGeom>
                <a:avLst/>
                <a:gdLst>
                  <a:gd name="T0" fmla="*/ 41 w 88"/>
                  <a:gd name="T1" fmla="*/ 9 h 88"/>
                  <a:gd name="T2" fmla="*/ 13 w 88"/>
                  <a:gd name="T3" fmla="*/ 0 h 88"/>
                  <a:gd name="T4" fmla="*/ 0 w 88"/>
                  <a:gd name="T5" fmla="*/ 88 h 88"/>
                  <a:gd name="T6" fmla="*/ 88 w 88"/>
                  <a:gd name="T7" fmla="*/ 80 h 88"/>
                  <a:gd name="T8" fmla="*/ 41 w 88"/>
                  <a:gd name="T9" fmla="*/ 9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8" h="88">
                    <a:moveTo>
                      <a:pt x="41" y="9"/>
                    </a:moveTo>
                    <a:cubicBezTo>
                      <a:pt x="32" y="5"/>
                      <a:pt x="22" y="1"/>
                      <a:pt x="13" y="0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88" y="80"/>
                      <a:pt x="88" y="80"/>
                      <a:pt x="88" y="80"/>
                    </a:cubicBezTo>
                    <a:cubicBezTo>
                      <a:pt x="86" y="51"/>
                      <a:pt x="69" y="24"/>
                      <a:pt x="4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12" name="Freeform 203"/>
              <p:cNvSpPr/>
              <p:nvPr/>
            </p:nvSpPr>
            <p:spPr bwMode="auto">
              <a:xfrm>
                <a:off x="2376488" y="4303713"/>
                <a:ext cx="530225" cy="630238"/>
              </a:xfrm>
              <a:custGeom>
                <a:avLst/>
                <a:gdLst>
                  <a:gd name="T0" fmla="*/ 110 w 141"/>
                  <a:gd name="T1" fmla="*/ 133 h 168"/>
                  <a:gd name="T2" fmla="*/ 107 w 141"/>
                  <a:gd name="T3" fmla="*/ 131 h 168"/>
                  <a:gd name="T4" fmla="*/ 98 w 141"/>
                  <a:gd name="T5" fmla="*/ 134 h 168"/>
                  <a:gd name="T6" fmla="*/ 62 w 141"/>
                  <a:gd name="T7" fmla="*/ 143 h 168"/>
                  <a:gd name="T8" fmla="*/ 34 w 141"/>
                  <a:gd name="T9" fmla="*/ 91 h 168"/>
                  <a:gd name="T10" fmla="*/ 84 w 141"/>
                  <a:gd name="T11" fmla="*/ 106 h 168"/>
                  <a:gd name="T12" fmla="*/ 92 w 141"/>
                  <a:gd name="T13" fmla="*/ 102 h 168"/>
                  <a:gd name="T14" fmla="*/ 87 w 141"/>
                  <a:gd name="T15" fmla="*/ 93 h 168"/>
                  <a:gd name="T16" fmla="*/ 37 w 141"/>
                  <a:gd name="T17" fmla="*/ 78 h 168"/>
                  <a:gd name="T18" fmla="*/ 39 w 141"/>
                  <a:gd name="T19" fmla="*/ 71 h 168"/>
                  <a:gd name="T20" fmla="*/ 42 w 141"/>
                  <a:gd name="T21" fmla="*/ 63 h 168"/>
                  <a:gd name="T22" fmla="*/ 102 w 141"/>
                  <a:gd name="T23" fmla="*/ 81 h 168"/>
                  <a:gd name="T24" fmla="*/ 110 w 141"/>
                  <a:gd name="T25" fmla="*/ 77 h 168"/>
                  <a:gd name="T26" fmla="*/ 106 w 141"/>
                  <a:gd name="T27" fmla="*/ 69 h 168"/>
                  <a:gd name="T28" fmla="*/ 47 w 141"/>
                  <a:gd name="T29" fmla="*/ 51 h 168"/>
                  <a:gd name="T30" fmla="*/ 54 w 141"/>
                  <a:gd name="T31" fmla="*/ 41 h 168"/>
                  <a:gd name="T32" fmla="*/ 98 w 141"/>
                  <a:gd name="T33" fmla="*/ 25 h 168"/>
                  <a:gd name="T34" fmla="*/ 123 w 141"/>
                  <a:gd name="T35" fmla="*/ 54 h 168"/>
                  <a:gd name="T36" fmla="*/ 128 w 141"/>
                  <a:gd name="T37" fmla="*/ 61 h 168"/>
                  <a:gd name="T38" fmla="*/ 133 w 141"/>
                  <a:gd name="T39" fmla="*/ 62 h 168"/>
                  <a:gd name="T40" fmla="*/ 141 w 141"/>
                  <a:gd name="T41" fmla="*/ 56 h 168"/>
                  <a:gd name="T42" fmla="*/ 141 w 141"/>
                  <a:gd name="T43" fmla="*/ 52 h 168"/>
                  <a:gd name="T44" fmla="*/ 103 w 141"/>
                  <a:gd name="T45" fmla="*/ 9 h 168"/>
                  <a:gd name="T46" fmla="*/ 33 w 141"/>
                  <a:gd name="T47" fmla="*/ 40 h 168"/>
                  <a:gd name="T48" fmla="*/ 30 w 141"/>
                  <a:gd name="T49" fmla="*/ 45 h 168"/>
                  <a:gd name="T50" fmla="*/ 18 w 141"/>
                  <a:gd name="T51" fmla="*/ 42 h 168"/>
                  <a:gd name="T52" fmla="*/ 10 w 141"/>
                  <a:gd name="T53" fmla="*/ 46 h 168"/>
                  <a:gd name="T54" fmla="*/ 14 w 141"/>
                  <a:gd name="T55" fmla="*/ 54 h 168"/>
                  <a:gd name="T56" fmla="*/ 25 w 141"/>
                  <a:gd name="T57" fmla="*/ 57 h 168"/>
                  <a:gd name="T58" fmla="*/ 22 w 141"/>
                  <a:gd name="T59" fmla="*/ 66 h 168"/>
                  <a:gd name="T60" fmla="*/ 20 w 141"/>
                  <a:gd name="T61" fmla="*/ 73 h 168"/>
                  <a:gd name="T62" fmla="*/ 9 w 141"/>
                  <a:gd name="T63" fmla="*/ 69 h 168"/>
                  <a:gd name="T64" fmla="*/ 1 w 141"/>
                  <a:gd name="T65" fmla="*/ 74 h 168"/>
                  <a:gd name="T66" fmla="*/ 5 w 141"/>
                  <a:gd name="T67" fmla="*/ 82 h 168"/>
                  <a:gd name="T68" fmla="*/ 17 w 141"/>
                  <a:gd name="T69" fmla="*/ 86 h 168"/>
                  <a:gd name="T70" fmla="*/ 57 w 141"/>
                  <a:gd name="T71" fmla="*/ 160 h 168"/>
                  <a:gd name="T72" fmla="*/ 113 w 141"/>
                  <a:gd name="T73" fmla="*/ 145 h 168"/>
                  <a:gd name="T74" fmla="*/ 115 w 141"/>
                  <a:gd name="T75" fmla="*/ 142 h 168"/>
                  <a:gd name="T76" fmla="*/ 110 w 141"/>
                  <a:gd name="T77" fmla="*/ 133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41" h="168">
                    <a:moveTo>
                      <a:pt x="110" y="133"/>
                    </a:moveTo>
                    <a:cubicBezTo>
                      <a:pt x="109" y="132"/>
                      <a:pt x="108" y="131"/>
                      <a:pt x="107" y="131"/>
                    </a:cubicBezTo>
                    <a:cubicBezTo>
                      <a:pt x="104" y="130"/>
                      <a:pt x="101" y="131"/>
                      <a:pt x="98" y="134"/>
                    </a:cubicBezTo>
                    <a:cubicBezTo>
                      <a:pt x="88" y="146"/>
                      <a:pt x="79" y="148"/>
                      <a:pt x="62" y="143"/>
                    </a:cubicBezTo>
                    <a:cubicBezTo>
                      <a:pt x="41" y="137"/>
                      <a:pt x="31" y="118"/>
                      <a:pt x="34" y="91"/>
                    </a:cubicBezTo>
                    <a:cubicBezTo>
                      <a:pt x="84" y="106"/>
                      <a:pt x="84" y="106"/>
                      <a:pt x="84" y="106"/>
                    </a:cubicBezTo>
                    <a:cubicBezTo>
                      <a:pt x="87" y="107"/>
                      <a:pt x="91" y="106"/>
                      <a:pt x="92" y="102"/>
                    </a:cubicBezTo>
                    <a:cubicBezTo>
                      <a:pt x="93" y="97"/>
                      <a:pt x="92" y="95"/>
                      <a:pt x="87" y="93"/>
                    </a:cubicBezTo>
                    <a:cubicBezTo>
                      <a:pt x="37" y="78"/>
                      <a:pt x="37" y="78"/>
                      <a:pt x="37" y="78"/>
                    </a:cubicBezTo>
                    <a:cubicBezTo>
                      <a:pt x="37" y="76"/>
                      <a:pt x="38" y="73"/>
                      <a:pt x="39" y="71"/>
                    </a:cubicBezTo>
                    <a:cubicBezTo>
                      <a:pt x="40" y="68"/>
                      <a:pt x="41" y="65"/>
                      <a:pt x="42" y="63"/>
                    </a:cubicBezTo>
                    <a:cubicBezTo>
                      <a:pt x="102" y="81"/>
                      <a:pt x="102" y="81"/>
                      <a:pt x="102" y="81"/>
                    </a:cubicBezTo>
                    <a:cubicBezTo>
                      <a:pt x="106" y="82"/>
                      <a:pt x="109" y="81"/>
                      <a:pt x="110" y="77"/>
                    </a:cubicBezTo>
                    <a:cubicBezTo>
                      <a:pt x="111" y="72"/>
                      <a:pt x="110" y="70"/>
                      <a:pt x="106" y="69"/>
                    </a:cubicBezTo>
                    <a:cubicBezTo>
                      <a:pt x="47" y="51"/>
                      <a:pt x="47" y="51"/>
                      <a:pt x="47" y="51"/>
                    </a:cubicBezTo>
                    <a:cubicBezTo>
                      <a:pt x="49" y="47"/>
                      <a:pt x="52" y="44"/>
                      <a:pt x="54" y="41"/>
                    </a:cubicBezTo>
                    <a:cubicBezTo>
                      <a:pt x="66" y="26"/>
                      <a:pt x="82" y="20"/>
                      <a:pt x="98" y="25"/>
                    </a:cubicBezTo>
                    <a:cubicBezTo>
                      <a:pt x="115" y="30"/>
                      <a:pt x="121" y="39"/>
                      <a:pt x="123" y="54"/>
                    </a:cubicBezTo>
                    <a:cubicBezTo>
                      <a:pt x="123" y="58"/>
                      <a:pt x="125" y="60"/>
                      <a:pt x="128" y="61"/>
                    </a:cubicBezTo>
                    <a:cubicBezTo>
                      <a:pt x="130" y="61"/>
                      <a:pt x="131" y="61"/>
                      <a:pt x="133" y="62"/>
                    </a:cubicBezTo>
                    <a:cubicBezTo>
                      <a:pt x="136" y="61"/>
                      <a:pt x="139" y="59"/>
                      <a:pt x="141" y="56"/>
                    </a:cubicBezTo>
                    <a:cubicBezTo>
                      <a:pt x="141" y="55"/>
                      <a:pt x="141" y="53"/>
                      <a:pt x="141" y="52"/>
                    </a:cubicBezTo>
                    <a:cubicBezTo>
                      <a:pt x="139" y="33"/>
                      <a:pt x="130" y="17"/>
                      <a:pt x="103" y="9"/>
                    </a:cubicBezTo>
                    <a:cubicBezTo>
                      <a:pt x="76" y="0"/>
                      <a:pt x="50" y="12"/>
                      <a:pt x="33" y="40"/>
                    </a:cubicBezTo>
                    <a:cubicBezTo>
                      <a:pt x="32" y="42"/>
                      <a:pt x="31" y="43"/>
                      <a:pt x="30" y="45"/>
                    </a:cubicBezTo>
                    <a:cubicBezTo>
                      <a:pt x="18" y="42"/>
                      <a:pt x="18" y="42"/>
                      <a:pt x="18" y="42"/>
                    </a:cubicBezTo>
                    <a:cubicBezTo>
                      <a:pt x="14" y="40"/>
                      <a:pt x="11" y="42"/>
                      <a:pt x="10" y="46"/>
                    </a:cubicBezTo>
                    <a:cubicBezTo>
                      <a:pt x="8" y="50"/>
                      <a:pt x="10" y="53"/>
                      <a:pt x="14" y="54"/>
                    </a:cubicBezTo>
                    <a:cubicBezTo>
                      <a:pt x="25" y="57"/>
                      <a:pt x="25" y="57"/>
                      <a:pt x="25" y="57"/>
                    </a:cubicBezTo>
                    <a:cubicBezTo>
                      <a:pt x="24" y="60"/>
                      <a:pt x="23" y="63"/>
                      <a:pt x="22" y="66"/>
                    </a:cubicBezTo>
                    <a:cubicBezTo>
                      <a:pt x="21" y="68"/>
                      <a:pt x="20" y="70"/>
                      <a:pt x="20" y="73"/>
                    </a:cubicBezTo>
                    <a:cubicBezTo>
                      <a:pt x="9" y="69"/>
                      <a:pt x="9" y="69"/>
                      <a:pt x="9" y="69"/>
                    </a:cubicBezTo>
                    <a:cubicBezTo>
                      <a:pt x="5" y="68"/>
                      <a:pt x="2" y="70"/>
                      <a:pt x="1" y="74"/>
                    </a:cubicBezTo>
                    <a:cubicBezTo>
                      <a:pt x="0" y="78"/>
                      <a:pt x="1" y="81"/>
                      <a:pt x="5" y="82"/>
                    </a:cubicBezTo>
                    <a:cubicBezTo>
                      <a:pt x="17" y="86"/>
                      <a:pt x="17" y="86"/>
                      <a:pt x="17" y="86"/>
                    </a:cubicBezTo>
                    <a:cubicBezTo>
                      <a:pt x="11" y="122"/>
                      <a:pt x="25" y="150"/>
                      <a:pt x="57" y="160"/>
                    </a:cubicBezTo>
                    <a:cubicBezTo>
                      <a:pt x="83" y="168"/>
                      <a:pt x="100" y="161"/>
                      <a:pt x="113" y="145"/>
                    </a:cubicBezTo>
                    <a:cubicBezTo>
                      <a:pt x="114" y="144"/>
                      <a:pt x="114" y="143"/>
                      <a:pt x="115" y="142"/>
                    </a:cubicBezTo>
                    <a:cubicBezTo>
                      <a:pt x="116" y="139"/>
                      <a:pt x="114" y="135"/>
                      <a:pt x="110" y="1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13" name="Freeform 204"/>
              <p:cNvSpPr/>
              <p:nvPr/>
            </p:nvSpPr>
            <p:spPr bwMode="auto">
              <a:xfrm>
                <a:off x="1614488" y="1684338"/>
                <a:ext cx="796925" cy="774700"/>
              </a:xfrm>
              <a:custGeom>
                <a:avLst/>
                <a:gdLst>
                  <a:gd name="T0" fmla="*/ 471 w 502"/>
                  <a:gd name="T1" fmla="*/ 60 h 488"/>
                  <a:gd name="T2" fmla="*/ 281 w 502"/>
                  <a:gd name="T3" fmla="*/ 308 h 488"/>
                  <a:gd name="T4" fmla="*/ 258 w 502"/>
                  <a:gd name="T5" fmla="*/ 218 h 488"/>
                  <a:gd name="T6" fmla="*/ 177 w 502"/>
                  <a:gd name="T7" fmla="*/ 370 h 488"/>
                  <a:gd name="T8" fmla="*/ 144 w 502"/>
                  <a:gd name="T9" fmla="*/ 263 h 488"/>
                  <a:gd name="T10" fmla="*/ 23 w 502"/>
                  <a:gd name="T11" fmla="*/ 488 h 488"/>
                  <a:gd name="T12" fmla="*/ 0 w 502"/>
                  <a:gd name="T13" fmla="*/ 464 h 488"/>
                  <a:gd name="T14" fmla="*/ 151 w 502"/>
                  <a:gd name="T15" fmla="*/ 192 h 488"/>
                  <a:gd name="T16" fmla="*/ 184 w 502"/>
                  <a:gd name="T17" fmla="*/ 299 h 488"/>
                  <a:gd name="T18" fmla="*/ 265 w 502"/>
                  <a:gd name="T19" fmla="*/ 145 h 488"/>
                  <a:gd name="T20" fmla="*/ 293 w 502"/>
                  <a:gd name="T21" fmla="*/ 246 h 488"/>
                  <a:gd name="T22" fmla="*/ 449 w 502"/>
                  <a:gd name="T23" fmla="*/ 43 h 488"/>
                  <a:gd name="T24" fmla="*/ 433 w 502"/>
                  <a:gd name="T25" fmla="*/ 29 h 488"/>
                  <a:gd name="T26" fmla="*/ 502 w 502"/>
                  <a:gd name="T27" fmla="*/ 0 h 488"/>
                  <a:gd name="T28" fmla="*/ 490 w 502"/>
                  <a:gd name="T29" fmla="*/ 74 h 488"/>
                  <a:gd name="T30" fmla="*/ 471 w 502"/>
                  <a:gd name="T31" fmla="*/ 60 h 4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02" h="488">
                    <a:moveTo>
                      <a:pt x="471" y="60"/>
                    </a:moveTo>
                    <a:lnTo>
                      <a:pt x="281" y="308"/>
                    </a:lnTo>
                    <a:lnTo>
                      <a:pt x="258" y="218"/>
                    </a:lnTo>
                    <a:lnTo>
                      <a:pt x="177" y="370"/>
                    </a:lnTo>
                    <a:lnTo>
                      <a:pt x="144" y="263"/>
                    </a:lnTo>
                    <a:lnTo>
                      <a:pt x="23" y="488"/>
                    </a:lnTo>
                    <a:lnTo>
                      <a:pt x="0" y="464"/>
                    </a:lnTo>
                    <a:lnTo>
                      <a:pt x="151" y="192"/>
                    </a:lnTo>
                    <a:lnTo>
                      <a:pt x="184" y="299"/>
                    </a:lnTo>
                    <a:lnTo>
                      <a:pt x="265" y="145"/>
                    </a:lnTo>
                    <a:lnTo>
                      <a:pt x="293" y="246"/>
                    </a:lnTo>
                    <a:lnTo>
                      <a:pt x="449" y="43"/>
                    </a:lnTo>
                    <a:lnTo>
                      <a:pt x="433" y="29"/>
                    </a:lnTo>
                    <a:lnTo>
                      <a:pt x="502" y="0"/>
                    </a:lnTo>
                    <a:lnTo>
                      <a:pt x="490" y="74"/>
                    </a:lnTo>
                    <a:lnTo>
                      <a:pt x="471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14" name="Freeform 206"/>
              <p:cNvSpPr/>
              <p:nvPr/>
            </p:nvSpPr>
            <p:spPr bwMode="auto">
              <a:xfrm>
                <a:off x="2309813" y="2736851"/>
                <a:ext cx="173038" cy="184150"/>
              </a:xfrm>
              <a:custGeom>
                <a:avLst/>
                <a:gdLst>
                  <a:gd name="T0" fmla="*/ 75 w 109"/>
                  <a:gd name="T1" fmla="*/ 9 h 116"/>
                  <a:gd name="T2" fmla="*/ 61 w 109"/>
                  <a:gd name="T3" fmla="*/ 14 h 116"/>
                  <a:gd name="T4" fmla="*/ 40 w 109"/>
                  <a:gd name="T5" fmla="*/ 71 h 116"/>
                  <a:gd name="T6" fmla="*/ 11 w 109"/>
                  <a:gd name="T7" fmla="*/ 0 h 116"/>
                  <a:gd name="T8" fmla="*/ 0 w 109"/>
                  <a:gd name="T9" fmla="*/ 5 h 116"/>
                  <a:gd name="T10" fmla="*/ 40 w 109"/>
                  <a:gd name="T11" fmla="*/ 116 h 116"/>
                  <a:gd name="T12" fmla="*/ 54 w 109"/>
                  <a:gd name="T13" fmla="*/ 111 h 116"/>
                  <a:gd name="T14" fmla="*/ 45 w 109"/>
                  <a:gd name="T15" fmla="*/ 88 h 116"/>
                  <a:gd name="T16" fmla="*/ 54 w 109"/>
                  <a:gd name="T17" fmla="*/ 59 h 116"/>
                  <a:gd name="T18" fmla="*/ 97 w 109"/>
                  <a:gd name="T19" fmla="*/ 97 h 116"/>
                  <a:gd name="T20" fmla="*/ 109 w 109"/>
                  <a:gd name="T21" fmla="*/ 92 h 116"/>
                  <a:gd name="T22" fmla="*/ 61 w 109"/>
                  <a:gd name="T23" fmla="*/ 50 h 116"/>
                  <a:gd name="T24" fmla="*/ 75 w 109"/>
                  <a:gd name="T25" fmla="*/ 9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9" h="116">
                    <a:moveTo>
                      <a:pt x="75" y="9"/>
                    </a:moveTo>
                    <a:lnTo>
                      <a:pt x="61" y="14"/>
                    </a:lnTo>
                    <a:lnTo>
                      <a:pt x="40" y="71"/>
                    </a:lnTo>
                    <a:lnTo>
                      <a:pt x="11" y="0"/>
                    </a:lnTo>
                    <a:lnTo>
                      <a:pt x="0" y="5"/>
                    </a:lnTo>
                    <a:lnTo>
                      <a:pt x="40" y="116"/>
                    </a:lnTo>
                    <a:lnTo>
                      <a:pt x="54" y="111"/>
                    </a:lnTo>
                    <a:lnTo>
                      <a:pt x="45" y="88"/>
                    </a:lnTo>
                    <a:lnTo>
                      <a:pt x="54" y="59"/>
                    </a:lnTo>
                    <a:lnTo>
                      <a:pt x="97" y="97"/>
                    </a:lnTo>
                    <a:lnTo>
                      <a:pt x="109" y="92"/>
                    </a:lnTo>
                    <a:lnTo>
                      <a:pt x="61" y="50"/>
                    </a:lnTo>
                    <a:lnTo>
                      <a:pt x="75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15" name="Freeform 207"/>
              <p:cNvSpPr/>
              <p:nvPr/>
            </p:nvSpPr>
            <p:spPr bwMode="auto">
              <a:xfrm>
                <a:off x="2459038" y="2709863"/>
                <a:ext cx="153988" cy="166688"/>
              </a:xfrm>
              <a:custGeom>
                <a:avLst/>
                <a:gdLst>
                  <a:gd name="T0" fmla="*/ 23 w 41"/>
                  <a:gd name="T1" fmla="*/ 1 h 44"/>
                  <a:gd name="T2" fmla="*/ 16 w 41"/>
                  <a:gd name="T3" fmla="*/ 2 h 44"/>
                  <a:gd name="T4" fmla="*/ 8 w 41"/>
                  <a:gd name="T5" fmla="*/ 13 h 44"/>
                  <a:gd name="T6" fmla="*/ 5 w 41"/>
                  <a:gd name="T7" fmla="*/ 7 h 44"/>
                  <a:gd name="T8" fmla="*/ 0 w 41"/>
                  <a:gd name="T9" fmla="*/ 8 h 44"/>
                  <a:gd name="T10" fmla="*/ 13 w 41"/>
                  <a:gd name="T11" fmla="*/ 44 h 44"/>
                  <a:gd name="T12" fmla="*/ 18 w 41"/>
                  <a:gd name="T13" fmla="*/ 42 h 44"/>
                  <a:gd name="T14" fmla="*/ 11 w 41"/>
                  <a:gd name="T15" fmla="*/ 22 h 44"/>
                  <a:gd name="T16" fmla="*/ 11 w 41"/>
                  <a:gd name="T17" fmla="*/ 12 h 44"/>
                  <a:gd name="T18" fmla="*/ 17 w 41"/>
                  <a:gd name="T19" fmla="*/ 7 h 44"/>
                  <a:gd name="T20" fmla="*/ 23 w 41"/>
                  <a:gd name="T21" fmla="*/ 7 h 44"/>
                  <a:gd name="T22" fmla="*/ 27 w 41"/>
                  <a:gd name="T23" fmla="*/ 13 h 44"/>
                  <a:gd name="T24" fmla="*/ 35 w 41"/>
                  <a:gd name="T25" fmla="*/ 35 h 44"/>
                  <a:gd name="T26" fmla="*/ 41 w 41"/>
                  <a:gd name="T27" fmla="*/ 33 h 44"/>
                  <a:gd name="T28" fmla="*/ 33 w 41"/>
                  <a:gd name="T29" fmla="*/ 13 h 44"/>
                  <a:gd name="T30" fmla="*/ 29 w 41"/>
                  <a:gd name="T31" fmla="*/ 4 h 44"/>
                  <a:gd name="T32" fmla="*/ 23 w 41"/>
                  <a:gd name="T33" fmla="*/ 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1" h="44">
                    <a:moveTo>
                      <a:pt x="23" y="1"/>
                    </a:moveTo>
                    <a:cubicBezTo>
                      <a:pt x="21" y="0"/>
                      <a:pt x="19" y="1"/>
                      <a:pt x="16" y="2"/>
                    </a:cubicBezTo>
                    <a:cubicBezTo>
                      <a:pt x="11" y="3"/>
                      <a:pt x="9" y="7"/>
                      <a:pt x="8" y="13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13" y="44"/>
                      <a:pt x="13" y="44"/>
                      <a:pt x="13" y="44"/>
                    </a:cubicBezTo>
                    <a:cubicBezTo>
                      <a:pt x="18" y="42"/>
                      <a:pt x="18" y="42"/>
                      <a:pt x="18" y="4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19"/>
                      <a:pt x="10" y="15"/>
                      <a:pt x="11" y="12"/>
                    </a:cubicBezTo>
                    <a:cubicBezTo>
                      <a:pt x="12" y="10"/>
                      <a:pt x="14" y="8"/>
                      <a:pt x="17" y="7"/>
                    </a:cubicBezTo>
                    <a:cubicBezTo>
                      <a:pt x="19" y="6"/>
                      <a:pt x="21" y="6"/>
                      <a:pt x="23" y="7"/>
                    </a:cubicBezTo>
                    <a:cubicBezTo>
                      <a:pt x="25" y="7"/>
                      <a:pt x="26" y="10"/>
                      <a:pt x="27" y="13"/>
                    </a:cubicBezTo>
                    <a:cubicBezTo>
                      <a:pt x="35" y="35"/>
                      <a:pt x="35" y="35"/>
                      <a:pt x="35" y="35"/>
                    </a:cubicBezTo>
                    <a:cubicBezTo>
                      <a:pt x="41" y="33"/>
                      <a:pt x="41" y="33"/>
                      <a:pt x="41" y="33"/>
                    </a:cubicBezTo>
                    <a:cubicBezTo>
                      <a:pt x="33" y="13"/>
                      <a:pt x="33" y="13"/>
                      <a:pt x="33" y="13"/>
                    </a:cubicBezTo>
                    <a:cubicBezTo>
                      <a:pt x="32" y="9"/>
                      <a:pt x="30" y="6"/>
                      <a:pt x="29" y="4"/>
                    </a:cubicBezTo>
                    <a:cubicBezTo>
                      <a:pt x="28" y="3"/>
                      <a:pt x="26" y="2"/>
                      <a:pt x="2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16" name="Freeform 208"/>
              <p:cNvSpPr>
                <a:spLocks noEditPoints="1"/>
              </p:cNvSpPr>
              <p:nvPr/>
            </p:nvSpPr>
            <p:spPr bwMode="auto">
              <a:xfrm>
                <a:off x="2609850" y="2662238"/>
                <a:ext cx="134938" cy="153988"/>
              </a:xfrm>
              <a:custGeom>
                <a:avLst/>
                <a:gdLst>
                  <a:gd name="T0" fmla="*/ 12 w 36"/>
                  <a:gd name="T1" fmla="*/ 2 h 41"/>
                  <a:gd name="T2" fmla="*/ 2 w 36"/>
                  <a:gd name="T3" fmla="*/ 11 h 41"/>
                  <a:gd name="T4" fmla="*/ 2 w 36"/>
                  <a:gd name="T5" fmla="*/ 26 h 41"/>
                  <a:gd name="T6" fmla="*/ 11 w 36"/>
                  <a:gd name="T7" fmla="*/ 38 h 41"/>
                  <a:gd name="T8" fmla="*/ 24 w 36"/>
                  <a:gd name="T9" fmla="*/ 39 h 41"/>
                  <a:gd name="T10" fmla="*/ 34 w 36"/>
                  <a:gd name="T11" fmla="*/ 29 h 41"/>
                  <a:gd name="T12" fmla="*/ 34 w 36"/>
                  <a:gd name="T13" fmla="*/ 14 h 41"/>
                  <a:gd name="T14" fmla="*/ 25 w 36"/>
                  <a:gd name="T15" fmla="*/ 3 h 41"/>
                  <a:gd name="T16" fmla="*/ 12 w 36"/>
                  <a:gd name="T17" fmla="*/ 2 h 41"/>
                  <a:gd name="T18" fmla="*/ 29 w 36"/>
                  <a:gd name="T19" fmla="*/ 28 h 41"/>
                  <a:gd name="T20" fmla="*/ 23 w 36"/>
                  <a:gd name="T21" fmla="*/ 34 h 41"/>
                  <a:gd name="T22" fmla="*/ 15 w 36"/>
                  <a:gd name="T23" fmla="*/ 33 h 41"/>
                  <a:gd name="T24" fmla="*/ 8 w 36"/>
                  <a:gd name="T25" fmla="*/ 24 h 41"/>
                  <a:gd name="T26" fmla="*/ 7 w 36"/>
                  <a:gd name="T27" fmla="*/ 12 h 41"/>
                  <a:gd name="T28" fmla="*/ 13 w 36"/>
                  <a:gd name="T29" fmla="*/ 6 h 41"/>
                  <a:gd name="T30" fmla="*/ 21 w 36"/>
                  <a:gd name="T31" fmla="*/ 7 h 41"/>
                  <a:gd name="T32" fmla="*/ 28 w 36"/>
                  <a:gd name="T33" fmla="*/ 17 h 41"/>
                  <a:gd name="T34" fmla="*/ 29 w 36"/>
                  <a:gd name="T35" fmla="*/ 28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6" h="41">
                    <a:moveTo>
                      <a:pt x="12" y="2"/>
                    </a:moveTo>
                    <a:cubicBezTo>
                      <a:pt x="7" y="3"/>
                      <a:pt x="4" y="6"/>
                      <a:pt x="2" y="11"/>
                    </a:cubicBezTo>
                    <a:cubicBezTo>
                      <a:pt x="0" y="15"/>
                      <a:pt x="0" y="20"/>
                      <a:pt x="2" y="26"/>
                    </a:cubicBezTo>
                    <a:cubicBezTo>
                      <a:pt x="4" y="31"/>
                      <a:pt x="7" y="35"/>
                      <a:pt x="11" y="38"/>
                    </a:cubicBezTo>
                    <a:cubicBezTo>
                      <a:pt x="15" y="40"/>
                      <a:pt x="20" y="41"/>
                      <a:pt x="24" y="39"/>
                    </a:cubicBezTo>
                    <a:cubicBezTo>
                      <a:pt x="29" y="37"/>
                      <a:pt x="32" y="34"/>
                      <a:pt x="34" y="29"/>
                    </a:cubicBezTo>
                    <a:cubicBezTo>
                      <a:pt x="36" y="25"/>
                      <a:pt x="36" y="20"/>
                      <a:pt x="34" y="14"/>
                    </a:cubicBezTo>
                    <a:cubicBezTo>
                      <a:pt x="32" y="9"/>
                      <a:pt x="29" y="5"/>
                      <a:pt x="25" y="3"/>
                    </a:cubicBezTo>
                    <a:cubicBezTo>
                      <a:pt x="21" y="0"/>
                      <a:pt x="16" y="0"/>
                      <a:pt x="12" y="2"/>
                    </a:cubicBezTo>
                    <a:close/>
                    <a:moveTo>
                      <a:pt x="29" y="28"/>
                    </a:moveTo>
                    <a:cubicBezTo>
                      <a:pt x="28" y="31"/>
                      <a:pt x="26" y="33"/>
                      <a:pt x="23" y="34"/>
                    </a:cubicBezTo>
                    <a:cubicBezTo>
                      <a:pt x="20" y="35"/>
                      <a:pt x="18" y="35"/>
                      <a:pt x="15" y="33"/>
                    </a:cubicBezTo>
                    <a:cubicBezTo>
                      <a:pt x="12" y="32"/>
                      <a:pt x="10" y="29"/>
                      <a:pt x="8" y="24"/>
                    </a:cubicBezTo>
                    <a:cubicBezTo>
                      <a:pt x="7" y="19"/>
                      <a:pt x="6" y="15"/>
                      <a:pt x="7" y="12"/>
                    </a:cubicBezTo>
                    <a:cubicBezTo>
                      <a:pt x="8" y="9"/>
                      <a:pt x="10" y="7"/>
                      <a:pt x="13" y="6"/>
                    </a:cubicBezTo>
                    <a:cubicBezTo>
                      <a:pt x="16" y="5"/>
                      <a:pt x="18" y="6"/>
                      <a:pt x="21" y="7"/>
                    </a:cubicBezTo>
                    <a:cubicBezTo>
                      <a:pt x="24" y="8"/>
                      <a:pt x="26" y="12"/>
                      <a:pt x="28" y="17"/>
                    </a:cubicBezTo>
                    <a:cubicBezTo>
                      <a:pt x="30" y="21"/>
                      <a:pt x="30" y="25"/>
                      <a:pt x="29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17" name="Freeform 209"/>
              <p:cNvSpPr/>
              <p:nvPr/>
            </p:nvSpPr>
            <p:spPr bwMode="auto">
              <a:xfrm>
                <a:off x="2725738" y="2586038"/>
                <a:ext cx="177800" cy="177800"/>
              </a:xfrm>
              <a:custGeom>
                <a:avLst/>
                <a:gdLst>
                  <a:gd name="T0" fmla="*/ 100 w 112"/>
                  <a:gd name="T1" fmla="*/ 71 h 112"/>
                  <a:gd name="T2" fmla="*/ 57 w 112"/>
                  <a:gd name="T3" fmla="*/ 17 h 112"/>
                  <a:gd name="T4" fmla="*/ 48 w 112"/>
                  <a:gd name="T5" fmla="*/ 19 h 112"/>
                  <a:gd name="T6" fmla="*/ 53 w 112"/>
                  <a:gd name="T7" fmla="*/ 88 h 112"/>
                  <a:gd name="T8" fmla="*/ 12 w 112"/>
                  <a:gd name="T9" fmla="*/ 33 h 112"/>
                  <a:gd name="T10" fmla="*/ 0 w 112"/>
                  <a:gd name="T11" fmla="*/ 38 h 112"/>
                  <a:gd name="T12" fmla="*/ 55 w 112"/>
                  <a:gd name="T13" fmla="*/ 112 h 112"/>
                  <a:gd name="T14" fmla="*/ 64 w 112"/>
                  <a:gd name="T15" fmla="*/ 107 h 112"/>
                  <a:gd name="T16" fmla="*/ 60 w 112"/>
                  <a:gd name="T17" fmla="*/ 41 h 112"/>
                  <a:gd name="T18" fmla="*/ 100 w 112"/>
                  <a:gd name="T19" fmla="*/ 95 h 112"/>
                  <a:gd name="T20" fmla="*/ 112 w 112"/>
                  <a:gd name="T21" fmla="*/ 90 h 112"/>
                  <a:gd name="T22" fmla="*/ 105 w 112"/>
                  <a:gd name="T23" fmla="*/ 0 h 112"/>
                  <a:gd name="T24" fmla="*/ 95 w 112"/>
                  <a:gd name="T25" fmla="*/ 3 h 112"/>
                  <a:gd name="T26" fmla="*/ 100 w 112"/>
                  <a:gd name="T27" fmla="*/ 7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2" h="112">
                    <a:moveTo>
                      <a:pt x="100" y="71"/>
                    </a:moveTo>
                    <a:lnTo>
                      <a:pt x="57" y="17"/>
                    </a:lnTo>
                    <a:lnTo>
                      <a:pt x="48" y="19"/>
                    </a:lnTo>
                    <a:lnTo>
                      <a:pt x="53" y="88"/>
                    </a:lnTo>
                    <a:lnTo>
                      <a:pt x="12" y="33"/>
                    </a:lnTo>
                    <a:lnTo>
                      <a:pt x="0" y="38"/>
                    </a:lnTo>
                    <a:lnTo>
                      <a:pt x="55" y="112"/>
                    </a:lnTo>
                    <a:lnTo>
                      <a:pt x="64" y="107"/>
                    </a:lnTo>
                    <a:lnTo>
                      <a:pt x="60" y="41"/>
                    </a:lnTo>
                    <a:lnTo>
                      <a:pt x="100" y="95"/>
                    </a:lnTo>
                    <a:lnTo>
                      <a:pt x="112" y="90"/>
                    </a:lnTo>
                    <a:lnTo>
                      <a:pt x="105" y="0"/>
                    </a:lnTo>
                    <a:lnTo>
                      <a:pt x="95" y="3"/>
                    </a:lnTo>
                    <a:lnTo>
                      <a:pt x="100" y="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18" name="Freeform 210"/>
              <p:cNvSpPr/>
              <p:nvPr/>
            </p:nvSpPr>
            <p:spPr bwMode="auto">
              <a:xfrm>
                <a:off x="2974975" y="2497138"/>
                <a:ext cx="165100" cy="182563"/>
              </a:xfrm>
              <a:custGeom>
                <a:avLst/>
                <a:gdLst>
                  <a:gd name="T0" fmla="*/ 31 w 44"/>
                  <a:gd name="T1" fmla="*/ 8 h 49"/>
                  <a:gd name="T2" fmla="*/ 26 w 44"/>
                  <a:gd name="T3" fmla="*/ 7 h 49"/>
                  <a:gd name="T4" fmla="*/ 20 w 44"/>
                  <a:gd name="T5" fmla="*/ 7 h 49"/>
                  <a:gd name="T6" fmla="*/ 12 w 44"/>
                  <a:gd name="T7" fmla="*/ 19 h 49"/>
                  <a:gd name="T8" fmla="*/ 5 w 44"/>
                  <a:gd name="T9" fmla="*/ 0 h 49"/>
                  <a:gd name="T10" fmla="*/ 0 w 44"/>
                  <a:gd name="T11" fmla="*/ 2 h 49"/>
                  <a:gd name="T12" fmla="*/ 17 w 44"/>
                  <a:gd name="T13" fmla="*/ 49 h 49"/>
                  <a:gd name="T14" fmla="*/ 22 w 44"/>
                  <a:gd name="T15" fmla="*/ 47 h 49"/>
                  <a:gd name="T16" fmla="*/ 15 w 44"/>
                  <a:gd name="T17" fmla="*/ 28 h 49"/>
                  <a:gd name="T18" fmla="*/ 15 w 44"/>
                  <a:gd name="T19" fmla="*/ 18 h 49"/>
                  <a:gd name="T20" fmla="*/ 21 w 44"/>
                  <a:gd name="T21" fmla="*/ 12 h 49"/>
                  <a:gd name="T22" fmla="*/ 25 w 44"/>
                  <a:gd name="T23" fmla="*/ 12 h 49"/>
                  <a:gd name="T24" fmla="*/ 29 w 44"/>
                  <a:gd name="T25" fmla="*/ 15 h 49"/>
                  <a:gd name="T26" fmla="*/ 31 w 44"/>
                  <a:gd name="T27" fmla="*/ 20 h 49"/>
                  <a:gd name="T28" fmla="*/ 39 w 44"/>
                  <a:gd name="T29" fmla="*/ 41 h 49"/>
                  <a:gd name="T30" fmla="*/ 44 w 44"/>
                  <a:gd name="T31" fmla="*/ 39 h 49"/>
                  <a:gd name="T32" fmla="*/ 37 w 44"/>
                  <a:gd name="T33" fmla="*/ 18 h 49"/>
                  <a:gd name="T34" fmla="*/ 34 w 44"/>
                  <a:gd name="T35" fmla="*/ 12 h 49"/>
                  <a:gd name="T36" fmla="*/ 31 w 44"/>
                  <a:gd name="T37" fmla="*/ 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4" h="49">
                    <a:moveTo>
                      <a:pt x="31" y="8"/>
                    </a:moveTo>
                    <a:cubicBezTo>
                      <a:pt x="29" y="7"/>
                      <a:pt x="28" y="7"/>
                      <a:pt x="26" y="7"/>
                    </a:cubicBezTo>
                    <a:cubicBezTo>
                      <a:pt x="24" y="6"/>
                      <a:pt x="22" y="7"/>
                      <a:pt x="20" y="7"/>
                    </a:cubicBezTo>
                    <a:cubicBezTo>
                      <a:pt x="15" y="9"/>
                      <a:pt x="13" y="13"/>
                      <a:pt x="12" y="19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17" y="49"/>
                      <a:pt x="17" y="49"/>
                      <a:pt x="17" y="49"/>
                    </a:cubicBezTo>
                    <a:cubicBezTo>
                      <a:pt x="22" y="47"/>
                      <a:pt x="22" y="47"/>
                      <a:pt x="22" y="47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14" y="25"/>
                      <a:pt x="14" y="21"/>
                      <a:pt x="15" y="18"/>
                    </a:cubicBezTo>
                    <a:cubicBezTo>
                      <a:pt x="16" y="15"/>
                      <a:pt x="18" y="13"/>
                      <a:pt x="21" y="12"/>
                    </a:cubicBezTo>
                    <a:cubicBezTo>
                      <a:pt x="22" y="12"/>
                      <a:pt x="24" y="12"/>
                      <a:pt x="25" y="12"/>
                    </a:cubicBezTo>
                    <a:cubicBezTo>
                      <a:pt x="27" y="13"/>
                      <a:pt x="28" y="13"/>
                      <a:pt x="29" y="15"/>
                    </a:cubicBezTo>
                    <a:cubicBezTo>
                      <a:pt x="29" y="16"/>
                      <a:pt x="30" y="17"/>
                      <a:pt x="31" y="20"/>
                    </a:cubicBezTo>
                    <a:cubicBezTo>
                      <a:pt x="39" y="41"/>
                      <a:pt x="39" y="41"/>
                      <a:pt x="39" y="41"/>
                    </a:cubicBezTo>
                    <a:cubicBezTo>
                      <a:pt x="44" y="39"/>
                      <a:pt x="44" y="39"/>
                      <a:pt x="44" y="39"/>
                    </a:cubicBezTo>
                    <a:cubicBezTo>
                      <a:pt x="37" y="18"/>
                      <a:pt x="37" y="18"/>
                      <a:pt x="37" y="18"/>
                    </a:cubicBezTo>
                    <a:cubicBezTo>
                      <a:pt x="35" y="15"/>
                      <a:pt x="35" y="13"/>
                      <a:pt x="34" y="12"/>
                    </a:cubicBezTo>
                    <a:cubicBezTo>
                      <a:pt x="33" y="11"/>
                      <a:pt x="32" y="9"/>
                      <a:pt x="3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19" name="Freeform 211"/>
              <p:cNvSpPr>
                <a:spLocks noEditPoints="1"/>
              </p:cNvSpPr>
              <p:nvPr/>
            </p:nvSpPr>
            <p:spPr bwMode="auto">
              <a:xfrm>
                <a:off x="3140075" y="2470151"/>
                <a:ext cx="134938" cy="153988"/>
              </a:xfrm>
              <a:custGeom>
                <a:avLst/>
                <a:gdLst>
                  <a:gd name="T0" fmla="*/ 11 w 36"/>
                  <a:gd name="T1" fmla="*/ 1 h 41"/>
                  <a:gd name="T2" fmla="*/ 2 w 36"/>
                  <a:gd name="T3" fmla="*/ 11 h 41"/>
                  <a:gd name="T4" fmla="*/ 2 w 36"/>
                  <a:gd name="T5" fmla="*/ 26 h 41"/>
                  <a:gd name="T6" fmla="*/ 11 w 36"/>
                  <a:gd name="T7" fmla="*/ 37 h 41"/>
                  <a:gd name="T8" fmla="*/ 24 w 36"/>
                  <a:gd name="T9" fmla="*/ 39 h 41"/>
                  <a:gd name="T10" fmla="*/ 34 w 36"/>
                  <a:gd name="T11" fmla="*/ 29 h 41"/>
                  <a:gd name="T12" fmla="*/ 34 w 36"/>
                  <a:gd name="T13" fmla="*/ 14 h 41"/>
                  <a:gd name="T14" fmla="*/ 25 w 36"/>
                  <a:gd name="T15" fmla="*/ 3 h 41"/>
                  <a:gd name="T16" fmla="*/ 11 w 36"/>
                  <a:gd name="T17" fmla="*/ 1 h 41"/>
                  <a:gd name="T18" fmla="*/ 29 w 36"/>
                  <a:gd name="T19" fmla="*/ 28 h 41"/>
                  <a:gd name="T20" fmla="*/ 23 w 36"/>
                  <a:gd name="T21" fmla="*/ 34 h 41"/>
                  <a:gd name="T22" fmla="*/ 15 w 36"/>
                  <a:gd name="T23" fmla="*/ 33 h 41"/>
                  <a:gd name="T24" fmla="*/ 8 w 36"/>
                  <a:gd name="T25" fmla="*/ 23 h 41"/>
                  <a:gd name="T26" fmla="*/ 7 w 36"/>
                  <a:gd name="T27" fmla="*/ 12 h 41"/>
                  <a:gd name="T28" fmla="*/ 13 w 36"/>
                  <a:gd name="T29" fmla="*/ 6 h 41"/>
                  <a:gd name="T30" fmla="*/ 21 w 36"/>
                  <a:gd name="T31" fmla="*/ 7 h 41"/>
                  <a:gd name="T32" fmla="*/ 28 w 36"/>
                  <a:gd name="T33" fmla="*/ 16 h 41"/>
                  <a:gd name="T34" fmla="*/ 29 w 36"/>
                  <a:gd name="T35" fmla="*/ 28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6" h="41">
                    <a:moveTo>
                      <a:pt x="11" y="1"/>
                    </a:moveTo>
                    <a:cubicBezTo>
                      <a:pt x="7" y="3"/>
                      <a:pt x="4" y="6"/>
                      <a:pt x="2" y="11"/>
                    </a:cubicBezTo>
                    <a:cubicBezTo>
                      <a:pt x="0" y="15"/>
                      <a:pt x="0" y="20"/>
                      <a:pt x="2" y="26"/>
                    </a:cubicBezTo>
                    <a:cubicBezTo>
                      <a:pt x="4" y="31"/>
                      <a:pt x="7" y="35"/>
                      <a:pt x="11" y="37"/>
                    </a:cubicBezTo>
                    <a:cubicBezTo>
                      <a:pt x="15" y="40"/>
                      <a:pt x="19" y="41"/>
                      <a:pt x="24" y="39"/>
                    </a:cubicBezTo>
                    <a:cubicBezTo>
                      <a:pt x="29" y="37"/>
                      <a:pt x="32" y="34"/>
                      <a:pt x="34" y="29"/>
                    </a:cubicBezTo>
                    <a:cubicBezTo>
                      <a:pt x="36" y="25"/>
                      <a:pt x="36" y="20"/>
                      <a:pt x="34" y="14"/>
                    </a:cubicBezTo>
                    <a:cubicBezTo>
                      <a:pt x="32" y="9"/>
                      <a:pt x="29" y="5"/>
                      <a:pt x="25" y="3"/>
                    </a:cubicBezTo>
                    <a:cubicBezTo>
                      <a:pt x="21" y="0"/>
                      <a:pt x="16" y="0"/>
                      <a:pt x="11" y="1"/>
                    </a:cubicBezTo>
                    <a:close/>
                    <a:moveTo>
                      <a:pt x="29" y="28"/>
                    </a:moveTo>
                    <a:cubicBezTo>
                      <a:pt x="28" y="31"/>
                      <a:pt x="26" y="33"/>
                      <a:pt x="23" y="34"/>
                    </a:cubicBezTo>
                    <a:cubicBezTo>
                      <a:pt x="20" y="35"/>
                      <a:pt x="17" y="35"/>
                      <a:pt x="15" y="33"/>
                    </a:cubicBezTo>
                    <a:cubicBezTo>
                      <a:pt x="12" y="32"/>
                      <a:pt x="10" y="29"/>
                      <a:pt x="8" y="23"/>
                    </a:cubicBezTo>
                    <a:cubicBezTo>
                      <a:pt x="6" y="19"/>
                      <a:pt x="6" y="15"/>
                      <a:pt x="7" y="12"/>
                    </a:cubicBezTo>
                    <a:cubicBezTo>
                      <a:pt x="8" y="9"/>
                      <a:pt x="10" y="7"/>
                      <a:pt x="13" y="6"/>
                    </a:cubicBezTo>
                    <a:cubicBezTo>
                      <a:pt x="15" y="5"/>
                      <a:pt x="18" y="5"/>
                      <a:pt x="21" y="7"/>
                    </a:cubicBezTo>
                    <a:cubicBezTo>
                      <a:pt x="24" y="8"/>
                      <a:pt x="26" y="12"/>
                      <a:pt x="28" y="16"/>
                    </a:cubicBezTo>
                    <a:cubicBezTo>
                      <a:pt x="29" y="21"/>
                      <a:pt x="30" y="25"/>
                      <a:pt x="29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20" name="Freeform 212"/>
              <p:cNvSpPr/>
              <p:nvPr/>
            </p:nvSpPr>
            <p:spPr bwMode="auto">
              <a:xfrm>
                <a:off x="3252788" y="2390776"/>
                <a:ext cx="180975" cy="180975"/>
              </a:xfrm>
              <a:custGeom>
                <a:avLst/>
                <a:gdLst>
                  <a:gd name="T0" fmla="*/ 97 w 114"/>
                  <a:gd name="T1" fmla="*/ 5 h 114"/>
                  <a:gd name="T2" fmla="*/ 99 w 114"/>
                  <a:gd name="T3" fmla="*/ 74 h 114"/>
                  <a:gd name="T4" fmla="*/ 59 w 114"/>
                  <a:gd name="T5" fmla="*/ 19 h 114"/>
                  <a:gd name="T6" fmla="*/ 50 w 114"/>
                  <a:gd name="T7" fmla="*/ 22 h 114"/>
                  <a:gd name="T8" fmla="*/ 54 w 114"/>
                  <a:gd name="T9" fmla="*/ 90 h 114"/>
                  <a:gd name="T10" fmla="*/ 14 w 114"/>
                  <a:gd name="T11" fmla="*/ 36 h 114"/>
                  <a:gd name="T12" fmla="*/ 0 w 114"/>
                  <a:gd name="T13" fmla="*/ 40 h 114"/>
                  <a:gd name="T14" fmla="*/ 57 w 114"/>
                  <a:gd name="T15" fmla="*/ 114 h 114"/>
                  <a:gd name="T16" fmla="*/ 66 w 114"/>
                  <a:gd name="T17" fmla="*/ 109 h 114"/>
                  <a:gd name="T18" fmla="*/ 62 w 114"/>
                  <a:gd name="T19" fmla="*/ 43 h 114"/>
                  <a:gd name="T20" fmla="*/ 102 w 114"/>
                  <a:gd name="T21" fmla="*/ 97 h 114"/>
                  <a:gd name="T22" fmla="*/ 114 w 114"/>
                  <a:gd name="T23" fmla="*/ 93 h 114"/>
                  <a:gd name="T24" fmla="*/ 107 w 114"/>
                  <a:gd name="T25" fmla="*/ 0 h 114"/>
                  <a:gd name="T26" fmla="*/ 97 w 114"/>
                  <a:gd name="T27" fmla="*/ 5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4" h="114">
                    <a:moveTo>
                      <a:pt x="97" y="5"/>
                    </a:moveTo>
                    <a:lnTo>
                      <a:pt x="99" y="74"/>
                    </a:lnTo>
                    <a:lnTo>
                      <a:pt x="59" y="19"/>
                    </a:lnTo>
                    <a:lnTo>
                      <a:pt x="50" y="22"/>
                    </a:lnTo>
                    <a:lnTo>
                      <a:pt x="54" y="90"/>
                    </a:lnTo>
                    <a:lnTo>
                      <a:pt x="14" y="36"/>
                    </a:lnTo>
                    <a:lnTo>
                      <a:pt x="0" y="40"/>
                    </a:lnTo>
                    <a:lnTo>
                      <a:pt x="57" y="114"/>
                    </a:lnTo>
                    <a:lnTo>
                      <a:pt x="66" y="109"/>
                    </a:lnTo>
                    <a:lnTo>
                      <a:pt x="62" y="43"/>
                    </a:lnTo>
                    <a:lnTo>
                      <a:pt x="102" y="97"/>
                    </a:lnTo>
                    <a:lnTo>
                      <a:pt x="114" y="93"/>
                    </a:lnTo>
                    <a:lnTo>
                      <a:pt x="107" y="0"/>
                    </a:lnTo>
                    <a:lnTo>
                      <a:pt x="97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21" name="Freeform 213"/>
              <p:cNvSpPr/>
              <p:nvPr/>
            </p:nvSpPr>
            <p:spPr bwMode="auto">
              <a:xfrm>
                <a:off x="2917825" y="2620963"/>
                <a:ext cx="57150" cy="30163"/>
              </a:xfrm>
              <a:custGeom>
                <a:avLst/>
                <a:gdLst>
                  <a:gd name="T0" fmla="*/ 31 w 36"/>
                  <a:gd name="T1" fmla="*/ 0 h 19"/>
                  <a:gd name="T2" fmla="*/ 36 w 36"/>
                  <a:gd name="T3" fmla="*/ 7 h 19"/>
                  <a:gd name="T4" fmla="*/ 3 w 36"/>
                  <a:gd name="T5" fmla="*/ 19 h 19"/>
                  <a:gd name="T6" fmla="*/ 0 w 36"/>
                  <a:gd name="T7" fmla="*/ 9 h 19"/>
                  <a:gd name="T8" fmla="*/ 31 w 36"/>
                  <a:gd name="T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19">
                    <a:moveTo>
                      <a:pt x="31" y="0"/>
                    </a:moveTo>
                    <a:lnTo>
                      <a:pt x="36" y="7"/>
                    </a:lnTo>
                    <a:lnTo>
                      <a:pt x="3" y="19"/>
                    </a:lnTo>
                    <a:lnTo>
                      <a:pt x="0" y="9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22" name="Freeform 214"/>
              <p:cNvSpPr/>
              <p:nvPr/>
            </p:nvSpPr>
            <p:spPr bwMode="auto">
              <a:xfrm>
                <a:off x="4291013" y="2736851"/>
                <a:ext cx="142875" cy="180975"/>
              </a:xfrm>
              <a:custGeom>
                <a:avLst/>
                <a:gdLst>
                  <a:gd name="T0" fmla="*/ 5 w 38"/>
                  <a:gd name="T1" fmla="*/ 3 h 48"/>
                  <a:gd name="T2" fmla="*/ 2 w 38"/>
                  <a:gd name="T3" fmla="*/ 9 h 48"/>
                  <a:gd name="T4" fmla="*/ 9 w 38"/>
                  <a:gd name="T5" fmla="*/ 21 h 48"/>
                  <a:gd name="T6" fmla="*/ 3 w 38"/>
                  <a:gd name="T7" fmla="*/ 24 h 48"/>
                  <a:gd name="T8" fmla="*/ 0 w 38"/>
                  <a:gd name="T9" fmla="*/ 30 h 48"/>
                  <a:gd name="T10" fmla="*/ 7 w 38"/>
                  <a:gd name="T11" fmla="*/ 41 h 48"/>
                  <a:gd name="T12" fmla="*/ 0 w 38"/>
                  <a:gd name="T13" fmla="*/ 40 h 48"/>
                  <a:gd name="T14" fmla="*/ 0 w 38"/>
                  <a:gd name="T15" fmla="*/ 45 h 48"/>
                  <a:gd name="T16" fmla="*/ 34 w 38"/>
                  <a:gd name="T17" fmla="*/ 48 h 48"/>
                  <a:gd name="T18" fmla="*/ 34 w 38"/>
                  <a:gd name="T19" fmla="*/ 43 h 48"/>
                  <a:gd name="T20" fmla="*/ 14 w 38"/>
                  <a:gd name="T21" fmla="*/ 41 h 48"/>
                  <a:gd name="T22" fmla="*/ 7 w 38"/>
                  <a:gd name="T23" fmla="*/ 38 h 48"/>
                  <a:gd name="T24" fmla="*/ 4 w 38"/>
                  <a:gd name="T25" fmla="*/ 32 h 48"/>
                  <a:gd name="T26" fmla="*/ 7 w 38"/>
                  <a:gd name="T27" fmla="*/ 27 h 48"/>
                  <a:gd name="T28" fmla="*/ 13 w 38"/>
                  <a:gd name="T29" fmla="*/ 26 h 48"/>
                  <a:gd name="T30" fmla="*/ 36 w 38"/>
                  <a:gd name="T31" fmla="*/ 28 h 48"/>
                  <a:gd name="T32" fmla="*/ 36 w 38"/>
                  <a:gd name="T33" fmla="*/ 23 h 48"/>
                  <a:gd name="T34" fmla="*/ 17 w 38"/>
                  <a:gd name="T35" fmla="*/ 21 h 48"/>
                  <a:gd name="T36" fmla="*/ 9 w 38"/>
                  <a:gd name="T37" fmla="*/ 17 h 48"/>
                  <a:gd name="T38" fmla="*/ 7 w 38"/>
                  <a:gd name="T39" fmla="*/ 11 h 48"/>
                  <a:gd name="T40" fmla="*/ 8 w 38"/>
                  <a:gd name="T41" fmla="*/ 7 h 48"/>
                  <a:gd name="T42" fmla="*/ 12 w 38"/>
                  <a:gd name="T43" fmla="*/ 5 h 48"/>
                  <a:gd name="T44" fmla="*/ 17 w 38"/>
                  <a:gd name="T45" fmla="*/ 5 h 48"/>
                  <a:gd name="T46" fmla="*/ 38 w 38"/>
                  <a:gd name="T47" fmla="*/ 8 h 48"/>
                  <a:gd name="T48" fmla="*/ 38 w 38"/>
                  <a:gd name="T49" fmla="*/ 2 h 48"/>
                  <a:gd name="T50" fmla="*/ 17 w 38"/>
                  <a:gd name="T51" fmla="*/ 0 h 48"/>
                  <a:gd name="T52" fmla="*/ 10 w 38"/>
                  <a:gd name="T53" fmla="*/ 0 h 48"/>
                  <a:gd name="T54" fmla="*/ 5 w 38"/>
                  <a:gd name="T55" fmla="*/ 3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8" h="48">
                    <a:moveTo>
                      <a:pt x="5" y="3"/>
                    </a:moveTo>
                    <a:cubicBezTo>
                      <a:pt x="3" y="5"/>
                      <a:pt x="2" y="7"/>
                      <a:pt x="2" y="9"/>
                    </a:cubicBezTo>
                    <a:cubicBezTo>
                      <a:pt x="2" y="14"/>
                      <a:pt x="4" y="18"/>
                      <a:pt x="9" y="21"/>
                    </a:cubicBezTo>
                    <a:cubicBezTo>
                      <a:pt x="7" y="21"/>
                      <a:pt x="5" y="22"/>
                      <a:pt x="3" y="24"/>
                    </a:cubicBezTo>
                    <a:cubicBezTo>
                      <a:pt x="1" y="25"/>
                      <a:pt x="0" y="27"/>
                      <a:pt x="0" y="30"/>
                    </a:cubicBezTo>
                    <a:cubicBezTo>
                      <a:pt x="0" y="34"/>
                      <a:pt x="2" y="38"/>
                      <a:pt x="7" y="41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34" y="48"/>
                      <a:pt x="34" y="48"/>
                      <a:pt x="34" y="48"/>
                    </a:cubicBezTo>
                    <a:cubicBezTo>
                      <a:pt x="34" y="43"/>
                      <a:pt x="34" y="43"/>
                      <a:pt x="34" y="43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1" y="41"/>
                      <a:pt x="8" y="40"/>
                      <a:pt x="7" y="38"/>
                    </a:cubicBezTo>
                    <a:cubicBezTo>
                      <a:pt x="5" y="36"/>
                      <a:pt x="4" y="34"/>
                      <a:pt x="4" y="32"/>
                    </a:cubicBezTo>
                    <a:cubicBezTo>
                      <a:pt x="4" y="30"/>
                      <a:pt x="5" y="29"/>
                      <a:pt x="7" y="27"/>
                    </a:cubicBezTo>
                    <a:cubicBezTo>
                      <a:pt x="8" y="26"/>
                      <a:pt x="10" y="26"/>
                      <a:pt x="13" y="26"/>
                    </a:cubicBezTo>
                    <a:cubicBezTo>
                      <a:pt x="36" y="28"/>
                      <a:pt x="36" y="28"/>
                      <a:pt x="36" y="28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17" y="21"/>
                      <a:pt x="17" y="21"/>
                      <a:pt x="17" y="21"/>
                    </a:cubicBezTo>
                    <a:cubicBezTo>
                      <a:pt x="13" y="21"/>
                      <a:pt x="10" y="19"/>
                      <a:pt x="9" y="17"/>
                    </a:cubicBezTo>
                    <a:cubicBezTo>
                      <a:pt x="7" y="15"/>
                      <a:pt x="6" y="13"/>
                      <a:pt x="7" y="11"/>
                    </a:cubicBezTo>
                    <a:cubicBezTo>
                      <a:pt x="7" y="10"/>
                      <a:pt x="7" y="8"/>
                      <a:pt x="8" y="7"/>
                    </a:cubicBezTo>
                    <a:cubicBezTo>
                      <a:pt x="9" y="6"/>
                      <a:pt x="10" y="6"/>
                      <a:pt x="12" y="5"/>
                    </a:cubicBezTo>
                    <a:cubicBezTo>
                      <a:pt x="13" y="5"/>
                      <a:pt x="14" y="5"/>
                      <a:pt x="17" y="5"/>
                    </a:cubicBezTo>
                    <a:cubicBezTo>
                      <a:pt x="38" y="8"/>
                      <a:pt x="38" y="8"/>
                      <a:pt x="38" y="8"/>
                    </a:cubicBezTo>
                    <a:cubicBezTo>
                      <a:pt x="38" y="2"/>
                      <a:pt x="38" y="2"/>
                      <a:pt x="38" y="2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4" y="0"/>
                      <a:pt x="11" y="0"/>
                      <a:pt x="10" y="0"/>
                    </a:cubicBezTo>
                    <a:cubicBezTo>
                      <a:pt x="8" y="1"/>
                      <a:pt x="6" y="2"/>
                      <a:pt x="5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23" name="Freeform 215"/>
              <p:cNvSpPr>
                <a:spLocks noEditPoints="1"/>
              </p:cNvSpPr>
              <p:nvPr/>
            </p:nvSpPr>
            <p:spPr bwMode="auto">
              <a:xfrm>
                <a:off x="4308475" y="2590801"/>
                <a:ext cx="139700" cy="119063"/>
              </a:xfrm>
              <a:custGeom>
                <a:avLst/>
                <a:gdLst>
                  <a:gd name="T0" fmla="*/ 0 w 37"/>
                  <a:gd name="T1" fmla="*/ 14 h 32"/>
                  <a:gd name="T2" fmla="*/ 4 w 37"/>
                  <a:gd name="T3" fmla="*/ 26 h 32"/>
                  <a:gd name="T4" fmla="*/ 17 w 37"/>
                  <a:gd name="T5" fmla="*/ 32 h 32"/>
                  <a:gd name="T6" fmla="*/ 30 w 37"/>
                  <a:gd name="T7" fmla="*/ 29 h 32"/>
                  <a:gd name="T8" fmla="*/ 37 w 37"/>
                  <a:gd name="T9" fmla="*/ 18 h 32"/>
                  <a:gd name="T10" fmla="*/ 33 w 37"/>
                  <a:gd name="T11" fmla="*/ 7 h 32"/>
                  <a:gd name="T12" fmla="*/ 20 w 37"/>
                  <a:gd name="T13" fmla="*/ 1 h 32"/>
                  <a:gd name="T14" fmla="*/ 7 w 37"/>
                  <a:gd name="T15" fmla="*/ 4 h 32"/>
                  <a:gd name="T16" fmla="*/ 0 w 37"/>
                  <a:gd name="T17" fmla="*/ 14 h 32"/>
                  <a:gd name="T18" fmla="*/ 30 w 37"/>
                  <a:gd name="T19" fmla="*/ 10 h 32"/>
                  <a:gd name="T20" fmla="*/ 32 w 37"/>
                  <a:gd name="T21" fmla="*/ 18 h 32"/>
                  <a:gd name="T22" fmla="*/ 28 w 37"/>
                  <a:gd name="T23" fmla="*/ 24 h 32"/>
                  <a:gd name="T24" fmla="*/ 17 w 37"/>
                  <a:gd name="T25" fmla="*/ 26 h 32"/>
                  <a:gd name="T26" fmla="*/ 7 w 37"/>
                  <a:gd name="T27" fmla="*/ 22 h 32"/>
                  <a:gd name="T28" fmla="*/ 5 w 37"/>
                  <a:gd name="T29" fmla="*/ 15 h 32"/>
                  <a:gd name="T30" fmla="*/ 9 w 37"/>
                  <a:gd name="T31" fmla="*/ 9 h 32"/>
                  <a:gd name="T32" fmla="*/ 19 w 37"/>
                  <a:gd name="T33" fmla="*/ 7 h 32"/>
                  <a:gd name="T34" fmla="*/ 30 w 37"/>
                  <a:gd name="T35" fmla="*/ 1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7" h="32">
                    <a:moveTo>
                      <a:pt x="0" y="14"/>
                    </a:moveTo>
                    <a:cubicBezTo>
                      <a:pt x="0" y="19"/>
                      <a:pt x="1" y="23"/>
                      <a:pt x="4" y="26"/>
                    </a:cubicBezTo>
                    <a:cubicBezTo>
                      <a:pt x="7" y="29"/>
                      <a:pt x="11" y="31"/>
                      <a:pt x="17" y="32"/>
                    </a:cubicBezTo>
                    <a:cubicBezTo>
                      <a:pt x="22" y="32"/>
                      <a:pt x="27" y="31"/>
                      <a:pt x="30" y="29"/>
                    </a:cubicBezTo>
                    <a:cubicBezTo>
                      <a:pt x="34" y="27"/>
                      <a:pt x="36" y="23"/>
                      <a:pt x="37" y="18"/>
                    </a:cubicBezTo>
                    <a:cubicBezTo>
                      <a:pt x="37" y="14"/>
                      <a:pt x="36" y="10"/>
                      <a:pt x="33" y="7"/>
                    </a:cubicBezTo>
                    <a:cubicBezTo>
                      <a:pt x="30" y="3"/>
                      <a:pt x="25" y="1"/>
                      <a:pt x="20" y="1"/>
                    </a:cubicBezTo>
                    <a:cubicBezTo>
                      <a:pt x="15" y="0"/>
                      <a:pt x="10" y="1"/>
                      <a:pt x="7" y="4"/>
                    </a:cubicBezTo>
                    <a:cubicBezTo>
                      <a:pt x="3" y="6"/>
                      <a:pt x="1" y="10"/>
                      <a:pt x="0" y="14"/>
                    </a:cubicBezTo>
                    <a:close/>
                    <a:moveTo>
                      <a:pt x="30" y="10"/>
                    </a:moveTo>
                    <a:cubicBezTo>
                      <a:pt x="32" y="13"/>
                      <a:pt x="33" y="15"/>
                      <a:pt x="32" y="18"/>
                    </a:cubicBezTo>
                    <a:cubicBezTo>
                      <a:pt x="32" y="20"/>
                      <a:pt x="31" y="22"/>
                      <a:pt x="28" y="24"/>
                    </a:cubicBezTo>
                    <a:cubicBezTo>
                      <a:pt x="26" y="26"/>
                      <a:pt x="22" y="26"/>
                      <a:pt x="17" y="26"/>
                    </a:cubicBezTo>
                    <a:cubicBezTo>
                      <a:pt x="13" y="25"/>
                      <a:pt x="9" y="24"/>
                      <a:pt x="7" y="22"/>
                    </a:cubicBezTo>
                    <a:cubicBezTo>
                      <a:pt x="5" y="20"/>
                      <a:pt x="5" y="18"/>
                      <a:pt x="5" y="15"/>
                    </a:cubicBezTo>
                    <a:cubicBezTo>
                      <a:pt x="5" y="12"/>
                      <a:pt x="6" y="10"/>
                      <a:pt x="9" y="9"/>
                    </a:cubicBezTo>
                    <a:cubicBezTo>
                      <a:pt x="11" y="7"/>
                      <a:pt x="15" y="6"/>
                      <a:pt x="19" y="7"/>
                    </a:cubicBezTo>
                    <a:cubicBezTo>
                      <a:pt x="24" y="7"/>
                      <a:pt x="27" y="8"/>
                      <a:pt x="3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24" name="Freeform 216"/>
              <p:cNvSpPr>
                <a:spLocks noEditPoints="1"/>
              </p:cNvSpPr>
              <p:nvPr/>
            </p:nvSpPr>
            <p:spPr bwMode="auto">
              <a:xfrm>
                <a:off x="4286250" y="2451101"/>
                <a:ext cx="176213" cy="123825"/>
              </a:xfrm>
              <a:custGeom>
                <a:avLst/>
                <a:gdLst>
                  <a:gd name="T0" fmla="*/ 16 w 47"/>
                  <a:gd name="T1" fmla="*/ 7 h 33"/>
                  <a:gd name="T2" fmla="*/ 10 w 47"/>
                  <a:gd name="T3" fmla="*/ 17 h 33"/>
                  <a:gd name="T4" fmla="*/ 14 w 47"/>
                  <a:gd name="T5" fmla="*/ 27 h 33"/>
                  <a:gd name="T6" fmla="*/ 27 w 47"/>
                  <a:gd name="T7" fmla="*/ 32 h 33"/>
                  <a:gd name="T8" fmla="*/ 40 w 47"/>
                  <a:gd name="T9" fmla="*/ 30 h 33"/>
                  <a:gd name="T10" fmla="*/ 46 w 47"/>
                  <a:gd name="T11" fmla="*/ 20 h 33"/>
                  <a:gd name="T12" fmla="*/ 40 w 47"/>
                  <a:gd name="T13" fmla="*/ 9 h 33"/>
                  <a:gd name="T14" fmla="*/ 46 w 47"/>
                  <a:gd name="T15" fmla="*/ 9 h 33"/>
                  <a:gd name="T16" fmla="*/ 47 w 47"/>
                  <a:gd name="T17" fmla="*/ 5 h 33"/>
                  <a:gd name="T18" fmla="*/ 0 w 47"/>
                  <a:gd name="T19" fmla="*/ 0 h 33"/>
                  <a:gd name="T20" fmla="*/ 0 w 47"/>
                  <a:gd name="T21" fmla="*/ 5 h 33"/>
                  <a:gd name="T22" fmla="*/ 16 w 47"/>
                  <a:gd name="T23" fmla="*/ 7 h 33"/>
                  <a:gd name="T24" fmla="*/ 32 w 47"/>
                  <a:gd name="T25" fmla="*/ 9 h 33"/>
                  <a:gd name="T26" fmla="*/ 39 w 47"/>
                  <a:gd name="T27" fmla="*/ 12 h 33"/>
                  <a:gd name="T28" fmla="*/ 42 w 47"/>
                  <a:gd name="T29" fmla="*/ 19 h 33"/>
                  <a:gd name="T30" fmla="*/ 37 w 47"/>
                  <a:gd name="T31" fmla="*/ 25 h 33"/>
                  <a:gd name="T32" fmla="*/ 27 w 47"/>
                  <a:gd name="T33" fmla="*/ 27 h 33"/>
                  <a:gd name="T34" fmla="*/ 17 w 47"/>
                  <a:gd name="T35" fmla="*/ 23 h 33"/>
                  <a:gd name="T36" fmla="*/ 14 w 47"/>
                  <a:gd name="T37" fmla="*/ 16 h 33"/>
                  <a:gd name="T38" fmla="*/ 18 w 47"/>
                  <a:gd name="T39" fmla="*/ 10 h 33"/>
                  <a:gd name="T40" fmla="*/ 25 w 47"/>
                  <a:gd name="T41" fmla="*/ 8 h 33"/>
                  <a:gd name="T42" fmla="*/ 32 w 47"/>
                  <a:gd name="T43" fmla="*/ 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7" h="33">
                    <a:moveTo>
                      <a:pt x="16" y="7"/>
                    </a:moveTo>
                    <a:cubicBezTo>
                      <a:pt x="12" y="9"/>
                      <a:pt x="10" y="12"/>
                      <a:pt x="10" y="17"/>
                    </a:cubicBezTo>
                    <a:cubicBezTo>
                      <a:pt x="9" y="21"/>
                      <a:pt x="11" y="24"/>
                      <a:pt x="14" y="27"/>
                    </a:cubicBezTo>
                    <a:cubicBezTo>
                      <a:pt x="17" y="30"/>
                      <a:pt x="22" y="32"/>
                      <a:pt x="27" y="32"/>
                    </a:cubicBezTo>
                    <a:cubicBezTo>
                      <a:pt x="32" y="33"/>
                      <a:pt x="36" y="32"/>
                      <a:pt x="40" y="30"/>
                    </a:cubicBezTo>
                    <a:cubicBezTo>
                      <a:pt x="44" y="28"/>
                      <a:pt x="46" y="24"/>
                      <a:pt x="46" y="20"/>
                    </a:cubicBezTo>
                    <a:cubicBezTo>
                      <a:pt x="47" y="16"/>
                      <a:pt x="45" y="12"/>
                      <a:pt x="40" y="9"/>
                    </a:cubicBezTo>
                    <a:cubicBezTo>
                      <a:pt x="46" y="9"/>
                      <a:pt x="46" y="9"/>
                      <a:pt x="46" y="9"/>
                    </a:cubicBezTo>
                    <a:cubicBezTo>
                      <a:pt x="47" y="5"/>
                      <a:pt x="47" y="5"/>
                      <a:pt x="47" y="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5"/>
                      <a:pt x="0" y="5"/>
                      <a:pt x="0" y="5"/>
                    </a:cubicBezTo>
                    <a:lnTo>
                      <a:pt x="16" y="7"/>
                    </a:lnTo>
                    <a:close/>
                    <a:moveTo>
                      <a:pt x="32" y="9"/>
                    </a:moveTo>
                    <a:cubicBezTo>
                      <a:pt x="35" y="9"/>
                      <a:pt x="37" y="10"/>
                      <a:pt x="39" y="12"/>
                    </a:cubicBezTo>
                    <a:cubicBezTo>
                      <a:pt x="41" y="14"/>
                      <a:pt x="42" y="17"/>
                      <a:pt x="42" y="19"/>
                    </a:cubicBezTo>
                    <a:cubicBezTo>
                      <a:pt x="41" y="22"/>
                      <a:pt x="40" y="24"/>
                      <a:pt x="37" y="25"/>
                    </a:cubicBezTo>
                    <a:cubicBezTo>
                      <a:pt x="35" y="27"/>
                      <a:pt x="31" y="27"/>
                      <a:pt x="27" y="27"/>
                    </a:cubicBezTo>
                    <a:cubicBezTo>
                      <a:pt x="22" y="26"/>
                      <a:pt x="19" y="25"/>
                      <a:pt x="17" y="23"/>
                    </a:cubicBezTo>
                    <a:cubicBezTo>
                      <a:pt x="15" y="21"/>
                      <a:pt x="14" y="19"/>
                      <a:pt x="14" y="16"/>
                    </a:cubicBezTo>
                    <a:cubicBezTo>
                      <a:pt x="14" y="14"/>
                      <a:pt x="16" y="12"/>
                      <a:pt x="18" y="10"/>
                    </a:cubicBezTo>
                    <a:cubicBezTo>
                      <a:pt x="20" y="8"/>
                      <a:pt x="22" y="8"/>
                      <a:pt x="25" y="8"/>
                    </a:cubicBezTo>
                    <a:lnTo>
                      <a:pt x="32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25" name="Freeform 217"/>
              <p:cNvSpPr>
                <a:spLocks noEditPoints="1"/>
              </p:cNvSpPr>
              <p:nvPr/>
            </p:nvSpPr>
            <p:spPr bwMode="auto">
              <a:xfrm>
                <a:off x="4335463" y="2316163"/>
                <a:ext cx="139700" cy="115888"/>
              </a:xfrm>
              <a:custGeom>
                <a:avLst/>
                <a:gdLst>
                  <a:gd name="T0" fmla="*/ 6 w 37"/>
                  <a:gd name="T1" fmla="*/ 3 h 31"/>
                  <a:gd name="T2" fmla="*/ 1 w 37"/>
                  <a:gd name="T3" fmla="*/ 13 h 31"/>
                  <a:gd name="T4" fmla="*/ 5 w 37"/>
                  <a:gd name="T5" fmla="*/ 25 h 31"/>
                  <a:gd name="T6" fmla="*/ 17 w 37"/>
                  <a:gd name="T7" fmla="*/ 31 h 31"/>
                  <a:gd name="T8" fmla="*/ 31 w 37"/>
                  <a:gd name="T9" fmla="*/ 28 h 31"/>
                  <a:gd name="T10" fmla="*/ 37 w 37"/>
                  <a:gd name="T11" fmla="*/ 17 h 31"/>
                  <a:gd name="T12" fmla="*/ 35 w 37"/>
                  <a:gd name="T13" fmla="*/ 7 h 31"/>
                  <a:gd name="T14" fmla="*/ 28 w 37"/>
                  <a:gd name="T15" fmla="*/ 1 h 31"/>
                  <a:gd name="T16" fmla="*/ 27 w 37"/>
                  <a:gd name="T17" fmla="*/ 6 h 31"/>
                  <a:gd name="T18" fmla="*/ 33 w 37"/>
                  <a:gd name="T19" fmla="*/ 16 h 31"/>
                  <a:gd name="T20" fmla="*/ 29 w 37"/>
                  <a:gd name="T21" fmla="*/ 23 h 31"/>
                  <a:gd name="T22" fmla="*/ 18 w 37"/>
                  <a:gd name="T23" fmla="*/ 25 h 31"/>
                  <a:gd name="T24" fmla="*/ 21 w 37"/>
                  <a:gd name="T25" fmla="*/ 0 h 31"/>
                  <a:gd name="T26" fmla="*/ 6 w 37"/>
                  <a:gd name="T27" fmla="*/ 3 h 31"/>
                  <a:gd name="T28" fmla="*/ 14 w 37"/>
                  <a:gd name="T29" fmla="*/ 24 h 31"/>
                  <a:gd name="T30" fmla="*/ 7 w 37"/>
                  <a:gd name="T31" fmla="*/ 21 h 31"/>
                  <a:gd name="T32" fmla="*/ 5 w 37"/>
                  <a:gd name="T33" fmla="*/ 14 h 31"/>
                  <a:gd name="T34" fmla="*/ 7 w 37"/>
                  <a:gd name="T35" fmla="*/ 9 h 31"/>
                  <a:gd name="T36" fmla="*/ 11 w 37"/>
                  <a:gd name="T37" fmla="*/ 6 h 31"/>
                  <a:gd name="T38" fmla="*/ 16 w 37"/>
                  <a:gd name="T39" fmla="*/ 6 h 31"/>
                  <a:gd name="T40" fmla="*/ 14 w 37"/>
                  <a:gd name="T41" fmla="*/ 2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7" h="31">
                    <a:moveTo>
                      <a:pt x="6" y="3"/>
                    </a:moveTo>
                    <a:cubicBezTo>
                      <a:pt x="3" y="5"/>
                      <a:pt x="1" y="9"/>
                      <a:pt x="1" y="13"/>
                    </a:cubicBezTo>
                    <a:cubicBezTo>
                      <a:pt x="0" y="18"/>
                      <a:pt x="2" y="22"/>
                      <a:pt x="5" y="25"/>
                    </a:cubicBezTo>
                    <a:cubicBezTo>
                      <a:pt x="8" y="28"/>
                      <a:pt x="12" y="30"/>
                      <a:pt x="17" y="31"/>
                    </a:cubicBezTo>
                    <a:cubicBezTo>
                      <a:pt x="23" y="31"/>
                      <a:pt x="27" y="30"/>
                      <a:pt x="31" y="28"/>
                    </a:cubicBezTo>
                    <a:cubicBezTo>
                      <a:pt x="34" y="25"/>
                      <a:pt x="36" y="22"/>
                      <a:pt x="37" y="17"/>
                    </a:cubicBezTo>
                    <a:cubicBezTo>
                      <a:pt x="37" y="13"/>
                      <a:pt x="37" y="10"/>
                      <a:pt x="35" y="7"/>
                    </a:cubicBezTo>
                    <a:cubicBezTo>
                      <a:pt x="33" y="5"/>
                      <a:pt x="31" y="3"/>
                      <a:pt x="28" y="1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31" y="8"/>
                      <a:pt x="33" y="12"/>
                      <a:pt x="33" y="16"/>
                    </a:cubicBezTo>
                    <a:cubicBezTo>
                      <a:pt x="32" y="19"/>
                      <a:pt x="31" y="21"/>
                      <a:pt x="29" y="23"/>
                    </a:cubicBezTo>
                    <a:cubicBezTo>
                      <a:pt x="27" y="25"/>
                      <a:pt x="24" y="26"/>
                      <a:pt x="18" y="25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15" y="0"/>
                      <a:pt x="10" y="0"/>
                      <a:pt x="6" y="3"/>
                    </a:cubicBezTo>
                    <a:close/>
                    <a:moveTo>
                      <a:pt x="14" y="24"/>
                    </a:moveTo>
                    <a:cubicBezTo>
                      <a:pt x="11" y="24"/>
                      <a:pt x="9" y="23"/>
                      <a:pt x="7" y="21"/>
                    </a:cubicBezTo>
                    <a:cubicBezTo>
                      <a:pt x="5" y="19"/>
                      <a:pt x="5" y="16"/>
                      <a:pt x="5" y="14"/>
                    </a:cubicBezTo>
                    <a:cubicBezTo>
                      <a:pt x="5" y="12"/>
                      <a:pt x="6" y="10"/>
                      <a:pt x="7" y="9"/>
                    </a:cubicBezTo>
                    <a:cubicBezTo>
                      <a:pt x="8" y="7"/>
                      <a:pt x="9" y="6"/>
                      <a:pt x="11" y="6"/>
                    </a:cubicBezTo>
                    <a:cubicBezTo>
                      <a:pt x="13" y="6"/>
                      <a:pt x="14" y="5"/>
                      <a:pt x="16" y="6"/>
                    </a:cubicBezTo>
                    <a:lnTo>
                      <a:pt x="14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26" name="Freeform 218"/>
              <p:cNvSpPr/>
              <p:nvPr/>
            </p:nvSpPr>
            <p:spPr bwMode="auto">
              <a:xfrm>
                <a:off x="4349750" y="2214563"/>
                <a:ext cx="131763" cy="79375"/>
              </a:xfrm>
              <a:custGeom>
                <a:avLst/>
                <a:gdLst>
                  <a:gd name="T0" fmla="*/ 2 w 35"/>
                  <a:gd name="T1" fmla="*/ 8 h 21"/>
                  <a:gd name="T2" fmla="*/ 8 w 35"/>
                  <a:gd name="T3" fmla="*/ 13 h 21"/>
                  <a:gd name="T4" fmla="*/ 0 w 35"/>
                  <a:gd name="T5" fmla="*/ 13 h 21"/>
                  <a:gd name="T6" fmla="*/ 0 w 35"/>
                  <a:gd name="T7" fmla="*/ 17 h 21"/>
                  <a:gd name="T8" fmla="*/ 34 w 35"/>
                  <a:gd name="T9" fmla="*/ 21 h 21"/>
                  <a:gd name="T10" fmla="*/ 35 w 35"/>
                  <a:gd name="T11" fmla="*/ 15 h 21"/>
                  <a:gd name="T12" fmla="*/ 17 w 35"/>
                  <a:gd name="T13" fmla="*/ 14 h 21"/>
                  <a:gd name="T14" fmla="*/ 8 w 35"/>
                  <a:gd name="T15" fmla="*/ 10 h 21"/>
                  <a:gd name="T16" fmla="*/ 6 w 35"/>
                  <a:gd name="T17" fmla="*/ 2 h 21"/>
                  <a:gd name="T18" fmla="*/ 6 w 35"/>
                  <a:gd name="T19" fmla="*/ 1 h 21"/>
                  <a:gd name="T20" fmla="*/ 1 w 35"/>
                  <a:gd name="T21" fmla="*/ 0 h 21"/>
                  <a:gd name="T22" fmla="*/ 0 w 35"/>
                  <a:gd name="T23" fmla="*/ 2 h 21"/>
                  <a:gd name="T24" fmla="*/ 2 w 35"/>
                  <a:gd name="T25" fmla="*/ 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" h="21">
                    <a:moveTo>
                      <a:pt x="2" y="8"/>
                    </a:moveTo>
                    <a:cubicBezTo>
                      <a:pt x="2" y="9"/>
                      <a:pt x="5" y="11"/>
                      <a:pt x="8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34" y="21"/>
                      <a:pt x="34" y="21"/>
                      <a:pt x="34" y="21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3" y="13"/>
                      <a:pt x="10" y="12"/>
                      <a:pt x="8" y="10"/>
                    </a:cubicBezTo>
                    <a:cubicBezTo>
                      <a:pt x="6" y="7"/>
                      <a:pt x="5" y="5"/>
                      <a:pt x="6" y="2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0" y="2"/>
                      <a:pt x="0" y="2"/>
                    </a:cubicBezTo>
                    <a:cubicBezTo>
                      <a:pt x="0" y="4"/>
                      <a:pt x="1" y="6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27" name="Freeform 219"/>
              <p:cNvSpPr/>
              <p:nvPr/>
            </p:nvSpPr>
            <p:spPr bwMode="auto">
              <a:xfrm>
                <a:off x="4357688" y="2093913"/>
                <a:ext cx="139700" cy="112713"/>
              </a:xfrm>
              <a:custGeom>
                <a:avLst/>
                <a:gdLst>
                  <a:gd name="T0" fmla="*/ 8 w 37"/>
                  <a:gd name="T1" fmla="*/ 1 h 30"/>
                  <a:gd name="T2" fmla="*/ 3 w 37"/>
                  <a:gd name="T3" fmla="*/ 4 h 30"/>
                  <a:gd name="T4" fmla="*/ 1 w 37"/>
                  <a:gd name="T5" fmla="*/ 10 h 30"/>
                  <a:gd name="T6" fmla="*/ 7 w 37"/>
                  <a:gd name="T7" fmla="*/ 22 h 30"/>
                  <a:gd name="T8" fmla="*/ 1 w 37"/>
                  <a:gd name="T9" fmla="*/ 21 h 30"/>
                  <a:gd name="T10" fmla="*/ 0 w 37"/>
                  <a:gd name="T11" fmla="*/ 26 h 30"/>
                  <a:gd name="T12" fmla="*/ 35 w 37"/>
                  <a:gd name="T13" fmla="*/ 30 h 30"/>
                  <a:gd name="T14" fmla="*/ 35 w 37"/>
                  <a:gd name="T15" fmla="*/ 24 h 30"/>
                  <a:gd name="T16" fmla="*/ 16 w 37"/>
                  <a:gd name="T17" fmla="*/ 23 h 30"/>
                  <a:gd name="T18" fmla="*/ 8 w 37"/>
                  <a:gd name="T19" fmla="*/ 19 h 30"/>
                  <a:gd name="T20" fmla="*/ 5 w 37"/>
                  <a:gd name="T21" fmla="*/ 12 h 30"/>
                  <a:gd name="T22" fmla="*/ 8 w 37"/>
                  <a:gd name="T23" fmla="*/ 7 h 30"/>
                  <a:gd name="T24" fmla="*/ 15 w 37"/>
                  <a:gd name="T25" fmla="*/ 5 h 30"/>
                  <a:gd name="T26" fmla="*/ 37 w 37"/>
                  <a:gd name="T27" fmla="*/ 8 h 30"/>
                  <a:gd name="T28" fmla="*/ 37 w 37"/>
                  <a:gd name="T29" fmla="*/ 3 h 30"/>
                  <a:gd name="T30" fmla="*/ 17 w 37"/>
                  <a:gd name="T31" fmla="*/ 1 h 30"/>
                  <a:gd name="T32" fmla="*/ 8 w 37"/>
                  <a:gd name="T33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7" h="30">
                    <a:moveTo>
                      <a:pt x="8" y="1"/>
                    </a:moveTo>
                    <a:cubicBezTo>
                      <a:pt x="7" y="1"/>
                      <a:pt x="5" y="2"/>
                      <a:pt x="3" y="4"/>
                    </a:cubicBezTo>
                    <a:cubicBezTo>
                      <a:pt x="2" y="6"/>
                      <a:pt x="1" y="8"/>
                      <a:pt x="1" y="10"/>
                    </a:cubicBezTo>
                    <a:cubicBezTo>
                      <a:pt x="0" y="15"/>
                      <a:pt x="2" y="19"/>
                      <a:pt x="7" y="22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35" y="30"/>
                      <a:pt x="35" y="30"/>
                      <a:pt x="35" y="30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3" y="22"/>
                      <a:pt x="10" y="21"/>
                      <a:pt x="8" y="19"/>
                    </a:cubicBezTo>
                    <a:cubicBezTo>
                      <a:pt x="6" y="17"/>
                      <a:pt x="5" y="14"/>
                      <a:pt x="5" y="12"/>
                    </a:cubicBezTo>
                    <a:cubicBezTo>
                      <a:pt x="5" y="10"/>
                      <a:pt x="6" y="8"/>
                      <a:pt x="8" y="7"/>
                    </a:cubicBezTo>
                    <a:cubicBezTo>
                      <a:pt x="9" y="6"/>
                      <a:pt x="11" y="5"/>
                      <a:pt x="15" y="5"/>
                    </a:cubicBezTo>
                    <a:cubicBezTo>
                      <a:pt x="37" y="8"/>
                      <a:pt x="37" y="8"/>
                      <a:pt x="37" y="8"/>
                    </a:cubicBezTo>
                    <a:cubicBezTo>
                      <a:pt x="37" y="3"/>
                      <a:pt x="37" y="3"/>
                      <a:pt x="37" y="3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3" y="0"/>
                      <a:pt x="10" y="0"/>
                      <a:pt x="8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28" name="Freeform 220"/>
              <p:cNvSpPr/>
              <p:nvPr/>
            </p:nvSpPr>
            <p:spPr bwMode="auto">
              <a:xfrm>
                <a:off x="1997075" y="3327401"/>
                <a:ext cx="184150" cy="325438"/>
              </a:xfrm>
              <a:custGeom>
                <a:avLst/>
                <a:gdLst>
                  <a:gd name="T0" fmla="*/ 23 w 49"/>
                  <a:gd name="T1" fmla="*/ 85 h 87"/>
                  <a:gd name="T2" fmla="*/ 32 w 49"/>
                  <a:gd name="T3" fmla="*/ 85 h 87"/>
                  <a:gd name="T4" fmla="*/ 27 w 49"/>
                  <a:gd name="T5" fmla="*/ 81 h 87"/>
                  <a:gd name="T6" fmla="*/ 26 w 49"/>
                  <a:gd name="T7" fmla="*/ 47 h 87"/>
                  <a:gd name="T8" fmla="*/ 34 w 49"/>
                  <a:gd name="T9" fmla="*/ 42 h 87"/>
                  <a:gd name="T10" fmla="*/ 41 w 49"/>
                  <a:gd name="T11" fmla="*/ 4 h 87"/>
                  <a:gd name="T12" fmla="*/ 39 w 49"/>
                  <a:gd name="T13" fmla="*/ 0 h 87"/>
                  <a:gd name="T14" fmla="*/ 38 w 49"/>
                  <a:gd name="T15" fmla="*/ 5 h 87"/>
                  <a:gd name="T16" fmla="*/ 26 w 49"/>
                  <a:gd name="T17" fmla="*/ 41 h 87"/>
                  <a:gd name="T18" fmla="*/ 25 w 49"/>
                  <a:gd name="T19" fmla="*/ 17 h 87"/>
                  <a:gd name="T20" fmla="*/ 16 w 49"/>
                  <a:gd name="T21" fmla="*/ 5 h 87"/>
                  <a:gd name="T22" fmla="*/ 14 w 49"/>
                  <a:gd name="T23" fmla="*/ 36 h 87"/>
                  <a:gd name="T24" fmla="*/ 6 w 49"/>
                  <a:gd name="T25" fmla="*/ 33 h 87"/>
                  <a:gd name="T26" fmla="*/ 0 w 49"/>
                  <a:gd name="T27" fmla="*/ 30 h 87"/>
                  <a:gd name="T28" fmla="*/ 14 w 49"/>
                  <a:gd name="T29" fmla="*/ 41 h 87"/>
                  <a:gd name="T30" fmla="*/ 14 w 49"/>
                  <a:gd name="T31" fmla="*/ 45 h 87"/>
                  <a:gd name="T32" fmla="*/ 12 w 49"/>
                  <a:gd name="T33" fmla="*/ 66 h 87"/>
                  <a:gd name="T34" fmla="*/ 4 w 49"/>
                  <a:gd name="T35" fmla="*/ 84 h 87"/>
                  <a:gd name="T36" fmla="*/ 13 w 49"/>
                  <a:gd name="T37" fmla="*/ 83 h 87"/>
                  <a:gd name="T38" fmla="*/ 23 w 49"/>
                  <a:gd name="T39" fmla="*/ 85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9" h="87">
                    <a:moveTo>
                      <a:pt x="23" y="85"/>
                    </a:moveTo>
                    <a:cubicBezTo>
                      <a:pt x="28" y="87"/>
                      <a:pt x="32" y="85"/>
                      <a:pt x="32" y="85"/>
                    </a:cubicBezTo>
                    <a:cubicBezTo>
                      <a:pt x="32" y="85"/>
                      <a:pt x="31" y="85"/>
                      <a:pt x="27" y="81"/>
                    </a:cubicBezTo>
                    <a:cubicBezTo>
                      <a:pt x="24" y="77"/>
                      <a:pt x="26" y="47"/>
                      <a:pt x="26" y="47"/>
                    </a:cubicBezTo>
                    <a:cubicBezTo>
                      <a:pt x="34" y="42"/>
                      <a:pt x="34" y="42"/>
                      <a:pt x="34" y="42"/>
                    </a:cubicBezTo>
                    <a:cubicBezTo>
                      <a:pt x="49" y="30"/>
                      <a:pt x="41" y="4"/>
                      <a:pt x="41" y="4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8" y="5"/>
                      <a:pt x="38" y="5"/>
                      <a:pt x="38" y="5"/>
                    </a:cubicBezTo>
                    <a:cubicBezTo>
                      <a:pt x="46" y="39"/>
                      <a:pt x="26" y="41"/>
                      <a:pt x="26" y="41"/>
                    </a:cubicBezTo>
                    <a:cubicBezTo>
                      <a:pt x="25" y="17"/>
                      <a:pt x="25" y="17"/>
                      <a:pt x="25" y="17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4" y="36"/>
                      <a:pt x="14" y="36"/>
                      <a:pt x="14" y="36"/>
                    </a:cubicBezTo>
                    <a:cubicBezTo>
                      <a:pt x="5" y="34"/>
                      <a:pt x="6" y="33"/>
                      <a:pt x="6" y="33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3" y="39"/>
                      <a:pt x="14" y="41"/>
                      <a:pt x="14" y="41"/>
                    </a:cubicBezTo>
                    <a:cubicBezTo>
                      <a:pt x="14" y="45"/>
                      <a:pt x="14" y="45"/>
                      <a:pt x="14" y="45"/>
                    </a:cubicBezTo>
                    <a:cubicBezTo>
                      <a:pt x="14" y="45"/>
                      <a:pt x="13" y="54"/>
                      <a:pt x="12" y="66"/>
                    </a:cubicBezTo>
                    <a:cubicBezTo>
                      <a:pt x="12" y="78"/>
                      <a:pt x="4" y="84"/>
                      <a:pt x="4" y="84"/>
                    </a:cubicBezTo>
                    <a:cubicBezTo>
                      <a:pt x="7" y="85"/>
                      <a:pt x="13" y="83"/>
                      <a:pt x="13" y="83"/>
                    </a:cubicBezTo>
                    <a:lnTo>
                      <a:pt x="23" y="8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29" name="Freeform 221"/>
              <p:cNvSpPr/>
              <p:nvPr/>
            </p:nvSpPr>
            <p:spPr bwMode="auto">
              <a:xfrm>
                <a:off x="1922463" y="3184526"/>
                <a:ext cx="322263" cy="273050"/>
              </a:xfrm>
              <a:custGeom>
                <a:avLst/>
                <a:gdLst>
                  <a:gd name="T0" fmla="*/ 9 w 86"/>
                  <a:gd name="T1" fmla="*/ 29 h 73"/>
                  <a:gd name="T2" fmla="*/ 9 w 86"/>
                  <a:gd name="T3" fmla="*/ 25 h 73"/>
                  <a:gd name="T4" fmla="*/ 34 w 86"/>
                  <a:gd name="T5" fmla="*/ 0 h 73"/>
                  <a:gd name="T6" fmla="*/ 53 w 86"/>
                  <a:gd name="T7" fmla="*/ 9 h 73"/>
                  <a:gd name="T8" fmla="*/ 76 w 86"/>
                  <a:gd name="T9" fmla="*/ 31 h 73"/>
                  <a:gd name="T10" fmla="*/ 86 w 86"/>
                  <a:gd name="T11" fmla="*/ 50 h 73"/>
                  <a:gd name="T12" fmla="*/ 60 w 86"/>
                  <a:gd name="T13" fmla="*/ 73 h 73"/>
                  <a:gd name="T14" fmla="*/ 38 w 86"/>
                  <a:gd name="T15" fmla="*/ 62 h 73"/>
                  <a:gd name="T16" fmla="*/ 22 w 86"/>
                  <a:gd name="T17" fmla="*/ 70 h 73"/>
                  <a:gd name="T18" fmla="*/ 0 w 86"/>
                  <a:gd name="T19" fmla="*/ 47 h 73"/>
                  <a:gd name="T20" fmla="*/ 9 w 86"/>
                  <a:gd name="T21" fmla="*/ 29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6" h="73">
                    <a:moveTo>
                      <a:pt x="9" y="29"/>
                    </a:moveTo>
                    <a:cubicBezTo>
                      <a:pt x="9" y="28"/>
                      <a:pt x="9" y="26"/>
                      <a:pt x="9" y="25"/>
                    </a:cubicBezTo>
                    <a:cubicBezTo>
                      <a:pt x="9" y="11"/>
                      <a:pt x="20" y="0"/>
                      <a:pt x="34" y="0"/>
                    </a:cubicBezTo>
                    <a:cubicBezTo>
                      <a:pt x="41" y="0"/>
                      <a:pt x="48" y="3"/>
                      <a:pt x="53" y="9"/>
                    </a:cubicBezTo>
                    <a:cubicBezTo>
                      <a:pt x="65" y="9"/>
                      <a:pt x="74" y="19"/>
                      <a:pt x="76" y="31"/>
                    </a:cubicBezTo>
                    <a:cubicBezTo>
                      <a:pt x="82" y="35"/>
                      <a:pt x="86" y="42"/>
                      <a:pt x="86" y="50"/>
                    </a:cubicBezTo>
                    <a:cubicBezTo>
                      <a:pt x="86" y="63"/>
                      <a:pt x="75" y="73"/>
                      <a:pt x="60" y="73"/>
                    </a:cubicBezTo>
                    <a:cubicBezTo>
                      <a:pt x="51" y="73"/>
                      <a:pt x="43" y="69"/>
                      <a:pt x="38" y="62"/>
                    </a:cubicBezTo>
                    <a:cubicBezTo>
                      <a:pt x="34" y="67"/>
                      <a:pt x="28" y="70"/>
                      <a:pt x="22" y="70"/>
                    </a:cubicBezTo>
                    <a:cubicBezTo>
                      <a:pt x="10" y="70"/>
                      <a:pt x="0" y="60"/>
                      <a:pt x="0" y="47"/>
                    </a:cubicBezTo>
                    <a:cubicBezTo>
                      <a:pt x="0" y="40"/>
                      <a:pt x="4" y="33"/>
                      <a:pt x="9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30" name="Freeform 222"/>
              <p:cNvSpPr/>
              <p:nvPr/>
            </p:nvSpPr>
            <p:spPr bwMode="auto">
              <a:xfrm>
                <a:off x="1903413" y="3184526"/>
                <a:ext cx="225425" cy="179388"/>
              </a:xfrm>
              <a:custGeom>
                <a:avLst/>
                <a:gdLst>
                  <a:gd name="T0" fmla="*/ 48 w 60"/>
                  <a:gd name="T1" fmla="*/ 5 h 48"/>
                  <a:gd name="T2" fmla="*/ 48 w 60"/>
                  <a:gd name="T3" fmla="*/ 4 h 48"/>
                  <a:gd name="T4" fmla="*/ 34 w 60"/>
                  <a:gd name="T5" fmla="*/ 2 h 48"/>
                  <a:gd name="T6" fmla="*/ 31 w 60"/>
                  <a:gd name="T7" fmla="*/ 8 h 48"/>
                  <a:gd name="T8" fmla="*/ 29 w 60"/>
                  <a:gd name="T9" fmla="*/ 16 h 48"/>
                  <a:gd name="T10" fmla="*/ 28 w 60"/>
                  <a:gd name="T11" fmla="*/ 16 h 48"/>
                  <a:gd name="T12" fmla="*/ 27 w 60"/>
                  <a:gd name="T13" fmla="*/ 15 h 48"/>
                  <a:gd name="T14" fmla="*/ 9 w 60"/>
                  <a:gd name="T15" fmla="*/ 13 h 48"/>
                  <a:gd name="T16" fmla="*/ 5 w 60"/>
                  <a:gd name="T17" fmla="*/ 21 h 48"/>
                  <a:gd name="T18" fmla="*/ 4 w 60"/>
                  <a:gd name="T19" fmla="*/ 35 h 48"/>
                  <a:gd name="T20" fmla="*/ 6 w 60"/>
                  <a:gd name="T21" fmla="*/ 44 h 48"/>
                  <a:gd name="T22" fmla="*/ 24 w 60"/>
                  <a:gd name="T23" fmla="*/ 44 h 48"/>
                  <a:gd name="T24" fmla="*/ 28 w 60"/>
                  <a:gd name="T25" fmla="*/ 35 h 48"/>
                  <a:gd name="T26" fmla="*/ 37 w 60"/>
                  <a:gd name="T27" fmla="*/ 33 h 48"/>
                  <a:gd name="T28" fmla="*/ 40 w 60"/>
                  <a:gd name="T29" fmla="*/ 29 h 48"/>
                  <a:gd name="T30" fmla="*/ 46 w 60"/>
                  <a:gd name="T31" fmla="*/ 27 h 48"/>
                  <a:gd name="T32" fmla="*/ 49 w 60"/>
                  <a:gd name="T33" fmla="*/ 20 h 48"/>
                  <a:gd name="T34" fmla="*/ 56 w 60"/>
                  <a:gd name="T35" fmla="*/ 19 h 48"/>
                  <a:gd name="T36" fmla="*/ 56 w 60"/>
                  <a:gd name="T37" fmla="*/ 8 h 48"/>
                  <a:gd name="T38" fmla="*/ 48 w 60"/>
                  <a:gd name="T39" fmla="*/ 5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60" h="48">
                    <a:moveTo>
                      <a:pt x="48" y="5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44" y="0"/>
                      <a:pt x="38" y="0"/>
                      <a:pt x="34" y="2"/>
                    </a:cubicBezTo>
                    <a:cubicBezTo>
                      <a:pt x="32" y="4"/>
                      <a:pt x="31" y="6"/>
                      <a:pt x="31" y="8"/>
                    </a:cubicBezTo>
                    <a:cubicBezTo>
                      <a:pt x="28" y="10"/>
                      <a:pt x="28" y="13"/>
                      <a:pt x="29" y="16"/>
                    </a:cubicBezTo>
                    <a:cubicBezTo>
                      <a:pt x="28" y="16"/>
                      <a:pt x="28" y="16"/>
                      <a:pt x="28" y="16"/>
                    </a:cubicBezTo>
                    <a:cubicBezTo>
                      <a:pt x="28" y="16"/>
                      <a:pt x="27" y="15"/>
                      <a:pt x="27" y="15"/>
                    </a:cubicBezTo>
                    <a:cubicBezTo>
                      <a:pt x="22" y="10"/>
                      <a:pt x="14" y="10"/>
                      <a:pt x="9" y="13"/>
                    </a:cubicBezTo>
                    <a:cubicBezTo>
                      <a:pt x="6" y="15"/>
                      <a:pt x="5" y="18"/>
                      <a:pt x="5" y="21"/>
                    </a:cubicBezTo>
                    <a:cubicBezTo>
                      <a:pt x="1" y="25"/>
                      <a:pt x="0" y="30"/>
                      <a:pt x="4" y="35"/>
                    </a:cubicBezTo>
                    <a:cubicBezTo>
                      <a:pt x="3" y="38"/>
                      <a:pt x="4" y="41"/>
                      <a:pt x="6" y="44"/>
                    </a:cubicBezTo>
                    <a:cubicBezTo>
                      <a:pt x="11" y="48"/>
                      <a:pt x="19" y="48"/>
                      <a:pt x="24" y="44"/>
                    </a:cubicBezTo>
                    <a:cubicBezTo>
                      <a:pt x="27" y="42"/>
                      <a:pt x="29" y="38"/>
                      <a:pt x="28" y="35"/>
                    </a:cubicBezTo>
                    <a:cubicBezTo>
                      <a:pt x="31" y="35"/>
                      <a:pt x="35" y="35"/>
                      <a:pt x="37" y="33"/>
                    </a:cubicBezTo>
                    <a:cubicBezTo>
                      <a:pt x="39" y="32"/>
                      <a:pt x="40" y="31"/>
                      <a:pt x="40" y="29"/>
                    </a:cubicBezTo>
                    <a:cubicBezTo>
                      <a:pt x="42" y="29"/>
                      <a:pt x="45" y="28"/>
                      <a:pt x="46" y="27"/>
                    </a:cubicBezTo>
                    <a:cubicBezTo>
                      <a:pt x="49" y="25"/>
                      <a:pt x="50" y="22"/>
                      <a:pt x="49" y="20"/>
                    </a:cubicBezTo>
                    <a:cubicBezTo>
                      <a:pt x="52" y="20"/>
                      <a:pt x="54" y="20"/>
                      <a:pt x="56" y="19"/>
                    </a:cubicBezTo>
                    <a:cubicBezTo>
                      <a:pt x="60" y="16"/>
                      <a:pt x="60" y="11"/>
                      <a:pt x="56" y="8"/>
                    </a:cubicBezTo>
                    <a:cubicBezTo>
                      <a:pt x="54" y="6"/>
                      <a:pt x="51" y="5"/>
                      <a:pt x="48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31" name="Freeform 223"/>
              <p:cNvSpPr/>
              <p:nvPr/>
            </p:nvSpPr>
            <p:spPr bwMode="auto">
              <a:xfrm>
                <a:off x="1933575" y="3089276"/>
                <a:ext cx="311150" cy="249238"/>
              </a:xfrm>
              <a:custGeom>
                <a:avLst/>
                <a:gdLst>
                  <a:gd name="T0" fmla="*/ 15 w 83"/>
                  <a:gd name="T1" fmla="*/ 19 h 66"/>
                  <a:gd name="T2" fmla="*/ 16 w 83"/>
                  <a:gd name="T3" fmla="*/ 16 h 66"/>
                  <a:gd name="T4" fmla="*/ 44 w 83"/>
                  <a:gd name="T5" fmla="*/ 3 h 66"/>
                  <a:gd name="T6" fmla="*/ 59 w 83"/>
                  <a:gd name="T7" fmla="*/ 14 h 66"/>
                  <a:gd name="T8" fmla="*/ 76 w 83"/>
                  <a:gd name="T9" fmla="*/ 35 h 66"/>
                  <a:gd name="T10" fmla="*/ 81 w 83"/>
                  <a:gd name="T11" fmla="*/ 51 h 66"/>
                  <a:gd name="T12" fmla="*/ 53 w 83"/>
                  <a:gd name="T13" fmla="*/ 63 h 66"/>
                  <a:gd name="T14" fmla="*/ 35 w 83"/>
                  <a:gd name="T15" fmla="*/ 50 h 66"/>
                  <a:gd name="T16" fmla="*/ 18 w 83"/>
                  <a:gd name="T17" fmla="*/ 52 h 66"/>
                  <a:gd name="T18" fmla="*/ 3 w 83"/>
                  <a:gd name="T19" fmla="*/ 30 h 66"/>
                  <a:gd name="T20" fmla="*/ 15 w 83"/>
                  <a:gd name="T21" fmla="*/ 19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3" h="66">
                    <a:moveTo>
                      <a:pt x="15" y="19"/>
                    </a:moveTo>
                    <a:cubicBezTo>
                      <a:pt x="16" y="18"/>
                      <a:pt x="16" y="17"/>
                      <a:pt x="16" y="16"/>
                    </a:cubicBezTo>
                    <a:cubicBezTo>
                      <a:pt x="19" y="6"/>
                      <a:pt x="32" y="0"/>
                      <a:pt x="44" y="3"/>
                    </a:cubicBezTo>
                    <a:cubicBezTo>
                      <a:pt x="51" y="5"/>
                      <a:pt x="56" y="9"/>
                      <a:pt x="59" y="14"/>
                    </a:cubicBezTo>
                    <a:cubicBezTo>
                      <a:pt x="70" y="17"/>
                      <a:pt x="77" y="26"/>
                      <a:pt x="76" y="35"/>
                    </a:cubicBezTo>
                    <a:cubicBezTo>
                      <a:pt x="81" y="40"/>
                      <a:pt x="83" y="46"/>
                      <a:pt x="81" y="51"/>
                    </a:cubicBezTo>
                    <a:cubicBezTo>
                      <a:pt x="79" y="61"/>
                      <a:pt x="66" y="66"/>
                      <a:pt x="53" y="63"/>
                    </a:cubicBezTo>
                    <a:cubicBezTo>
                      <a:pt x="44" y="61"/>
                      <a:pt x="38" y="55"/>
                      <a:pt x="35" y="50"/>
                    </a:cubicBezTo>
                    <a:cubicBezTo>
                      <a:pt x="30" y="52"/>
                      <a:pt x="24" y="53"/>
                      <a:pt x="18" y="52"/>
                    </a:cubicBezTo>
                    <a:cubicBezTo>
                      <a:pt x="7" y="49"/>
                      <a:pt x="0" y="40"/>
                      <a:pt x="3" y="30"/>
                    </a:cubicBezTo>
                    <a:cubicBezTo>
                      <a:pt x="5" y="25"/>
                      <a:pt x="9" y="21"/>
                      <a:pt x="15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32" name="Freeform 224"/>
              <p:cNvSpPr/>
              <p:nvPr/>
            </p:nvSpPr>
            <p:spPr bwMode="auto">
              <a:xfrm>
                <a:off x="2079625" y="4040188"/>
                <a:ext cx="357188" cy="342900"/>
              </a:xfrm>
              <a:custGeom>
                <a:avLst/>
                <a:gdLst>
                  <a:gd name="T0" fmla="*/ 95 w 95"/>
                  <a:gd name="T1" fmla="*/ 35 h 91"/>
                  <a:gd name="T2" fmla="*/ 93 w 95"/>
                  <a:gd name="T3" fmla="*/ 33 h 91"/>
                  <a:gd name="T4" fmla="*/ 93 w 95"/>
                  <a:gd name="T5" fmla="*/ 33 h 91"/>
                  <a:gd name="T6" fmla="*/ 93 w 95"/>
                  <a:gd name="T7" fmla="*/ 33 h 91"/>
                  <a:gd name="T8" fmla="*/ 92 w 95"/>
                  <a:gd name="T9" fmla="*/ 33 h 91"/>
                  <a:gd name="T10" fmla="*/ 63 w 95"/>
                  <a:gd name="T11" fmla="*/ 28 h 91"/>
                  <a:gd name="T12" fmla="*/ 50 w 95"/>
                  <a:gd name="T13" fmla="*/ 2 h 91"/>
                  <a:gd name="T14" fmla="*/ 47 w 95"/>
                  <a:gd name="T15" fmla="*/ 0 h 91"/>
                  <a:gd name="T16" fmla="*/ 44 w 95"/>
                  <a:gd name="T17" fmla="*/ 2 h 91"/>
                  <a:gd name="T18" fmla="*/ 31 w 95"/>
                  <a:gd name="T19" fmla="*/ 28 h 91"/>
                  <a:gd name="T20" fmla="*/ 3 w 95"/>
                  <a:gd name="T21" fmla="*/ 33 h 91"/>
                  <a:gd name="T22" fmla="*/ 0 w 95"/>
                  <a:gd name="T23" fmla="*/ 35 h 91"/>
                  <a:gd name="T24" fmla="*/ 1 w 95"/>
                  <a:gd name="T25" fmla="*/ 38 h 91"/>
                  <a:gd name="T26" fmla="*/ 22 w 95"/>
                  <a:gd name="T27" fmla="*/ 59 h 91"/>
                  <a:gd name="T28" fmla="*/ 17 w 95"/>
                  <a:gd name="T29" fmla="*/ 87 h 91"/>
                  <a:gd name="T30" fmla="*/ 18 w 95"/>
                  <a:gd name="T31" fmla="*/ 91 h 91"/>
                  <a:gd name="T32" fmla="*/ 22 w 95"/>
                  <a:gd name="T33" fmla="*/ 91 h 91"/>
                  <a:gd name="T34" fmla="*/ 47 w 95"/>
                  <a:gd name="T35" fmla="*/ 77 h 91"/>
                  <a:gd name="T36" fmla="*/ 73 w 95"/>
                  <a:gd name="T37" fmla="*/ 91 h 91"/>
                  <a:gd name="T38" fmla="*/ 75 w 95"/>
                  <a:gd name="T39" fmla="*/ 91 h 91"/>
                  <a:gd name="T40" fmla="*/ 77 w 95"/>
                  <a:gd name="T41" fmla="*/ 91 h 91"/>
                  <a:gd name="T42" fmla="*/ 78 w 95"/>
                  <a:gd name="T43" fmla="*/ 87 h 91"/>
                  <a:gd name="T44" fmla="*/ 73 w 95"/>
                  <a:gd name="T45" fmla="*/ 59 h 91"/>
                  <a:gd name="T46" fmla="*/ 94 w 95"/>
                  <a:gd name="T47" fmla="*/ 38 h 91"/>
                  <a:gd name="T48" fmla="*/ 95 w 95"/>
                  <a:gd name="T49" fmla="*/ 3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95" h="91">
                    <a:moveTo>
                      <a:pt x="95" y="35"/>
                    </a:moveTo>
                    <a:cubicBezTo>
                      <a:pt x="94" y="34"/>
                      <a:pt x="94" y="34"/>
                      <a:pt x="93" y="33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2" y="33"/>
                      <a:pt x="92" y="33"/>
                      <a:pt x="92" y="33"/>
                    </a:cubicBezTo>
                    <a:cubicBezTo>
                      <a:pt x="63" y="28"/>
                      <a:pt x="63" y="28"/>
                      <a:pt x="63" y="28"/>
                    </a:cubicBezTo>
                    <a:cubicBezTo>
                      <a:pt x="50" y="2"/>
                      <a:pt x="50" y="2"/>
                      <a:pt x="50" y="2"/>
                    </a:cubicBezTo>
                    <a:cubicBezTo>
                      <a:pt x="50" y="1"/>
                      <a:pt x="49" y="0"/>
                      <a:pt x="47" y="0"/>
                    </a:cubicBezTo>
                    <a:cubicBezTo>
                      <a:pt x="46" y="0"/>
                      <a:pt x="45" y="1"/>
                      <a:pt x="44" y="2"/>
                    </a:cubicBezTo>
                    <a:cubicBezTo>
                      <a:pt x="31" y="28"/>
                      <a:pt x="31" y="28"/>
                      <a:pt x="31" y="28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1" y="33"/>
                      <a:pt x="0" y="34"/>
                      <a:pt x="0" y="35"/>
                    </a:cubicBezTo>
                    <a:cubicBezTo>
                      <a:pt x="0" y="36"/>
                      <a:pt x="0" y="37"/>
                      <a:pt x="1" y="38"/>
                    </a:cubicBezTo>
                    <a:cubicBezTo>
                      <a:pt x="22" y="59"/>
                      <a:pt x="22" y="59"/>
                      <a:pt x="22" y="59"/>
                    </a:cubicBezTo>
                    <a:cubicBezTo>
                      <a:pt x="17" y="87"/>
                      <a:pt x="17" y="87"/>
                      <a:pt x="17" y="87"/>
                    </a:cubicBezTo>
                    <a:cubicBezTo>
                      <a:pt x="16" y="89"/>
                      <a:pt x="17" y="90"/>
                      <a:pt x="18" y="91"/>
                    </a:cubicBezTo>
                    <a:cubicBezTo>
                      <a:pt x="19" y="91"/>
                      <a:pt x="20" y="91"/>
                      <a:pt x="22" y="91"/>
                    </a:cubicBezTo>
                    <a:cubicBezTo>
                      <a:pt x="47" y="77"/>
                      <a:pt x="47" y="77"/>
                      <a:pt x="47" y="77"/>
                    </a:cubicBezTo>
                    <a:cubicBezTo>
                      <a:pt x="73" y="91"/>
                      <a:pt x="73" y="91"/>
                      <a:pt x="73" y="91"/>
                    </a:cubicBezTo>
                    <a:cubicBezTo>
                      <a:pt x="74" y="91"/>
                      <a:pt x="74" y="91"/>
                      <a:pt x="75" y="91"/>
                    </a:cubicBezTo>
                    <a:cubicBezTo>
                      <a:pt x="75" y="91"/>
                      <a:pt x="76" y="91"/>
                      <a:pt x="77" y="91"/>
                    </a:cubicBezTo>
                    <a:cubicBezTo>
                      <a:pt x="78" y="90"/>
                      <a:pt x="78" y="89"/>
                      <a:pt x="78" y="87"/>
                    </a:cubicBezTo>
                    <a:cubicBezTo>
                      <a:pt x="73" y="59"/>
                      <a:pt x="73" y="59"/>
                      <a:pt x="73" y="59"/>
                    </a:cubicBezTo>
                    <a:cubicBezTo>
                      <a:pt x="94" y="38"/>
                      <a:pt x="94" y="38"/>
                      <a:pt x="94" y="38"/>
                    </a:cubicBezTo>
                    <a:cubicBezTo>
                      <a:pt x="95" y="37"/>
                      <a:pt x="95" y="36"/>
                      <a:pt x="95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33" name="Freeform 225"/>
              <p:cNvSpPr>
                <a:spLocks noEditPoints="1"/>
              </p:cNvSpPr>
              <p:nvPr/>
            </p:nvSpPr>
            <p:spPr bwMode="auto">
              <a:xfrm>
                <a:off x="2384425" y="3003551"/>
                <a:ext cx="112713" cy="168275"/>
              </a:xfrm>
              <a:custGeom>
                <a:avLst/>
                <a:gdLst>
                  <a:gd name="T0" fmla="*/ 13 w 30"/>
                  <a:gd name="T1" fmla="*/ 1 h 45"/>
                  <a:gd name="T2" fmla="*/ 5 w 30"/>
                  <a:gd name="T3" fmla="*/ 10 h 45"/>
                  <a:gd name="T4" fmla="*/ 4 w 30"/>
                  <a:gd name="T5" fmla="*/ 4 h 45"/>
                  <a:gd name="T6" fmla="*/ 0 w 30"/>
                  <a:gd name="T7" fmla="*/ 5 h 45"/>
                  <a:gd name="T8" fmla="*/ 10 w 30"/>
                  <a:gd name="T9" fmla="*/ 45 h 45"/>
                  <a:gd name="T10" fmla="*/ 14 w 30"/>
                  <a:gd name="T11" fmla="*/ 44 h 45"/>
                  <a:gd name="T12" fmla="*/ 11 w 30"/>
                  <a:gd name="T13" fmla="*/ 29 h 45"/>
                  <a:gd name="T14" fmla="*/ 21 w 30"/>
                  <a:gd name="T15" fmla="*/ 32 h 45"/>
                  <a:gd name="T16" fmla="*/ 28 w 30"/>
                  <a:gd name="T17" fmla="*/ 26 h 45"/>
                  <a:gd name="T18" fmla="*/ 29 w 30"/>
                  <a:gd name="T19" fmla="*/ 13 h 45"/>
                  <a:gd name="T20" fmla="*/ 23 w 30"/>
                  <a:gd name="T21" fmla="*/ 3 h 45"/>
                  <a:gd name="T22" fmla="*/ 13 w 30"/>
                  <a:gd name="T23" fmla="*/ 1 h 45"/>
                  <a:gd name="T24" fmla="*/ 24 w 30"/>
                  <a:gd name="T25" fmla="*/ 25 h 45"/>
                  <a:gd name="T26" fmla="*/ 19 w 30"/>
                  <a:gd name="T27" fmla="*/ 29 h 45"/>
                  <a:gd name="T28" fmla="*/ 13 w 30"/>
                  <a:gd name="T29" fmla="*/ 28 h 45"/>
                  <a:gd name="T30" fmla="*/ 9 w 30"/>
                  <a:gd name="T31" fmla="*/ 23 h 45"/>
                  <a:gd name="T32" fmla="*/ 7 w 30"/>
                  <a:gd name="T33" fmla="*/ 15 h 45"/>
                  <a:gd name="T34" fmla="*/ 8 w 30"/>
                  <a:gd name="T35" fmla="*/ 9 h 45"/>
                  <a:gd name="T36" fmla="*/ 13 w 30"/>
                  <a:gd name="T37" fmla="*/ 5 h 45"/>
                  <a:gd name="T38" fmla="*/ 19 w 30"/>
                  <a:gd name="T39" fmla="*/ 7 h 45"/>
                  <a:gd name="T40" fmla="*/ 24 w 30"/>
                  <a:gd name="T41" fmla="*/ 15 h 45"/>
                  <a:gd name="T42" fmla="*/ 24 w 30"/>
                  <a:gd name="T43" fmla="*/ 2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0" h="45">
                    <a:moveTo>
                      <a:pt x="13" y="1"/>
                    </a:moveTo>
                    <a:cubicBezTo>
                      <a:pt x="9" y="2"/>
                      <a:pt x="6" y="5"/>
                      <a:pt x="5" y="10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0" y="45"/>
                      <a:pt x="10" y="45"/>
                      <a:pt x="10" y="45"/>
                    </a:cubicBezTo>
                    <a:cubicBezTo>
                      <a:pt x="14" y="44"/>
                      <a:pt x="14" y="44"/>
                      <a:pt x="14" y="44"/>
                    </a:cubicBezTo>
                    <a:cubicBezTo>
                      <a:pt x="11" y="29"/>
                      <a:pt x="11" y="29"/>
                      <a:pt x="11" y="29"/>
                    </a:cubicBezTo>
                    <a:cubicBezTo>
                      <a:pt x="14" y="32"/>
                      <a:pt x="17" y="33"/>
                      <a:pt x="21" y="32"/>
                    </a:cubicBezTo>
                    <a:cubicBezTo>
                      <a:pt x="24" y="31"/>
                      <a:pt x="27" y="29"/>
                      <a:pt x="28" y="26"/>
                    </a:cubicBezTo>
                    <a:cubicBezTo>
                      <a:pt x="30" y="22"/>
                      <a:pt x="30" y="18"/>
                      <a:pt x="29" y="13"/>
                    </a:cubicBezTo>
                    <a:cubicBezTo>
                      <a:pt x="27" y="9"/>
                      <a:pt x="25" y="5"/>
                      <a:pt x="23" y="3"/>
                    </a:cubicBezTo>
                    <a:cubicBezTo>
                      <a:pt x="20" y="1"/>
                      <a:pt x="16" y="0"/>
                      <a:pt x="13" y="1"/>
                    </a:cubicBezTo>
                    <a:close/>
                    <a:moveTo>
                      <a:pt x="24" y="25"/>
                    </a:moveTo>
                    <a:cubicBezTo>
                      <a:pt x="22" y="27"/>
                      <a:pt x="21" y="28"/>
                      <a:pt x="19" y="29"/>
                    </a:cubicBezTo>
                    <a:cubicBezTo>
                      <a:pt x="17" y="29"/>
                      <a:pt x="15" y="29"/>
                      <a:pt x="13" y="28"/>
                    </a:cubicBezTo>
                    <a:cubicBezTo>
                      <a:pt x="11" y="27"/>
                      <a:pt x="10" y="25"/>
                      <a:pt x="9" y="23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7" y="12"/>
                      <a:pt x="7" y="10"/>
                      <a:pt x="8" y="9"/>
                    </a:cubicBezTo>
                    <a:cubicBezTo>
                      <a:pt x="10" y="7"/>
                      <a:pt x="11" y="6"/>
                      <a:pt x="13" y="5"/>
                    </a:cubicBezTo>
                    <a:cubicBezTo>
                      <a:pt x="15" y="5"/>
                      <a:pt x="17" y="5"/>
                      <a:pt x="19" y="7"/>
                    </a:cubicBezTo>
                    <a:cubicBezTo>
                      <a:pt x="21" y="8"/>
                      <a:pt x="23" y="11"/>
                      <a:pt x="24" y="15"/>
                    </a:cubicBezTo>
                    <a:cubicBezTo>
                      <a:pt x="25" y="19"/>
                      <a:pt x="25" y="22"/>
                      <a:pt x="24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34" name="Freeform 226"/>
              <p:cNvSpPr/>
              <p:nvPr/>
            </p:nvSpPr>
            <p:spPr bwMode="auto">
              <a:xfrm>
                <a:off x="2505075" y="2973388"/>
                <a:ext cx="55563" cy="131763"/>
              </a:xfrm>
              <a:custGeom>
                <a:avLst/>
                <a:gdLst>
                  <a:gd name="T0" fmla="*/ 8 w 15"/>
                  <a:gd name="T1" fmla="*/ 3 h 35"/>
                  <a:gd name="T2" fmla="*/ 6 w 15"/>
                  <a:gd name="T3" fmla="*/ 11 h 35"/>
                  <a:gd name="T4" fmla="*/ 4 w 15"/>
                  <a:gd name="T5" fmla="*/ 4 h 35"/>
                  <a:gd name="T6" fmla="*/ 0 w 15"/>
                  <a:gd name="T7" fmla="*/ 5 h 35"/>
                  <a:gd name="T8" fmla="*/ 7 w 15"/>
                  <a:gd name="T9" fmla="*/ 35 h 35"/>
                  <a:gd name="T10" fmla="*/ 12 w 15"/>
                  <a:gd name="T11" fmla="*/ 33 h 35"/>
                  <a:gd name="T12" fmla="*/ 8 w 15"/>
                  <a:gd name="T13" fmla="*/ 18 h 35"/>
                  <a:gd name="T14" fmla="*/ 9 w 15"/>
                  <a:gd name="T15" fmla="*/ 10 h 35"/>
                  <a:gd name="T16" fmla="*/ 14 w 15"/>
                  <a:gd name="T17" fmla="*/ 5 h 35"/>
                  <a:gd name="T18" fmla="*/ 15 w 15"/>
                  <a:gd name="T19" fmla="*/ 5 h 35"/>
                  <a:gd name="T20" fmla="*/ 14 w 15"/>
                  <a:gd name="T21" fmla="*/ 0 h 35"/>
                  <a:gd name="T22" fmla="*/ 12 w 15"/>
                  <a:gd name="T23" fmla="*/ 1 h 35"/>
                  <a:gd name="T24" fmla="*/ 8 w 15"/>
                  <a:gd name="T25" fmla="*/ 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" h="35">
                    <a:moveTo>
                      <a:pt x="8" y="3"/>
                    </a:moveTo>
                    <a:cubicBezTo>
                      <a:pt x="7" y="5"/>
                      <a:pt x="6" y="7"/>
                      <a:pt x="6" y="11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12" y="33"/>
                      <a:pt x="12" y="33"/>
                      <a:pt x="12" y="33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7" y="15"/>
                      <a:pt x="8" y="12"/>
                      <a:pt x="9" y="10"/>
                    </a:cubicBezTo>
                    <a:cubicBezTo>
                      <a:pt x="10" y="7"/>
                      <a:pt x="12" y="6"/>
                      <a:pt x="14" y="5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3" y="1"/>
                      <a:pt x="13" y="1"/>
                      <a:pt x="12" y="1"/>
                    </a:cubicBezTo>
                    <a:cubicBezTo>
                      <a:pt x="11" y="1"/>
                      <a:pt x="9" y="2"/>
                      <a:pt x="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35" name="Freeform 227"/>
              <p:cNvSpPr>
                <a:spLocks noEditPoints="1"/>
              </p:cNvSpPr>
              <p:nvPr/>
            </p:nvSpPr>
            <p:spPr bwMode="auto">
              <a:xfrm>
                <a:off x="2576513" y="2954338"/>
                <a:ext cx="107950" cy="128588"/>
              </a:xfrm>
              <a:custGeom>
                <a:avLst/>
                <a:gdLst>
                  <a:gd name="T0" fmla="*/ 21 w 29"/>
                  <a:gd name="T1" fmla="*/ 3 h 34"/>
                  <a:gd name="T2" fmla="*/ 10 w 29"/>
                  <a:gd name="T3" fmla="*/ 1 h 34"/>
                  <a:gd name="T4" fmla="*/ 2 w 29"/>
                  <a:gd name="T5" fmla="*/ 8 h 34"/>
                  <a:gd name="T6" fmla="*/ 1 w 29"/>
                  <a:gd name="T7" fmla="*/ 20 h 34"/>
                  <a:gd name="T8" fmla="*/ 7 w 29"/>
                  <a:gd name="T9" fmla="*/ 31 h 34"/>
                  <a:gd name="T10" fmla="*/ 18 w 29"/>
                  <a:gd name="T11" fmla="*/ 33 h 34"/>
                  <a:gd name="T12" fmla="*/ 27 w 29"/>
                  <a:gd name="T13" fmla="*/ 26 h 34"/>
                  <a:gd name="T14" fmla="*/ 28 w 29"/>
                  <a:gd name="T15" fmla="*/ 14 h 34"/>
                  <a:gd name="T16" fmla="*/ 21 w 29"/>
                  <a:gd name="T17" fmla="*/ 3 h 34"/>
                  <a:gd name="T18" fmla="*/ 23 w 29"/>
                  <a:gd name="T19" fmla="*/ 25 h 34"/>
                  <a:gd name="T20" fmla="*/ 17 w 29"/>
                  <a:gd name="T21" fmla="*/ 29 h 34"/>
                  <a:gd name="T22" fmla="*/ 11 w 29"/>
                  <a:gd name="T23" fmla="*/ 28 h 34"/>
                  <a:gd name="T24" fmla="*/ 6 w 29"/>
                  <a:gd name="T25" fmla="*/ 19 h 34"/>
                  <a:gd name="T26" fmla="*/ 6 w 29"/>
                  <a:gd name="T27" fmla="*/ 10 h 34"/>
                  <a:gd name="T28" fmla="*/ 11 w 29"/>
                  <a:gd name="T29" fmla="*/ 5 h 34"/>
                  <a:gd name="T30" fmla="*/ 18 w 29"/>
                  <a:gd name="T31" fmla="*/ 7 h 34"/>
                  <a:gd name="T32" fmla="*/ 23 w 29"/>
                  <a:gd name="T33" fmla="*/ 15 h 34"/>
                  <a:gd name="T34" fmla="*/ 23 w 29"/>
                  <a:gd name="T35" fmla="*/ 2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9" h="34">
                    <a:moveTo>
                      <a:pt x="21" y="3"/>
                    </a:moveTo>
                    <a:cubicBezTo>
                      <a:pt x="18" y="1"/>
                      <a:pt x="15" y="0"/>
                      <a:pt x="10" y="1"/>
                    </a:cubicBezTo>
                    <a:cubicBezTo>
                      <a:pt x="7" y="2"/>
                      <a:pt x="4" y="5"/>
                      <a:pt x="2" y="8"/>
                    </a:cubicBezTo>
                    <a:cubicBezTo>
                      <a:pt x="0" y="12"/>
                      <a:pt x="0" y="16"/>
                      <a:pt x="1" y="20"/>
                    </a:cubicBezTo>
                    <a:cubicBezTo>
                      <a:pt x="2" y="25"/>
                      <a:pt x="4" y="28"/>
                      <a:pt x="7" y="31"/>
                    </a:cubicBezTo>
                    <a:cubicBezTo>
                      <a:pt x="10" y="33"/>
                      <a:pt x="14" y="34"/>
                      <a:pt x="18" y="33"/>
                    </a:cubicBezTo>
                    <a:cubicBezTo>
                      <a:pt x="22" y="32"/>
                      <a:pt x="25" y="30"/>
                      <a:pt x="27" y="26"/>
                    </a:cubicBezTo>
                    <a:cubicBezTo>
                      <a:pt x="29" y="22"/>
                      <a:pt x="29" y="18"/>
                      <a:pt x="28" y="14"/>
                    </a:cubicBezTo>
                    <a:cubicBezTo>
                      <a:pt x="27" y="9"/>
                      <a:pt x="24" y="6"/>
                      <a:pt x="21" y="3"/>
                    </a:cubicBezTo>
                    <a:close/>
                    <a:moveTo>
                      <a:pt x="23" y="25"/>
                    </a:moveTo>
                    <a:cubicBezTo>
                      <a:pt x="21" y="27"/>
                      <a:pt x="20" y="28"/>
                      <a:pt x="17" y="29"/>
                    </a:cubicBezTo>
                    <a:cubicBezTo>
                      <a:pt x="15" y="30"/>
                      <a:pt x="13" y="29"/>
                      <a:pt x="11" y="28"/>
                    </a:cubicBezTo>
                    <a:cubicBezTo>
                      <a:pt x="9" y="26"/>
                      <a:pt x="7" y="23"/>
                      <a:pt x="6" y="19"/>
                    </a:cubicBezTo>
                    <a:cubicBezTo>
                      <a:pt x="5" y="15"/>
                      <a:pt x="5" y="12"/>
                      <a:pt x="6" y="10"/>
                    </a:cubicBezTo>
                    <a:cubicBezTo>
                      <a:pt x="7" y="7"/>
                      <a:pt x="9" y="6"/>
                      <a:pt x="11" y="5"/>
                    </a:cubicBezTo>
                    <a:cubicBezTo>
                      <a:pt x="13" y="5"/>
                      <a:pt x="16" y="5"/>
                      <a:pt x="18" y="7"/>
                    </a:cubicBezTo>
                    <a:cubicBezTo>
                      <a:pt x="20" y="8"/>
                      <a:pt x="22" y="11"/>
                      <a:pt x="23" y="15"/>
                    </a:cubicBezTo>
                    <a:cubicBezTo>
                      <a:pt x="24" y="19"/>
                      <a:pt x="24" y="22"/>
                      <a:pt x="23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36" name="Freeform 228"/>
              <p:cNvSpPr/>
              <p:nvPr/>
            </p:nvSpPr>
            <p:spPr bwMode="auto">
              <a:xfrm>
                <a:off x="2692400" y="2940051"/>
                <a:ext cx="49213" cy="161925"/>
              </a:xfrm>
              <a:custGeom>
                <a:avLst/>
                <a:gdLst>
                  <a:gd name="T0" fmla="*/ 8 w 13"/>
                  <a:gd name="T1" fmla="*/ 32 h 43"/>
                  <a:gd name="T2" fmla="*/ 8 w 13"/>
                  <a:gd name="T3" fmla="*/ 36 h 43"/>
                  <a:gd name="T4" fmla="*/ 4 w 13"/>
                  <a:gd name="T5" fmla="*/ 39 h 43"/>
                  <a:gd name="T6" fmla="*/ 1 w 13"/>
                  <a:gd name="T7" fmla="*/ 39 h 43"/>
                  <a:gd name="T8" fmla="*/ 2 w 13"/>
                  <a:gd name="T9" fmla="*/ 43 h 43"/>
                  <a:gd name="T10" fmla="*/ 6 w 13"/>
                  <a:gd name="T11" fmla="*/ 42 h 43"/>
                  <a:gd name="T12" fmla="*/ 12 w 13"/>
                  <a:gd name="T13" fmla="*/ 39 h 43"/>
                  <a:gd name="T14" fmla="*/ 12 w 13"/>
                  <a:gd name="T15" fmla="*/ 31 h 43"/>
                  <a:gd name="T16" fmla="*/ 4 w 13"/>
                  <a:gd name="T17" fmla="*/ 0 h 43"/>
                  <a:gd name="T18" fmla="*/ 0 w 13"/>
                  <a:gd name="T19" fmla="*/ 1 h 43"/>
                  <a:gd name="T20" fmla="*/ 8 w 13"/>
                  <a:gd name="T21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" h="43">
                    <a:moveTo>
                      <a:pt x="8" y="32"/>
                    </a:moveTo>
                    <a:cubicBezTo>
                      <a:pt x="8" y="34"/>
                      <a:pt x="8" y="35"/>
                      <a:pt x="8" y="36"/>
                    </a:cubicBezTo>
                    <a:cubicBezTo>
                      <a:pt x="7" y="37"/>
                      <a:pt x="6" y="38"/>
                      <a:pt x="4" y="39"/>
                    </a:cubicBezTo>
                    <a:cubicBezTo>
                      <a:pt x="3" y="39"/>
                      <a:pt x="2" y="39"/>
                      <a:pt x="1" y="39"/>
                    </a:cubicBezTo>
                    <a:cubicBezTo>
                      <a:pt x="2" y="43"/>
                      <a:pt x="2" y="43"/>
                      <a:pt x="2" y="43"/>
                    </a:cubicBezTo>
                    <a:cubicBezTo>
                      <a:pt x="3" y="43"/>
                      <a:pt x="5" y="42"/>
                      <a:pt x="6" y="42"/>
                    </a:cubicBezTo>
                    <a:cubicBezTo>
                      <a:pt x="9" y="42"/>
                      <a:pt x="10" y="40"/>
                      <a:pt x="12" y="39"/>
                    </a:cubicBezTo>
                    <a:cubicBezTo>
                      <a:pt x="13" y="37"/>
                      <a:pt x="13" y="34"/>
                      <a:pt x="12" y="3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8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37" name="Freeform 229"/>
              <p:cNvSpPr/>
              <p:nvPr/>
            </p:nvSpPr>
            <p:spPr bwMode="auto">
              <a:xfrm>
                <a:off x="2681288" y="2898776"/>
                <a:ext cx="22225" cy="25400"/>
              </a:xfrm>
              <a:custGeom>
                <a:avLst/>
                <a:gdLst>
                  <a:gd name="T0" fmla="*/ 2 w 14"/>
                  <a:gd name="T1" fmla="*/ 16 h 16"/>
                  <a:gd name="T2" fmla="*/ 14 w 14"/>
                  <a:gd name="T3" fmla="*/ 14 h 16"/>
                  <a:gd name="T4" fmla="*/ 12 w 14"/>
                  <a:gd name="T5" fmla="*/ 0 h 16"/>
                  <a:gd name="T6" fmla="*/ 0 w 14"/>
                  <a:gd name="T7" fmla="*/ 4 h 16"/>
                  <a:gd name="T8" fmla="*/ 2 w 14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6">
                    <a:moveTo>
                      <a:pt x="2" y="16"/>
                    </a:moveTo>
                    <a:lnTo>
                      <a:pt x="14" y="14"/>
                    </a:lnTo>
                    <a:lnTo>
                      <a:pt x="12" y="0"/>
                    </a:lnTo>
                    <a:lnTo>
                      <a:pt x="0" y="4"/>
                    </a:lnTo>
                    <a:lnTo>
                      <a:pt x="2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38" name="Freeform 230"/>
              <p:cNvSpPr>
                <a:spLocks noEditPoints="1"/>
              </p:cNvSpPr>
              <p:nvPr/>
            </p:nvSpPr>
            <p:spPr bwMode="auto">
              <a:xfrm>
                <a:off x="2744788" y="2913063"/>
                <a:ext cx="109538" cy="123825"/>
              </a:xfrm>
              <a:custGeom>
                <a:avLst/>
                <a:gdLst>
                  <a:gd name="T0" fmla="*/ 21 w 29"/>
                  <a:gd name="T1" fmla="*/ 3 h 33"/>
                  <a:gd name="T2" fmla="*/ 11 w 29"/>
                  <a:gd name="T3" fmla="*/ 1 h 33"/>
                  <a:gd name="T4" fmla="*/ 2 w 29"/>
                  <a:gd name="T5" fmla="*/ 8 h 33"/>
                  <a:gd name="T6" fmla="*/ 1 w 29"/>
                  <a:gd name="T7" fmla="*/ 20 h 33"/>
                  <a:gd name="T8" fmla="*/ 8 w 29"/>
                  <a:gd name="T9" fmla="*/ 31 h 33"/>
                  <a:gd name="T10" fmla="*/ 19 w 29"/>
                  <a:gd name="T11" fmla="*/ 32 h 33"/>
                  <a:gd name="T12" fmla="*/ 26 w 29"/>
                  <a:gd name="T13" fmla="*/ 28 h 33"/>
                  <a:gd name="T14" fmla="*/ 29 w 29"/>
                  <a:gd name="T15" fmla="*/ 20 h 33"/>
                  <a:gd name="T16" fmla="*/ 25 w 29"/>
                  <a:gd name="T17" fmla="*/ 21 h 33"/>
                  <a:gd name="T18" fmla="*/ 18 w 29"/>
                  <a:gd name="T19" fmla="*/ 28 h 33"/>
                  <a:gd name="T20" fmla="*/ 12 w 29"/>
                  <a:gd name="T21" fmla="*/ 28 h 33"/>
                  <a:gd name="T22" fmla="*/ 6 w 29"/>
                  <a:gd name="T23" fmla="*/ 19 h 33"/>
                  <a:gd name="T24" fmla="*/ 28 w 29"/>
                  <a:gd name="T25" fmla="*/ 14 h 33"/>
                  <a:gd name="T26" fmla="*/ 21 w 29"/>
                  <a:gd name="T27" fmla="*/ 3 h 33"/>
                  <a:gd name="T28" fmla="*/ 6 w 29"/>
                  <a:gd name="T29" fmla="*/ 16 h 33"/>
                  <a:gd name="T30" fmla="*/ 7 w 29"/>
                  <a:gd name="T31" fmla="*/ 8 h 33"/>
                  <a:gd name="T32" fmla="*/ 12 w 29"/>
                  <a:gd name="T33" fmla="*/ 4 h 33"/>
                  <a:gd name="T34" fmla="*/ 17 w 29"/>
                  <a:gd name="T35" fmla="*/ 5 h 33"/>
                  <a:gd name="T36" fmla="*/ 20 w 29"/>
                  <a:gd name="T37" fmla="*/ 7 h 33"/>
                  <a:gd name="T38" fmla="*/ 22 w 29"/>
                  <a:gd name="T39" fmla="*/ 12 h 33"/>
                  <a:gd name="T40" fmla="*/ 6 w 29"/>
                  <a:gd name="T41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9" h="33">
                    <a:moveTo>
                      <a:pt x="21" y="3"/>
                    </a:moveTo>
                    <a:cubicBezTo>
                      <a:pt x="18" y="0"/>
                      <a:pt x="15" y="0"/>
                      <a:pt x="11" y="1"/>
                    </a:cubicBezTo>
                    <a:cubicBezTo>
                      <a:pt x="7" y="2"/>
                      <a:pt x="4" y="4"/>
                      <a:pt x="2" y="8"/>
                    </a:cubicBezTo>
                    <a:cubicBezTo>
                      <a:pt x="0" y="11"/>
                      <a:pt x="0" y="16"/>
                      <a:pt x="1" y="20"/>
                    </a:cubicBezTo>
                    <a:cubicBezTo>
                      <a:pt x="2" y="25"/>
                      <a:pt x="5" y="28"/>
                      <a:pt x="8" y="31"/>
                    </a:cubicBezTo>
                    <a:cubicBezTo>
                      <a:pt x="11" y="33"/>
                      <a:pt x="15" y="33"/>
                      <a:pt x="19" y="32"/>
                    </a:cubicBezTo>
                    <a:cubicBezTo>
                      <a:pt x="22" y="32"/>
                      <a:pt x="24" y="30"/>
                      <a:pt x="26" y="28"/>
                    </a:cubicBezTo>
                    <a:cubicBezTo>
                      <a:pt x="28" y="26"/>
                      <a:pt x="29" y="23"/>
                      <a:pt x="29" y="20"/>
                    </a:cubicBezTo>
                    <a:cubicBezTo>
                      <a:pt x="25" y="21"/>
                      <a:pt x="25" y="21"/>
                      <a:pt x="25" y="21"/>
                    </a:cubicBezTo>
                    <a:cubicBezTo>
                      <a:pt x="24" y="25"/>
                      <a:pt x="22" y="27"/>
                      <a:pt x="18" y="28"/>
                    </a:cubicBezTo>
                    <a:cubicBezTo>
                      <a:pt x="16" y="29"/>
                      <a:pt x="14" y="29"/>
                      <a:pt x="12" y="28"/>
                    </a:cubicBezTo>
                    <a:cubicBezTo>
                      <a:pt x="9" y="26"/>
                      <a:pt x="8" y="24"/>
                      <a:pt x="6" y="19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27" y="8"/>
                      <a:pt x="24" y="5"/>
                      <a:pt x="21" y="3"/>
                    </a:cubicBezTo>
                    <a:close/>
                    <a:moveTo>
                      <a:pt x="6" y="16"/>
                    </a:moveTo>
                    <a:cubicBezTo>
                      <a:pt x="5" y="13"/>
                      <a:pt x="6" y="10"/>
                      <a:pt x="7" y="8"/>
                    </a:cubicBezTo>
                    <a:cubicBezTo>
                      <a:pt x="8" y="6"/>
                      <a:pt x="10" y="5"/>
                      <a:pt x="12" y="4"/>
                    </a:cubicBezTo>
                    <a:cubicBezTo>
                      <a:pt x="14" y="4"/>
                      <a:pt x="15" y="4"/>
                      <a:pt x="17" y="5"/>
                    </a:cubicBezTo>
                    <a:cubicBezTo>
                      <a:pt x="18" y="5"/>
                      <a:pt x="19" y="6"/>
                      <a:pt x="20" y="7"/>
                    </a:cubicBezTo>
                    <a:cubicBezTo>
                      <a:pt x="21" y="8"/>
                      <a:pt x="22" y="10"/>
                      <a:pt x="22" y="12"/>
                    </a:cubicBezTo>
                    <a:lnTo>
                      <a:pt x="6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39" name="Freeform 231"/>
              <p:cNvSpPr/>
              <p:nvPr/>
            </p:nvSpPr>
            <p:spPr bwMode="auto">
              <a:xfrm>
                <a:off x="2862263" y="2882901"/>
                <a:ext cx="101600" cy="128588"/>
              </a:xfrm>
              <a:custGeom>
                <a:avLst/>
                <a:gdLst>
                  <a:gd name="T0" fmla="*/ 11 w 27"/>
                  <a:gd name="T1" fmla="*/ 5 h 34"/>
                  <a:gd name="T2" fmla="*/ 20 w 27"/>
                  <a:gd name="T3" fmla="*/ 11 h 34"/>
                  <a:gd name="T4" fmla="*/ 24 w 27"/>
                  <a:gd name="T5" fmla="*/ 9 h 34"/>
                  <a:gd name="T6" fmla="*/ 19 w 27"/>
                  <a:gd name="T7" fmla="*/ 2 h 34"/>
                  <a:gd name="T8" fmla="*/ 10 w 27"/>
                  <a:gd name="T9" fmla="*/ 1 h 34"/>
                  <a:gd name="T10" fmla="*/ 2 w 27"/>
                  <a:gd name="T11" fmla="*/ 8 h 34"/>
                  <a:gd name="T12" fmla="*/ 2 w 27"/>
                  <a:gd name="T13" fmla="*/ 20 h 34"/>
                  <a:gd name="T14" fmla="*/ 8 w 27"/>
                  <a:gd name="T15" fmla="*/ 30 h 34"/>
                  <a:gd name="T16" fmla="*/ 18 w 27"/>
                  <a:gd name="T17" fmla="*/ 33 h 34"/>
                  <a:gd name="T18" fmla="*/ 25 w 27"/>
                  <a:gd name="T19" fmla="*/ 28 h 34"/>
                  <a:gd name="T20" fmla="*/ 27 w 27"/>
                  <a:gd name="T21" fmla="*/ 19 h 34"/>
                  <a:gd name="T22" fmla="*/ 23 w 27"/>
                  <a:gd name="T23" fmla="*/ 19 h 34"/>
                  <a:gd name="T24" fmla="*/ 17 w 27"/>
                  <a:gd name="T25" fmla="*/ 29 h 34"/>
                  <a:gd name="T26" fmla="*/ 11 w 27"/>
                  <a:gd name="T27" fmla="*/ 27 h 34"/>
                  <a:gd name="T28" fmla="*/ 6 w 27"/>
                  <a:gd name="T29" fmla="*/ 19 h 34"/>
                  <a:gd name="T30" fmla="*/ 6 w 27"/>
                  <a:gd name="T31" fmla="*/ 10 h 34"/>
                  <a:gd name="T32" fmla="*/ 11 w 27"/>
                  <a:gd name="T33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" h="34">
                    <a:moveTo>
                      <a:pt x="11" y="5"/>
                    </a:moveTo>
                    <a:cubicBezTo>
                      <a:pt x="15" y="4"/>
                      <a:pt x="18" y="6"/>
                      <a:pt x="20" y="11"/>
                    </a:cubicBezTo>
                    <a:cubicBezTo>
                      <a:pt x="24" y="9"/>
                      <a:pt x="24" y="9"/>
                      <a:pt x="24" y="9"/>
                    </a:cubicBezTo>
                    <a:cubicBezTo>
                      <a:pt x="23" y="6"/>
                      <a:pt x="21" y="4"/>
                      <a:pt x="19" y="2"/>
                    </a:cubicBezTo>
                    <a:cubicBezTo>
                      <a:pt x="16" y="1"/>
                      <a:pt x="13" y="0"/>
                      <a:pt x="10" y="1"/>
                    </a:cubicBezTo>
                    <a:cubicBezTo>
                      <a:pt x="6" y="2"/>
                      <a:pt x="4" y="4"/>
                      <a:pt x="2" y="8"/>
                    </a:cubicBezTo>
                    <a:cubicBezTo>
                      <a:pt x="1" y="12"/>
                      <a:pt x="0" y="16"/>
                      <a:pt x="2" y="20"/>
                    </a:cubicBezTo>
                    <a:cubicBezTo>
                      <a:pt x="3" y="25"/>
                      <a:pt x="5" y="28"/>
                      <a:pt x="8" y="30"/>
                    </a:cubicBezTo>
                    <a:cubicBezTo>
                      <a:pt x="11" y="33"/>
                      <a:pt x="14" y="34"/>
                      <a:pt x="18" y="33"/>
                    </a:cubicBezTo>
                    <a:cubicBezTo>
                      <a:pt x="21" y="32"/>
                      <a:pt x="23" y="30"/>
                      <a:pt x="25" y="28"/>
                    </a:cubicBezTo>
                    <a:cubicBezTo>
                      <a:pt x="27" y="26"/>
                      <a:pt x="27" y="23"/>
                      <a:pt x="27" y="19"/>
                    </a:cubicBezTo>
                    <a:cubicBezTo>
                      <a:pt x="23" y="19"/>
                      <a:pt x="23" y="19"/>
                      <a:pt x="23" y="19"/>
                    </a:cubicBezTo>
                    <a:cubicBezTo>
                      <a:pt x="23" y="25"/>
                      <a:pt x="21" y="28"/>
                      <a:pt x="17" y="29"/>
                    </a:cubicBezTo>
                    <a:cubicBezTo>
                      <a:pt x="15" y="29"/>
                      <a:pt x="13" y="29"/>
                      <a:pt x="11" y="27"/>
                    </a:cubicBezTo>
                    <a:cubicBezTo>
                      <a:pt x="9" y="25"/>
                      <a:pt x="7" y="23"/>
                      <a:pt x="6" y="19"/>
                    </a:cubicBezTo>
                    <a:cubicBezTo>
                      <a:pt x="5" y="15"/>
                      <a:pt x="5" y="12"/>
                      <a:pt x="6" y="10"/>
                    </a:cubicBezTo>
                    <a:cubicBezTo>
                      <a:pt x="7" y="7"/>
                      <a:pt x="9" y="6"/>
                      <a:pt x="1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40" name="Freeform 232"/>
              <p:cNvSpPr/>
              <p:nvPr/>
            </p:nvSpPr>
            <p:spPr bwMode="auto">
              <a:xfrm>
                <a:off x="2952750" y="2838451"/>
                <a:ext cx="93663" cy="146050"/>
              </a:xfrm>
              <a:custGeom>
                <a:avLst/>
                <a:gdLst>
                  <a:gd name="T0" fmla="*/ 21 w 25"/>
                  <a:gd name="T1" fmla="*/ 34 h 39"/>
                  <a:gd name="T2" fmla="*/ 15 w 25"/>
                  <a:gd name="T3" fmla="*/ 31 h 39"/>
                  <a:gd name="T4" fmla="*/ 10 w 25"/>
                  <a:gd name="T5" fmla="*/ 12 h 39"/>
                  <a:gd name="T6" fmla="*/ 17 w 25"/>
                  <a:gd name="T7" fmla="*/ 10 h 39"/>
                  <a:gd name="T8" fmla="*/ 16 w 25"/>
                  <a:gd name="T9" fmla="*/ 7 h 39"/>
                  <a:gd name="T10" fmla="*/ 9 w 25"/>
                  <a:gd name="T11" fmla="*/ 8 h 39"/>
                  <a:gd name="T12" fmla="*/ 7 w 25"/>
                  <a:gd name="T13" fmla="*/ 0 h 39"/>
                  <a:gd name="T14" fmla="*/ 3 w 25"/>
                  <a:gd name="T15" fmla="*/ 2 h 39"/>
                  <a:gd name="T16" fmla="*/ 5 w 25"/>
                  <a:gd name="T17" fmla="*/ 9 h 39"/>
                  <a:gd name="T18" fmla="*/ 0 w 25"/>
                  <a:gd name="T19" fmla="*/ 11 h 39"/>
                  <a:gd name="T20" fmla="*/ 0 w 25"/>
                  <a:gd name="T21" fmla="*/ 14 h 39"/>
                  <a:gd name="T22" fmla="*/ 6 w 25"/>
                  <a:gd name="T23" fmla="*/ 13 h 39"/>
                  <a:gd name="T24" fmla="*/ 10 w 25"/>
                  <a:gd name="T25" fmla="*/ 31 h 39"/>
                  <a:gd name="T26" fmla="*/ 21 w 25"/>
                  <a:gd name="T27" fmla="*/ 38 h 39"/>
                  <a:gd name="T28" fmla="*/ 25 w 25"/>
                  <a:gd name="T29" fmla="*/ 36 h 39"/>
                  <a:gd name="T30" fmla="*/ 24 w 25"/>
                  <a:gd name="T31" fmla="*/ 33 h 39"/>
                  <a:gd name="T32" fmla="*/ 21 w 25"/>
                  <a:gd name="T33" fmla="*/ 34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" h="39">
                    <a:moveTo>
                      <a:pt x="21" y="34"/>
                    </a:moveTo>
                    <a:cubicBezTo>
                      <a:pt x="18" y="35"/>
                      <a:pt x="16" y="34"/>
                      <a:pt x="15" y="31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17" y="10"/>
                      <a:pt x="17" y="10"/>
                      <a:pt x="17" y="10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9" y="8"/>
                      <a:pt x="9" y="8"/>
                      <a:pt x="9" y="8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10" y="31"/>
                      <a:pt x="10" y="31"/>
                      <a:pt x="10" y="31"/>
                    </a:cubicBezTo>
                    <a:cubicBezTo>
                      <a:pt x="12" y="37"/>
                      <a:pt x="15" y="39"/>
                      <a:pt x="21" y="38"/>
                    </a:cubicBezTo>
                    <a:cubicBezTo>
                      <a:pt x="22" y="37"/>
                      <a:pt x="24" y="37"/>
                      <a:pt x="25" y="36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23" y="33"/>
                      <a:pt x="22" y="34"/>
                      <a:pt x="21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41" name="Freeform 233"/>
              <p:cNvSpPr>
                <a:spLocks noEditPoints="1"/>
              </p:cNvSpPr>
              <p:nvPr/>
            </p:nvSpPr>
            <p:spPr bwMode="auto">
              <a:xfrm>
                <a:off x="1543050" y="1057276"/>
                <a:ext cx="112713" cy="153988"/>
              </a:xfrm>
              <a:custGeom>
                <a:avLst/>
                <a:gdLst>
                  <a:gd name="T0" fmla="*/ 11 w 30"/>
                  <a:gd name="T1" fmla="*/ 1 h 41"/>
                  <a:gd name="T2" fmla="*/ 6 w 30"/>
                  <a:gd name="T3" fmla="*/ 11 h 41"/>
                  <a:gd name="T4" fmla="*/ 4 w 30"/>
                  <a:gd name="T5" fmla="*/ 6 h 41"/>
                  <a:gd name="T6" fmla="*/ 0 w 30"/>
                  <a:gd name="T7" fmla="*/ 7 h 41"/>
                  <a:gd name="T8" fmla="*/ 16 w 30"/>
                  <a:gd name="T9" fmla="*/ 41 h 41"/>
                  <a:gd name="T10" fmla="*/ 20 w 30"/>
                  <a:gd name="T11" fmla="*/ 39 h 41"/>
                  <a:gd name="T12" fmla="*/ 14 w 30"/>
                  <a:gd name="T13" fmla="*/ 27 h 41"/>
                  <a:gd name="T14" fmla="*/ 24 w 30"/>
                  <a:gd name="T15" fmla="*/ 28 h 41"/>
                  <a:gd name="T16" fmla="*/ 29 w 30"/>
                  <a:gd name="T17" fmla="*/ 21 h 41"/>
                  <a:gd name="T18" fmla="*/ 27 w 30"/>
                  <a:gd name="T19" fmla="*/ 10 h 41"/>
                  <a:gd name="T20" fmla="*/ 20 w 30"/>
                  <a:gd name="T21" fmla="*/ 2 h 41"/>
                  <a:gd name="T22" fmla="*/ 11 w 30"/>
                  <a:gd name="T23" fmla="*/ 1 h 41"/>
                  <a:gd name="T24" fmla="*/ 25 w 30"/>
                  <a:gd name="T25" fmla="*/ 21 h 41"/>
                  <a:gd name="T26" fmla="*/ 21 w 30"/>
                  <a:gd name="T27" fmla="*/ 25 h 41"/>
                  <a:gd name="T28" fmla="*/ 16 w 30"/>
                  <a:gd name="T29" fmla="*/ 25 h 41"/>
                  <a:gd name="T30" fmla="*/ 12 w 30"/>
                  <a:gd name="T31" fmla="*/ 22 h 41"/>
                  <a:gd name="T32" fmla="*/ 8 w 30"/>
                  <a:gd name="T33" fmla="*/ 15 h 41"/>
                  <a:gd name="T34" fmla="*/ 9 w 30"/>
                  <a:gd name="T35" fmla="*/ 9 h 41"/>
                  <a:gd name="T36" fmla="*/ 12 w 30"/>
                  <a:gd name="T37" fmla="*/ 5 h 41"/>
                  <a:gd name="T38" fmla="*/ 18 w 30"/>
                  <a:gd name="T39" fmla="*/ 5 h 41"/>
                  <a:gd name="T40" fmla="*/ 23 w 30"/>
                  <a:gd name="T41" fmla="*/ 12 h 41"/>
                  <a:gd name="T42" fmla="*/ 25 w 30"/>
                  <a:gd name="T43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0" h="41">
                    <a:moveTo>
                      <a:pt x="11" y="1"/>
                    </a:moveTo>
                    <a:cubicBezTo>
                      <a:pt x="8" y="3"/>
                      <a:pt x="6" y="6"/>
                      <a:pt x="6" y="11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20" y="39"/>
                      <a:pt x="20" y="39"/>
                      <a:pt x="20" y="39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7" y="29"/>
                      <a:pt x="21" y="29"/>
                      <a:pt x="24" y="28"/>
                    </a:cubicBezTo>
                    <a:cubicBezTo>
                      <a:pt x="27" y="26"/>
                      <a:pt x="29" y="24"/>
                      <a:pt x="29" y="21"/>
                    </a:cubicBezTo>
                    <a:cubicBezTo>
                      <a:pt x="30" y="17"/>
                      <a:pt x="29" y="14"/>
                      <a:pt x="27" y="10"/>
                    </a:cubicBezTo>
                    <a:cubicBezTo>
                      <a:pt x="26" y="6"/>
                      <a:pt x="23" y="3"/>
                      <a:pt x="20" y="2"/>
                    </a:cubicBezTo>
                    <a:cubicBezTo>
                      <a:pt x="17" y="0"/>
                      <a:pt x="14" y="0"/>
                      <a:pt x="11" y="1"/>
                    </a:cubicBezTo>
                    <a:close/>
                    <a:moveTo>
                      <a:pt x="25" y="21"/>
                    </a:moveTo>
                    <a:cubicBezTo>
                      <a:pt x="24" y="23"/>
                      <a:pt x="23" y="24"/>
                      <a:pt x="21" y="25"/>
                    </a:cubicBezTo>
                    <a:cubicBezTo>
                      <a:pt x="20" y="26"/>
                      <a:pt x="18" y="26"/>
                      <a:pt x="16" y="25"/>
                    </a:cubicBezTo>
                    <a:cubicBezTo>
                      <a:pt x="14" y="25"/>
                      <a:pt x="13" y="23"/>
                      <a:pt x="12" y="22"/>
                    </a:cubicBezTo>
                    <a:cubicBezTo>
                      <a:pt x="8" y="15"/>
                      <a:pt x="8" y="15"/>
                      <a:pt x="8" y="15"/>
                    </a:cubicBezTo>
                    <a:cubicBezTo>
                      <a:pt x="8" y="13"/>
                      <a:pt x="8" y="11"/>
                      <a:pt x="9" y="9"/>
                    </a:cubicBezTo>
                    <a:cubicBezTo>
                      <a:pt x="9" y="7"/>
                      <a:pt x="10" y="6"/>
                      <a:pt x="12" y="5"/>
                    </a:cubicBezTo>
                    <a:cubicBezTo>
                      <a:pt x="14" y="4"/>
                      <a:pt x="16" y="4"/>
                      <a:pt x="18" y="5"/>
                    </a:cubicBezTo>
                    <a:cubicBezTo>
                      <a:pt x="20" y="7"/>
                      <a:pt x="22" y="9"/>
                      <a:pt x="23" y="12"/>
                    </a:cubicBezTo>
                    <a:cubicBezTo>
                      <a:pt x="25" y="16"/>
                      <a:pt x="26" y="18"/>
                      <a:pt x="25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42" name="Freeform 234"/>
              <p:cNvSpPr/>
              <p:nvPr/>
            </p:nvSpPr>
            <p:spPr bwMode="auto">
              <a:xfrm>
                <a:off x="1643063" y="1012826"/>
                <a:ext cx="60325" cy="119063"/>
              </a:xfrm>
              <a:custGeom>
                <a:avLst/>
                <a:gdLst>
                  <a:gd name="T0" fmla="*/ 8 w 16"/>
                  <a:gd name="T1" fmla="*/ 3 h 32"/>
                  <a:gd name="T2" fmla="*/ 7 w 16"/>
                  <a:gd name="T3" fmla="*/ 11 h 32"/>
                  <a:gd name="T4" fmla="*/ 4 w 16"/>
                  <a:gd name="T5" fmla="*/ 5 h 32"/>
                  <a:gd name="T6" fmla="*/ 0 w 16"/>
                  <a:gd name="T7" fmla="*/ 6 h 32"/>
                  <a:gd name="T8" fmla="*/ 12 w 16"/>
                  <a:gd name="T9" fmla="*/ 32 h 32"/>
                  <a:gd name="T10" fmla="*/ 16 w 16"/>
                  <a:gd name="T11" fmla="*/ 30 h 32"/>
                  <a:gd name="T12" fmla="*/ 10 w 16"/>
                  <a:gd name="T13" fmla="*/ 16 h 32"/>
                  <a:gd name="T14" fmla="*/ 9 w 16"/>
                  <a:gd name="T15" fmla="*/ 9 h 32"/>
                  <a:gd name="T16" fmla="*/ 13 w 16"/>
                  <a:gd name="T17" fmla="*/ 4 h 32"/>
                  <a:gd name="T18" fmla="*/ 14 w 16"/>
                  <a:gd name="T19" fmla="*/ 4 h 32"/>
                  <a:gd name="T20" fmla="*/ 12 w 16"/>
                  <a:gd name="T21" fmla="*/ 0 h 32"/>
                  <a:gd name="T22" fmla="*/ 11 w 16"/>
                  <a:gd name="T23" fmla="*/ 0 h 32"/>
                  <a:gd name="T24" fmla="*/ 8 w 16"/>
                  <a:gd name="T25" fmla="*/ 3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32">
                    <a:moveTo>
                      <a:pt x="8" y="3"/>
                    </a:moveTo>
                    <a:cubicBezTo>
                      <a:pt x="7" y="5"/>
                      <a:pt x="6" y="7"/>
                      <a:pt x="7" y="11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9" y="14"/>
                      <a:pt x="9" y="11"/>
                      <a:pt x="9" y="9"/>
                    </a:cubicBezTo>
                    <a:cubicBezTo>
                      <a:pt x="10" y="7"/>
                      <a:pt x="11" y="5"/>
                      <a:pt x="13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1" y="0"/>
                      <a:pt x="11" y="0"/>
                    </a:cubicBezTo>
                    <a:cubicBezTo>
                      <a:pt x="10" y="1"/>
                      <a:pt x="8" y="2"/>
                      <a:pt x="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43" name="Freeform 235"/>
              <p:cNvSpPr>
                <a:spLocks noEditPoints="1"/>
              </p:cNvSpPr>
              <p:nvPr/>
            </p:nvSpPr>
            <p:spPr bwMode="auto">
              <a:xfrm>
                <a:off x="1711325" y="982663"/>
                <a:ext cx="101600" cy="112713"/>
              </a:xfrm>
              <a:custGeom>
                <a:avLst/>
                <a:gdLst>
                  <a:gd name="T0" fmla="*/ 7 w 27"/>
                  <a:gd name="T1" fmla="*/ 2 h 30"/>
                  <a:gd name="T2" fmla="*/ 1 w 27"/>
                  <a:gd name="T3" fmla="*/ 9 h 30"/>
                  <a:gd name="T4" fmla="*/ 2 w 27"/>
                  <a:gd name="T5" fmla="*/ 20 h 30"/>
                  <a:gd name="T6" fmla="*/ 10 w 27"/>
                  <a:gd name="T7" fmla="*/ 28 h 30"/>
                  <a:gd name="T8" fmla="*/ 20 w 27"/>
                  <a:gd name="T9" fmla="*/ 28 h 30"/>
                  <a:gd name="T10" fmla="*/ 26 w 27"/>
                  <a:gd name="T11" fmla="*/ 21 h 30"/>
                  <a:gd name="T12" fmla="*/ 25 w 27"/>
                  <a:gd name="T13" fmla="*/ 9 h 30"/>
                  <a:gd name="T14" fmla="*/ 17 w 27"/>
                  <a:gd name="T15" fmla="*/ 1 h 30"/>
                  <a:gd name="T16" fmla="*/ 7 w 27"/>
                  <a:gd name="T17" fmla="*/ 2 h 30"/>
                  <a:gd name="T18" fmla="*/ 22 w 27"/>
                  <a:gd name="T19" fmla="*/ 20 h 30"/>
                  <a:gd name="T20" fmla="*/ 18 w 27"/>
                  <a:gd name="T21" fmla="*/ 25 h 30"/>
                  <a:gd name="T22" fmla="*/ 12 w 27"/>
                  <a:gd name="T23" fmla="*/ 25 h 30"/>
                  <a:gd name="T24" fmla="*/ 7 w 27"/>
                  <a:gd name="T25" fmla="*/ 18 h 30"/>
                  <a:gd name="T26" fmla="*/ 5 w 27"/>
                  <a:gd name="T27" fmla="*/ 10 h 30"/>
                  <a:gd name="T28" fmla="*/ 9 w 27"/>
                  <a:gd name="T29" fmla="*/ 5 h 30"/>
                  <a:gd name="T30" fmla="*/ 15 w 27"/>
                  <a:gd name="T31" fmla="*/ 5 h 30"/>
                  <a:gd name="T32" fmla="*/ 21 w 27"/>
                  <a:gd name="T33" fmla="*/ 11 h 30"/>
                  <a:gd name="T34" fmla="*/ 22 w 27"/>
                  <a:gd name="T35" fmla="*/ 2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" h="30">
                    <a:moveTo>
                      <a:pt x="7" y="2"/>
                    </a:moveTo>
                    <a:cubicBezTo>
                      <a:pt x="4" y="3"/>
                      <a:pt x="2" y="6"/>
                      <a:pt x="1" y="9"/>
                    </a:cubicBezTo>
                    <a:cubicBezTo>
                      <a:pt x="0" y="12"/>
                      <a:pt x="0" y="16"/>
                      <a:pt x="2" y="20"/>
                    </a:cubicBezTo>
                    <a:cubicBezTo>
                      <a:pt x="4" y="24"/>
                      <a:pt x="7" y="27"/>
                      <a:pt x="10" y="28"/>
                    </a:cubicBezTo>
                    <a:cubicBezTo>
                      <a:pt x="13" y="30"/>
                      <a:pt x="16" y="30"/>
                      <a:pt x="20" y="28"/>
                    </a:cubicBezTo>
                    <a:cubicBezTo>
                      <a:pt x="23" y="27"/>
                      <a:pt x="25" y="24"/>
                      <a:pt x="26" y="21"/>
                    </a:cubicBezTo>
                    <a:cubicBezTo>
                      <a:pt x="27" y="17"/>
                      <a:pt x="27" y="13"/>
                      <a:pt x="25" y="9"/>
                    </a:cubicBezTo>
                    <a:cubicBezTo>
                      <a:pt x="23" y="6"/>
                      <a:pt x="21" y="3"/>
                      <a:pt x="17" y="1"/>
                    </a:cubicBezTo>
                    <a:cubicBezTo>
                      <a:pt x="14" y="0"/>
                      <a:pt x="11" y="0"/>
                      <a:pt x="7" y="2"/>
                    </a:cubicBezTo>
                    <a:close/>
                    <a:moveTo>
                      <a:pt x="22" y="20"/>
                    </a:moveTo>
                    <a:cubicBezTo>
                      <a:pt x="22" y="22"/>
                      <a:pt x="20" y="24"/>
                      <a:pt x="18" y="25"/>
                    </a:cubicBezTo>
                    <a:cubicBezTo>
                      <a:pt x="16" y="26"/>
                      <a:pt x="14" y="26"/>
                      <a:pt x="12" y="25"/>
                    </a:cubicBezTo>
                    <a:cubicBezTo>
                      <a:pt x="10" y="24"/>
                      <a:pt x="8" y="22"/>
                      <a:pt x="7" y="18"/>
                    </a:cubicBezTo>
                    <a:cubicBezTo>
                      <a:pt x="5" y="15"/>
                      <a:pt x="4" y="12"/>
                      <a:pt x="5" y="10"/>
                    </a:cubicBezTo>
                    <a:cubicBezTo>
                      <a:pt x="6" y="7"/>
                      <a:pt x="7" y="6"/>
                      <a:pt x="9" y="5"/>
                    </a:cubicBezTo>
                    <a:cubicBezTo>
                      <a:pt x="11" y="4"/>
                      <a:pt x="13" y="4"/>
                      <a:pt x="15" y="5"/>
                    </a:cubicBezTo>
                    <a:cubicBezTo>
                      <a:pt x="17" y="6"/>
                      <a:pt x="19" y="8"/>
                      <a:pt x="21" y="11"/>
                    </a:cubicBezTo>
                    <a:cubicBezTo>
                      <a:pt x="22" y="15"/>
                      <a:pt x="23" y="18"/>
                      <a:pt x="22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44" name="Freeform 236"/>
              <p:cNvSpPr/>
              <p:nvPr/>
            </p:nvSpPr>
            <p:spPr bwMode="auto">
              <a:xfrm>
                <a:off x="1785938" y="925513"/>
                <a:ext cx="106363" cy="128588"/>
              </a:xfrm>
              <a:custGeom>
                <a:avLst/>
                <a:gdLst>
                  <a:gd name="T0" fmla="*/ 18 w 28"/>
                  <a:gd name="T1" fmla="*/ 26 h 34"/>
                  <a:gd name="T2" fmla="*/ 10 w 28"/>
                  <a:gd name="T3" fmla="*/ 10 h 34"/>
                  <a:gd name="T4" fmla="*/ 16 w 28"/>
                  <a:gd name="T5" fmla="*/ 8 h 34"/>
                  <a:gd name="T6" fmla="*/ 14 w 28"/>
                  <a:gd name="T7" fmla="*/ 4 h 34"/>
                  <a:gd name="T8" fmla="*/ 9 w 28"/>
                  <a:gd name="T9" fmla="*/ 7 h 34"/>
                  <a:gd name="T10" fmla="*/ 6 w 28"/>
                  <a:gd name="T11" fmla="*/ 0 h 34"/>
                  <a:gd name="T12" fmla="*/ 2 w 28"/>
                  <a:gd name="T13" fmla="*/ 3 h 34"/>
                  <a:gd name="T14" fmla="*/ 5 w 28"/>
                  <a:gd name="T15" fmla="*/ 9 h 34"/>
                  <a:gd name="T16" fmla="*/ 0 w 28"/>
                  <a:gd name="T17" fmla="*/ 11 h 34"/>
                  <a:gd name="T18" fmla="*/ 2 w 28"/>
                  <a:gd name="T19" fmla="*/ 14 h 34"/>
                  <a:gd name="T20" fmla="*/ 6 w 28"/>
                  <a:gd name="T21" fmla="*/ 12 h 34"/>
                  <a:gd name="T22" fmla="*/ 14 w 28"/>
                  <a:gd name="T23" fmla="*/ 27 h 34"/>
                  <a:gd name="T24" fmla="*/ 25 w 28"/>
                  <a:gd name="T25" fmla="*/ 31 h 34"/>
                  <a:gd name="T26" fmla="*/ 28 w 28"/>
                  <a:gd name="T27" fmla="*/ 29 h 34"/>
                  <a:gd name="T28" fmla="*/ 27 w 28"/>
                  <a:gd name="T29" fmla="*/ 26 h 34"/>
                  <a:gd name="T30" fmla="*/ 24 w 28"/>
                  <a:gd name="T31" fmla="*/ 28 h 34"/>
                  <a:gd name="T32" fmla="*/ 18 w 28"/>
                  <a:gd name="T33" fmla="*/ 2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34">
                    <a:moveTo>
                      <a:pt x="18" y="26"/>
                    </a:moveTo>
                    <a:cubicBezTo>
                      <a:pt x="10" y="10"/>
                      <a:pt x="10" y="10"/>
                      <a:pt x="10" y="10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6" y="32"/>
                      <a:pt x="20" y="34"/>
                      <a:pt x="25" y="31"/>
                    </a:cubicBezTo>
                    <a:cubicBezTo>
                      <a:pt x="26" y="31"/>
                      <a:pt x="27" y="30"/>
                      <a:pt x="28" y="29"/>
                    </a:cubicBezTo>
                    <a:cubicBezTo>
                      <a:pt x="27" y="26"/>
                      <a:pt x="27" y="26"/>
                      <a:pt x="27" y="26"/>
                    </a:cubicBezTo>
                    <a:cubicBezTo>
                      <a:pt x="26" y="27"/>
                      <a:pt x="25" y="28"/>
                      <a:pt x="24" y="28"/>
                    </a:cubicBezTo>
                    <a:cubicBezTo>
                      <a:pt x="21" y="29"/>
                      <a:pt x="19" y="29"/>
                      <a:pt x="18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45" name="Freeform 237"/>
              <p:cNvSpPr>
                <a:spLocks noEditPoints="1"/>
              </p:cNvSpPr>
              <p:nvPr/>
            </p:nvSpPr>
            <p:spPr bwMode="auto">
              <a:xfrm>
                <a:off x="1865313" y="906463"/>
                <a:ext cx="106363" cy="112713"/>
              </a:xfrm>
              <a:custGeom>
                <a:avLst/>
                <a:gdLst>
                  <a:gd name="T0" fmla="*/ 17 w 28"/>
                  <a:gd name="T1" fmla="*/ 1 h 30"/>
                  <a:gd name="T2" fmla="*/ 8 w 28"/>
                  <a:gd name="T3" fmla="*/ 2 h 30"/>
                  <a:gd name="T4" fmla="*/ 1 w 28"/>
                  <a:gd name="T5" fmla="*/ 10 h 30"/>
                  <a:gd name="T6" fmla="*/ 2 w 28"/>
                  <a:gd name="T7" fmla="*/ 21 h 30"/>
                  <a:gd name="T8" fmla="*/ 10 w 28"/>
                  <a:gd name="T9" fmla="*/ 29 h 30"/>
                  <a:gd name="T10" fmla="*/ 20 w 28"/>
                  <a:gd name="T11" fmla="*/ 28 h 30"/>
                  <a:gd name="T12" fmla="*/ 26 w 28"/>
                  <a:gd name="T13" fmla="*/ 23 h 30"/>
                  <a:gd name="T14" fmla="*/ 27 w 28"/>
                  <a:gd name="T15" fmla="*/ 16 h 30"/>
                  <a:gd name="T16" fmla="*/ 23 w 28"/>
                  <a:gd name="T17" fmla="*/ 17 h 30"/>
                  <a:gd name="T18" fmla="*/ 19 w 28"/>
                  <a:gd name="T19" fmla="*/ 25 h 30"/>
                  <a:gd name="T20" fmla="*/ 13 w 28"/>
                  <a:gd name="T21" fmla="*/ 25 h 30"/>
                  <a:gd name="T22" fmla="*/ 7 w 28"/>
                  <a:gd name="T23" fmla="*/ 19 h 30"/>
                  <a:gd name="T24" fmla="*/ 25 w 28"/>
                  <a:gd name="T25" fmla="*/ 10 h 30"/>
                  <a:gd name="T26" fmla="*/ 17 w 28"/>
                  <a:gd name="T27" fmla="*/ 1 h 30"/>
                  <a:gd name="T28" fmla="*/ 6 w 28"/>
                  <a:gd name="T29" fmla="*/ 16 h 30"/>
                  <a:gd name="T30" fmla="*/ 5 w 28"/>
                  <a:gd name="T31" fmla="*/ 9 h 30"/>
                  <a:gd name="T32" fmla="*/ 9 w 28"/>
                  <a:gd name="T33" fmla="*/ 5 h 30"/>
                  <a:gd name="T34" fmla="*/ 13 w 28"/>
                  <a:gd name="T35" fmla="*/ 4 h 30"/>
                  <a:gd name="T36" fmla="*/ 17 w 28"/>
                  <a:gd name="T37" fmla="*/ 6 h 30"/>
                  <a:gd name="T38" fmla="*/ 19 w 28"/>
                  <a:gd name="T39" fmla="*/ 9 h 30"/>
                  <a:gd name="T40" fmla="*/ 6 w 28"/>
                  <a:gd name="T41" fmla="*/ 1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8" h="30">
                    <a:moveTo>
                      <a:pt x="17" y="1"/>
                    </a:moveTo>
                    <a:cubicBezTo>
                      <a:pt x="14" y="0"/>
                      <a:pt x="11" y="0"/>
                      <a:pt x="8" y="2"/>
                    </a:cubicBezTo>
                    <a:cubicBezTo>
                      <a:pt x="4" y="3"/>
                      <a:pt x="2" y="6"/>
                      <a:pt x="1" y="10"/>
                    </a:cubicBezTo>
                    <a:cubicBezTo>
                      <a:pt x="0" y="13"/>
                      <a:pt x="0" y="17"/>
                      <a:pt x="2" y="21"/>
                    </a:cubicBezTo>
                    <a:cubicBezTo>
                      <a:pt x="4" y="25"/>
                      <a:pt x="7" y="27"/>
                      <a:pt x="10" y="29"/>
                    </a:cubicBezTo>
                    <a:cubicBezTo>
                      <a:pt x="13" y="30"/>
                      <a:pt x="17" y="30"/>
                      <a:pt x="20" y="28"/>
                    </a:cubicBezTo>
                    <a:cubicBezTo>
                      <a:pt x="23" y="27"/>
                      <a:pt x="25" y="25"/>
                      <a:pt x="26" y="23"/>
                    </a:cubicBezTo>
                    <a:cubicBezTo>
                      <a:pt x="27" y="21"/>
                      <a:pt x="28" y="18"/>
                      <a:pt x="27" y="16"/>
                    </a:cubicBezTo>
                    <a:cubicBezTo>
                      <a:pt x="23" y="17"/>
                      <a:pt x="23" y="17"/>
                      <a:pt x="23" y="17"/>
                    </a:cubicBezTo>
                    <a:cubicBezTo>
                      <a:pt x="24" y="21"/>
                      <a:pt x="22" y="24"/>
                      <a:pt x="19" y="25"/>
                    </a:cubicBezTo>
                    <a:cubicBezTo>
                      <a:pt x="17" y="26"/>
                      <a:pt x="15" y="26"/>
                      <a:pt x="13" y="25"/>
                    </a:cubicBezTo>
                    <a:cubicBezTo>
                      <a:pt x="11" y="25"/>
                      <a:pt x="9" y="23"/>
                      <a:pt x="7" y="19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3" y="6"/>
                      <a:pt x="20" y="3"/>
                      <a:pt x="17" y="1"/>
                    </a:cubicBezTo>
                    <a:close/>
                    <a:moveTo>
                      <a:pt x="6" y="16"/>
                    </a:moveTo>
                    <a:cubicBezTo>
                      <a:pt x="5" y="13"/>
                      <a:pt x="4" y="11"/>
                      <a:pt x="5" y="9"/>
                    </a:cubicBezTo>
                    <a:cubicBezTo>
                      <a:pt x="6" y="7"/>
                      <a:pt x="7" y="6"/>
                      <a:pt x="9" y="5"/>
                    </a:cubicBezTo>
                    <a:cubicBezTo>
                      <a:pt x="11" y="4"/>
                      <a:pt x="12" y="4"/>
                      <a:pt x="13" y="4"/>
                    </a:cubicBezTo>
                    <a:cubicBezTo>
                      <a:pt x="15" y="4"/>
                      <a:pt x="16" y="5"/>
                      <a:pt x="17" y="6"/>
                    </a:cubicBezTo>
                    <a:cubicBezTo>
                      <a:pt x="18" y="7"/>
                      <a:pt x="19" y="8"/>
                      <a:pt x="19" y="9"/>
                    </a:cubicBezTo>
                    <a:lnTo>
                      <a:pt x="6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46" name="Freeform 238"/>
              <p:cNvSpPr/>
              <p:nvPr/>
            </p:nvSpPr>
            <p:spPr bwMode="auto">
              <a:xfrm>
                <a:off x="1966913" y="862013"/>
                <a:ext cx="93663" cy="112713"/>
              </a:xfrm>
              <a:custGeom>
                <a:avLst/>
                <a:gdLst>
                  <a:gd name="T0" fmla="*/ 8 w 25"/>
                  <a:gd name="T1" fmla="*/ 5 h 30"/>
                  <a:gd name="T2" fmla="*/ 17 w 25"/>
                  <a:gd name="T3" fmla="*/ 8 h 30"/>
                  <a:gd name="T4" fmla="*/ 20 w 25"/>
                  <a:gd name="T5" fmla="*/ 6 h 30"/>
                  <a:gd name="T6" fmla="*/ 14 w 25"/>
                  <a:gd name="T7" fmla="*/ 1 h 30"/>
                  <a:gd name="T8" fmla="*/ 6 w 25"/>
                  <a:gd name="T9" fmla="*/ 2 h 30"/>
                  <a:gd name="T10" fmla="*/ 0 w 25"/>
                  <a:gd name="T11" fmla="*/ 9 h 30"/>
                  <a:gd name="T12" fmla="*/ 2 w 25"/>
                  <a:gd name="T13" fmla="*/ 20 h 30"/>
                  <a:gd name="T14" fmla="*/ 9 w 25"/>
                  <a:gd name="T15" fmla="*/ 28 h 30"/>
                  <a:gd name="T16" fmla="*/ 19 w 25"/>
                  <a:gd name="T17" fmla="*/ 28 h 30"/>
                  <a:gd name="T18" fmla="*/ 24 w 25"/>
                  <a:gd name="T19" fmla="*/ 23 h 30"/>
                  <a:gd name="T20" fmla="*/ 24 w 25"/>
                  <a:gd name="T21" fmla="*/ 15 h 30"/>
                  <a:gd name="T22" fmla="*/ 21 w 25"/>
                  <a:gd name="T23" fmla="*/ 16 h 30"/>
                  <a:gd name="T24" fmla="*/ 17 w 25"/>
                  <a:gd name="T25" fmla="*/ 25 h 30"/>
                  <a:gd name="T26" fmla="*/ 11 w 25"/>
                  <a:gd name="T27" fmla="*/ 25 h 30"/>
                  <a:gd name="T28" fmla="*/ 6 w 25"/>
                  <a:gd name="T29" fmla="*/ 18 h 30"/>
                  <a:gd name="T30" fmla="*/ 4 w 25"/>
                  <a:gd name="T31" fmla="*/ 10 h 30"/>
                  <a:gd name="T32" fmla="*/ 8 w 25"/>
                  <a:gd name="T33" fmla="*/ 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" h="30">
                    <a:moveTo>
                      <a:pt x="8" y="5"/>
                    </a:moveTo>
                    <a:cubicBezTo>
                      <a:pt x="11" y="3"/>
                      <a:pt x="14" y="4"/>
                      <a:pt x="17" y="8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18" y="3"/>
                      <a:pt x="16" y="2"/>
                      <a:pt x="14" y="1"/>
                    </a:cubicBezTo>
                    <a:cubicBezTo>
                      <a:pt x="12" y="0"/>
                      <a:pt x="9" y="0"/>
                      <a:pt x="6" y="2"/>
                    </a:cubicBezTo>
                    <a:cubicBezTo>
                      <a:pt x="3" y="3"/>
                      <a:pt x="1" y="6"/>
                      <a:pt x="0" y="9"/>
                    </a:cubicBezTo>
                    <a:cubicBezTo>
                      <a:pt x="0" y="13"/>
                      <a:pt x="0" y="16"/>
                      <a:pt x="2" y="20"/>
                    </a:cubicBezTo>
                    <a:cubicBezTo>
                      <a:pt x="4" y="24"/>
                      <a:pt x="6" y="26"/>
                      <a:pt x="9" y="28"/>
                    </a:cubicBezTo>
                    <a:cubicBezTo>
                      <a:pt x="12" y="30"/>
                      <a:pt x="15" y="30"/>
                      <a:pt x="19" y="28"/>
                    </a:cubicBezTo>
                    <a:cubicBezTo>
                      <a:pt x="21" y="27"/>
                      <a:pt x="23" y="25"/>
                      <a:pt x="24" y="23"/>
                    </a:cubicBezTo>
                    <a:cubicBezTo>
                      <a:pt x="25" y="20"/>
                      <a:pt x="25" y="18"/>
                      <a:pt x="24" y="15"/>
                    </a:cubicBezTo>
                    <a:cubicBezTo>
                      <a:pt x="21" y="16"/>
                      <a:pt x="21" y="16"/>
                      <a:pt x="21" y="16"/>
                    </a:cubicBezTo>
                    <a:cubicBezTo>
                      <a:pt x="22" y="20"/>
                      <a:pt x="21" y="23"/>
                      <a:pt x="17" y="25"/>
                    </a:cubicBezTo>
                    <a:cubicBezTo>
                      <a:pt x="15" y="26"/>
                      <a:pt x="13" y="26"/>
                      <a:pt x="11" y="25"/>
                    </a:cubicBezTo>
                    <a:cubicBezTo>
                      <a:pt x="9" y="23"/>
                      <a:pt x="7" y="21"/>
                      <a:pt x="6" y="18"/>
                    </a:cubicBezTo>
                    <a:cubicBezTo>
                      <a:pt x="5" y="15"/>
                      <a:pt x="4" y="12"/>
                      <a:pt x="4" y="10"/>
                    </a:cubicBezTo>
                    <a:cubicBezTo>
                      <a:pt x="5" y="7"/>
                      <a:pt x="6" y="6"/>
                      <a:pt x="8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47" name="Freeform 239"/>
              <p:cNvSpPr/>
              <p:nvPr/>
            </p:nvSpPr>
            <p:spPr bwMode="auto">
              <a:xfrm>
                <a:off x="2035175" y="809626"/>
                <a:ext cx="101600" cy="123825"/>
              </a:xfrm>
              <a:custGeom>
                <a:avLst/>
                <a:gdLst>
                  <a:gd name="T0" fmla="*/ 17 w 27"/>
                  <a:gd name="T1" fmla="*/ 26 h 33"/>
                  <a:gd name="T2" fmla="*/ 9 w 27"/>
                  <a:gd name="T3" fmla="*/ 10 h 33"/>
                  <a:gd name="T4" fmla="*/ 15 w 27"/>
                  <a:gd name="T5" fmla="*/ 7 h 33"/>
                  <a:gd name="T6" fmla="*/ 14 w 27"/>
                  <a:gd name="T7" fmla="*/ 4 h 33"/>
                  <a:gd name="T8" fmla="*/ 8 w 27"/>
                  <a:gd name="T9" fmla="*/ 7 h 33"/>
                  <a:gd name="T10" fmla="*/ 5 w 27"/>
                  <a:gd name="T11" fmla="*/ 0 h 33"/>
                  <a:gd name="T12" fmla="*/ 1 w 27"/>
                  <a:gd name="T13" fmla="*/ 2 h 33"/>
                  <a:gd name="T14" fmla="*/ 4 w 27"/>
                  <a:gd name="T15" fmla="*/ 9 h 33"/>
                  <a:gd name="T16" fmla="*/ 0 w 27"/>
                  <a:gd name="T17" fmla="*/ 11 h 33"/>
                  <a:gd name="T18" fmla="*/ 1 w 27"/>
                  <a:gd name="T19" fmla="*/ 14 h 33"/>
                  <a:gd name="T20" fmla="*/ 6 w 27"/>
                  <a:gd name="T21" fmla="*/ 12 h 33"/>
                  <a:gd name="T22" fmla="*/ 13 w 27"/>
                  <a:gd name="T23" fmla="*/ 27 h 33"/>
                  <a:gd name="T24" fmla="*/ 24 w 27"/>
                  <a:gd name="T25" fmla="*/ 31 h 33"/>
                  <a:gd name="T26" fmla="*/ 27 w 27"/>
                  <a:gd name="T27" fmla="*/ 29 h 33"/>
                  <a:gd name="T28" fmla="*/ 26 w 27"/>
                  <a:gd name="T29" fmla="*/ 26 h 33"/>
                  <a:gd name="T30" fmla="*/ 23 w 27"/>
                  <a:gd name="T31" fmla="*/ 28 h 33"/>
                  <a:gd name="T32" fmla="*/ 17 w 27"/>
                  <a:gd name="T33" fmla="*/ 2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" h="33">
                    <a:moveTo>
                      <a:pt x="17" y="26"/>
                    </a:moveTo>
                    <a:cubicBezTo>
                      <a:pt x="9" y="10"/>
                      <a:pt x="9" y="10"/>
                      <a:pt x="9" y="10"/>
                    </a:cubicBezTo>
                    <a:cubicBezTo>
                      <a:pt x="15" y="7"/>
                      <a:pt x="15" y="7"/>
                      <a:pt x="15" y="7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15" y="32"/>
                      <a:pt x="19" y="33"/>
                      <a:pt x="24" y="31"/>
                    </a:cubicBezTo>
                    <a:cubicBezTo>
                      <a:pt x="25" y="31"/>
                      <a:pt x="26" y="30"/>
                      <a:pt x="27" y="29"/>
                    </a:cubicBezTo>
                    <a:cubicBezTo>
                      <a:pt x="26" y="26"/>
                      <a:pt x="26" y="26"/>
                      <a:pt x="26" y="26"/>
                    </a:cubicBezTo>
                    <a:cubicBezTo>
                      <a:pt x="25" y="27"/>
                      <a:pt x="24" y="27"/>
                      <a:pt x="23" y="28"/>
                    </a:cubicBezTo>
                    <a:cubicBezTo>
                      <a:pt x="20" y="29"/>
                      <a:pt x="18" y="28"/>
                      <a:pt x="17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48" name="Freeform 240"/>
              <p:cNvSpPr/>
              <p:nvPr/>
            </p:nvSpPr>
            <p:spPr bwMode="auto">
              <a:xfrm>
                <a:off x="2090738" y="776288"/>
                <a:ext cx="22225" cy="22225"/>
              </a:xfrm>
              <a:custGeom>
                <a:avLst/>
                <a:gdLst>
                  <a:gd name="T0" fmla="*/ 5 w 14"/>
                  <a:gd name="T1" fmla="*/ 14 h 14"/>
                  <a:gd name="T2" fmla="*/ 14 w 14"/>
                  <a:gd name="T3" fmla="*/ 9 h 14"/>
                  <a:gd name="T4" fmla="*/ 10 w 14"/>
                  <a:gd name="T5" fmla="*/ 0 h 14"/>
                  <a:gd name="T6" fmla="*/ 0 w 14"/>
                  <a:gd name="T7" fmla="*/ 4 h 14"/>
                  <a:gd name="T8" fmla="*/ 5 w 14"/>
                  <a:gd name="T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4">
                    <a:moveTo>
                      <a:pt x="5" y="14"/>
                    </a:moveTo>
                    <a:lnTo>
                      <a:pt x="14" y="9"/>
                    </a:lnTo>
                    <a:lnTo>
                      <a:pt x="10" y="0"/>
                    </a:lnTo>
                    <a:lnTo>
                      <a:pt x="0" y="4"/>
                    </a:lnTo>
                    <a:lnTo>
                      <a:pt x="5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49" name="Freeform 241"/>
              <p:cNvSpPr/>
              <p:nvPr/>
            </p:nvSpPr>
            <p:spPr bwMode="auto">
              <a:xfrm>
                <a:off x="2106613" y="809626"/>
                <a:ext cx="60325" cy="101600"/>
              </a:xfrm>
              <a:custGeom>
                <a:avLst/>
                <a:gdLst>
                  <a:gd name="T0" fmla="*/ 28 w 38"/>
                  <a:gd name="T1" fmla="*/ 64 h 64"/>
                  <a:gd name="T2" fmla="*/ 38 w 38"/>
                  <a:gd name="T3" fmla="*/ 59 h 64"/>
                  <a:gd name="T4" fmla="*/ 9 w 38"/>
                  <a:gd name="T5" fmla="*/ 0 h 64"/>
                  <a:gd name="T6" fmla="*/ 0 w 38"/>
                  <a:gd name="T7" fmla="*/ 2 h 64"/>
                  <a:gd name="T8" fmla="*/ 28 w 38"/>
                  <a:gd name="T9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64">
                    <a:moveTo>
                      <a:pt x="28" y="64"/>
                    </a:moveTo>
                    <a:lnTo>
                      <a:pt x="38" y="59"/>
                    </a:lnTo>
                    <a:lnTo>
                      <a:pt x="9" y="0"/>
                    </a:lnTo>
                    <a:lnTo>
                      <a:pt x="0" y="2"/>
                    </a:lnTo>
                    <a:lnTo>
                      <a:pt x="28" y="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50" name="Freeform 242"/>
              <p:cNvSpPr>
                <a:spLocks noEditPoints="1"/>
              </p:cNvSpPr>
              <p:nvPr/>
            </p:nvSpPr>
            <p:spPr bwMode="auto">
              <a:xfrm>
                <a:off x="2159000" y="768351"/>
                <a:ext cx="101600" cy="112713"/>
              </a:xfrm>
              <a:custGeom>
                <a:avLst/>
                <a:gdLst>
                  <a:gd name="T0" fmla="*/ 7 w 27"/>
                  <a:gd name="T1" fmla="*/ 2 h 30"/>
                  <a:gd name="T2" fmla="*/ 1 w 27"/>
                  <a:gd name="T3" fmla="*/ 9 h 30"/>
                  <a:gd name="T4" fmla="*/ 2 w 27"/>
                  <a:gd name="T5" fmla="*/ 20 h 30"/>
                  <a:gd name="T6" fmla="*/ 10 w 27"/>
                  <a:gd name="T7" fmla="*/ 28 h 30"/>
                  <a:gd name="T8" fmla="*/ 19 w 27"/>
                  <a:gd name="T9" fmla="*/ 28 h 30"/>
                  <a:gd name="T10" fmla="*/ 26 w 27"/>
                  <a:gd name="T11" fmla="*/ 21 h 30"/>
                  <a:gd name="T12" fmla="*/ 25 w 27"/>
                  <a:gd name="T13" fmla="*/ 10 h 30"/>
                  <a:gd name="T14" fmla="*/ 17 w 27"/>
                  <a:gd name="T15" fmla="*/ 2 h 30"/>
                  <a:gd name="T16" fmla="*/ 7 w 27"/>
                  <a:gd name="T17" fmla="*/ 2 h 30"/>
                  <a:gd name="T18" fmla="*/ 22 w 27"/>
                  <a:gd name="T19" fmla="*/ 20 h 30"/>
                  <a:gd name="T20" fmla="*/ 18 w 27"/>
                  <a:gd name="T21" fmla="*/ 25 h 30"/>
                  <a:gd name="T22" fmla="*/ 12 w 27"/>
                  <a:gd name="T23" fmla="*/ 25 h 30"/>
                  <a:gd name="T24" fmla="*/ 6 w 27"/>
                  <a:gd name="T25" fmla="*/ 18 h 30"/>
                  <a:gd name="T26" fmla="*/ 5 w 27"/>
                  <a:gd name="T27" fmla="*/ 10 h 30"/>
                  <a:gd name="T28" fmla="*/ 9 w 27"/>
                  <a:gd name="T29" fmla="*/ 5 h 30"/>
                  <a:gd name="T30" fmla="*/ 15 w 27"/>
                  <a:gd name="T31" fmla="*/ 5 h 30"/>
                  <a:gd name="T32" fmla="*/ 20 w 27"/>
                  <a:gd name="T33" fmla="*/ 12 h 30"/>
                  <a:gd name="T34" fmla="*/ 22 w 27"/>
                  <a:gd name="T35" fmla="*/ 2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" h="30">
                    <a:moveTo>
                      <a:pt x="7" y="2"/>
                    </a:moveTo>
                    <a:cubicBezTo>
                      <a:pt x="4" y="3"/>
                      <a:pt x="2" y="6"/>
                      <a:pt x="1" y="9"/>
                    </a:cubicBezTo>
                    <a:cubicBezTo>
                      <a:pt x="0" y="13"/>
                      <a:pt x="0" y="16"/>
                      <a:pt x="2" y="20"/>
                    </a:cubicBezTo>
                    <a:cubicBezTo>
                      <a:pt x="4" y="24"/>
                      <a:pt x="6" y="27"/>
                      <a:pt x="10" y="28"/>
                    </a:cubicBezTo>
                    <a:cubicBezTo>
                      <a:pt x="13" y="30"/>
                      <a:pt x="16" y="30"/>
                      <a:pt x="19" y="28"/>
                    </a:cubicBezTo>
                    <a:cubicBezTo>
                      <a:pt x="23" y="27"/>
                      <a:pt x="25" y="24"/>
                      <a:pt x="26" y="21"/>
                    </a:cubicBezTo>
                    <a:cubicBezTo>
                      <a:pt x="27" y="17"/>
                      <a:pt x="27" y="13"/>
                      <a:pt x="25" y="10"/>
                    </a:cubicBezTo>
                    <a:cubicBezTo>
                      <a:pt x="23" y="6"/>
                      <a:pt x="20" y="3"/>
                      <a:pt x="17" y="2"/>
                    </a:cubicBezTo>
                    <a:cubicBezTo>
                      <a:pt x="14" y="0"/>
                      <a:pt x="11" y="0"/>
                      <a:pt x="7" y="2"/>
                    </a:cubicBezTo>
                    <a:close/>
                    <a:moveTo>
                      <a:pt x="22" y="20"/>
                    </a:moveTo>
                    <a:cubicBezTo>
                      <a:pt x="22" y="22"/>
                      <a:pt x="20" y="24"/>
                      <a:pt x="18" y="25"/>
                    </a:cubicBezTo>
                    <a:cubicBezTo>
                      <a:pt x="16" y="26"/>
                      <a:pt x="14" y="26"/>
                      <a:pt x="12" y="25"/>
                    </a:cubicBezTo>
                    <a:cubicBezTo>
                      <a:pt x="10" y="24"/>
                      <a:pt x="8" y="22"/>
                      <a:pt x="6" y="18"/>
                    </a:cubicBezTo>
                    <a:cubicBezTo>
                      <a:pt x="5" y="15"/>
                      <a:pt x="4" y="12"/>
                      <a:pt x="5" y="10"/>
                    </a:cubicBezTo>
                    <a:cubicBezTo>
                      <a:pt x="5" y="7"/>
                      <a:pt x="7" y="6"/>
                      <a:pt x="9" y="5"/>
                    </a:cubicBezTo>
                    <a:cubicBezTo>
                      <a:pt x="10" y="4"/>
                      <a:pt x="12" y="4"/>
                      <a:pt x="15" y="5"/>
                    </a:cubicBezTo>
                    <a:cubicBezTo>
                      <a:pt x="17" y="6"/>
                      <a:pt x="19" y="8"/>
                      <a:pt x="20" y="12"/>
                    </a:cubicBezTo>
                    <a:cubicBezTo>
                      <a:pt x="22" y="15"/>
                      <a:pt x="23" y="18"/>
                      <a:pt x="22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51" name="Freeform 243"/>
              <p:cNvSpPr/>
              <p:nvPr/>
            </p:nvSpPr>
            <p:spPr bwMode="auto">
              <a:xfrm>
                <a:off x="2252663" y="719138"/>
                <a:ext cx="120650" cy="120650"/>
              </a:xfrm>
              <a:custGeom>
                <a:avLst/>
                <a:gdLst>
                  <a:gd name="T0" fmla="*/ 21 w 32"/>
                  <a:gd name="T1" fmla="*/ 2 h 32"/>
                  <a:gd name="T2" fmla="*/ 16 w 32"/>
                  <a:gd name="T3" fmla="*/ 0 h 32"/>
                  <a:gd name="T4" fmla="*/ 11 w 32"/>
                  <a:gd name="T5" fmla="*/ 1 h 32"/>
                  <a:gd name="T6" fmla="*/ 5 w 32"/>
                  <a:gd name="T7" fmla="*/ 10 h 32"/>
                  <a:gd name="T8" fmla="*/ 3 w 32"/>
                  <a:gd name="T9" fmla="*/ 5 h 32"/>
                  <a:gd name="T10" fmla="*/ 0 w 32"/>
                  <a:gd name="T11" fmla="*/ 7 h 32"/>
                  <a:gd name="T12" fmla="*/ 12 w 32"/>
                  <a:gd name="T13" fmla="*/ 32 h 32"/>
                  <a:gd name="T14" fmla="*/ 16 w 32"/>
                  <a:gd name="T15" fmla="*/ 30 h 32"/>
                  <a:gd name="T16" fmla="*/ 9 w 32"/>
                  <a:gd name="T17" fmla="*/ 17 h 32"/>
                  <a:gd name="T18" fmla="*/ 8 w 32"/>
                  <a:gd name="T19" fmla="*/ 9 h 32"/>
                  <a:gd name="T20" fmla="*/ 12 w 32"/>
                  <a:gd name="T21" fmla="*/ 5 h 32"/>
                  <a:gd name="T22" fmla="*/ 16 w 32"/>
                  <a:gd name="T23" fmla="*/ 4 h 32"/>
                  <a:gd name="T24" fmla="*/ 20 w 32"/>
                  <a:gd name="T25" fmla="*/ 8 h 32"/>
                  <a:gd name="T26" fmla="*/ 28 w 32"/>
                  <a:gd name="T27" fmla="*/ 25 h 32"/>
                  <a:gd name="T28" fmla="*/ 32 w 32"/>
                  <a:gd name="T29" fmla="*/ 23 h 32"/>
                  <a:gd name="T30" fmla="*/ 25 w 32"/>
                  <a:gd name="T31" fmla="*/ 8 h 32"/>
                  <a:gd name="T32" fmla="*/ 21 w 32"/>
                  <a:gd name="T33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2" h="32">
                    <a:moveTo>
                      <a:pt x="21" y="2"/>
                    </a:moveTo>
                    <a:cubicBezTo>
                      <a:pt x="20" y="1"/>
                      <a:pt x="18" y="0"/>
                      <a:pt x="16" y="0"/>
                    </a:cubicBezTo>
                    <a:cubicBezTo>
                      <a:pt x="15" y="0"/>
                      <a:pt x="13" y="0"/>
                      <a:pt x="11" y="1"/>
                    </a:cubicBezTo>
                    <a:cubicBezTo>
                      <a:pt x="8" y="2"/>
                      <a:pt x="6" y="6"/>
                      <a:pt x="5" y="10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8" y="14"/>
                      <a:pt x="7" y="12"/>
                      <a:pt x="8" y="9"/>
                    </a:cubicBezTo>
                    <a:cubicBezTo>
                      <a:pt x="9" y="7"/>
                      <a:pt x="10" y="6"/>
                      <a:pt x="12" y="5"/>
                    </a:cubicBezTo>
                    <a:cubicBezTo>
                      <a:pt x="13" y="4"/>
                      <a:pt x="15" y="4"/>
                      <a:pt x="16" y="4"/>
                    </a:cubicBezTo>
                    <a:cubicBezTo>
                      <a:pt x="18" y="5"/>
                      <a:pt x="19" y="6"/>
                      <a:pt x="20" y="8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32" y="23"/>
                      <a:pt x="32" y="23"/>
                      <a:pt x="32" y="23"/>
                    </a:cubicBezTo>
                    <a:cubicBezTo>
                      <a:pt x="25" y="8"/>
                      <a:pt x="25" y="8"/>
                      <a:pt x="25" y="8"/>
                    </a:cubicBezTo>
                    <a:cubicBezTo>
                      <a:pt x="23" y="5"/>
                      <a:pt x="22" y="3"/>
                      <a:pt x="2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52" name="Freeform 244"/>
              <p:cNvSpPr>
                <a:spLocks noEditPoints="1"/>
              </p:cNvSpPr>
              <p:nvPr/>
            </p:nvSpPr>
            <p:spPr bwMode="auto">
              <a:xfrm>
                <a:off x="2016125" y="1023938"/>
                <a:ext cx="233363" cy="233363"/>
              </a:xfrm>
              <a:custGeom>
                <a:avLst/>
                <a:gdLst>
                  <a:gd name="T0" fmla="*/ 61 w 62"/>
                  <a:gd name="T1" fmla="*/ 11 h 62"/>
                  <a:gd name="T2" fmla="*/ 61 w 62"/>
                  <a:gd name="T3" fmla="*/ 8 h 62"/>
                  <a:gd name="T4" fmla="*/ 62 w 62"/>
                  <a:gd name="T5" fmla="*/ 3 h 62"/>
                  <a:gd name="T6" fmla="*/ 59 w 62"/>
                  <a:gd name="T7" fmla="*/ 0 h 62"/>
                  <a:gd name="T8" fmla="*/ 44 w 62"/>
                  <a:gd name="T9" fmla="*/ 6 h 62"/>
                  <a:gd name="T10" fmla="*/ 31 w 62"/>
                  <a:gd name="T11" fmla="*/ 1 h 62"/>
                  <a:gd name="T12" fmla="*/ 18 w 62"/>
                  <a:gd name="T13" fmla="*/ 6 h 62"/>
                  <a:gd name="T14" fmla="*/ 3 w 62"/>
                  <a:gd name="T15" fmla="*/ 0 h 62"/>
                  <a:gd name="T16" fmla="*/ 0 w 62"/>
                  <a:gd name="T17" fmla="*/ 3 h 62"/>
                  <a:gd name="T18" fmla="*/ 0 w 62"/>
                  <a:gd name="T19" fmla="*/ 7 h 62"/>
                  <a:gd name="T20" fmla="*/ 1 w 62"/>
                  <a:gd name="T21" fmla="*/ 11 h 62"/>
                  <a:gd name="T22" fmla="*/ 1 w 62"/>
                  <a:gd name="T23" fmla="*/ 14 h 62"/>
                  <a:gd name="T24" fmla="*/ 2 w 62"/>
                  <a:gd name="T25" fmla="*/ 17 h 62"/>
                  <a:gd name="T26" fmla="*/ 3 w 62"/>
                  <a:gd name="T27" fmla="*/ 20 h 62"/>
                  <a:gd name="T28" fmla="*/ 3 w 62"/>
                  <a:gd name="T29" fmla="*/ 22 h 62"/>
                  <a:gd name="T30" fmla="*/ 11 w 62"/>
                  <a:gd name="T31" fmla="*/ 45 h 62"/>
                  <a:gd name="T32" fmla="*/ 51 w 62"/>
                  <a:gd name="T33" fmla="*/ 45 h 62"/>
                  <a:gd name="T34" fmla="*/ 60 w 62"/>
                  <a:gd name="T35" fmla="*/ 18 h 62"/>
                  <a:gd name="T36" fmla="*/ 42 w 62"/>
                  <a:gd name="T37" fmla="*/ 56 h 62"/>
                  <a:gd name="T38" fmla="*/ 41 w 62"/>
                  <a:gd name="T39" fmla="*/ 57 h 62"/>
                  <a:gd name="T40" fmla="*/ 41 w 62"/>
                  <a:gd name="T41" fmla="*/ 57 h 62"/>
                  <a:gd name="T42" fmla="*/ 40 w 62"/>
                  <a:gd name="T43" fmla="*/ 58 h 62"/>
                  <a:gd name="T44" fmla="*/ 40 w 62"/>
                  <a:gd name="T45" fmla="*/ 58 h 62"/>
                  <a:gd name="T46" fmla="*/ 22 w 62"/>
                  <a:gd name="T47" fmla="*/ 58 h 62"/>
                  <a:gd name="T48" fmla="*/ 22 w 62"/>
                  <a:gd name="T49" fmla="*/ 58 h 62"/>
                  <a:gd name="T50" fmla="*/ 21 w 62"/>
                  <a:gd name="T51" fmla="*/ 57 h 62"/>
                  <a:gd name="T52" fmla="*/ 21 w 62"/>
                  <a:gd name="T53" fmla="*/ 57 h 62"/>
                  <a:gd name="T54" fmla="*/ 20 w 62"/>
                  <a:gd name="T55" fmla="*/ 56 h 62"/>
                  <a:gd name="T56" fmla="*/ 5 w 62"/>
                  <a:gd name="T57" fmla="*/ 23 h 62"/>
                  <a:gd name="T58" fmla="*/ 4 w 62"/>
                  <a:gd name="T59" fmla="*/ 20 h 62"/>
                  <a:gd name="T60" fmla="*/ 4 w 62"/>
                  <a:gd name="T61" fmla="*/ 18 h 62"/>
                  <a:gd name="T62" fmla="*/ 3 w 62"/>
                  <a:gd name="T63" fmla="*/ 12 h 62"/>
                  <a:gd name="T64" fmla="*/ 2 w 62"/>
                  <a:gd name="T65" fmla="*/ 9 h 62"/>
                  <a:gd name="T66" fmla="*/ 2 w 62"/>
                  <a:gd name="T67" fmla="*/ 7 h 62"/>
                  <a:gd name="T68" fmla="*/ 1 w 62"/>
                  <a:gd name="T69" fmla="*/ 3 h 62"/>
                  <a:gd name="T70" fmla="*/ 2 w 62"/>
                  <a:gd name="T71" fmla="*/ 2 h 62"/>
                  <a:gd name="T72" fmla="*/ 4 w 62"/>
                  <a:gd name="T73" fmla="*/ 2 h 62"/>
                  <a:gd name="T74" fmla="*/ 7 w 62"/>
                  <a:gd name="T75" fmla="*/ 4 h 62"/>
                  <a:gd name="T76" fmla="*/ 7 w 62"/>
                  <a:gd name="T77" fmla="*/ 4 h 62"/>
                  <a:gd name="T78" fmla="*/ 28 w 62"/>
                  <a:gd name="T79" fmla="*/ 4 h 62"/>
                  <a:gd name="T80" fmla="*/ 31 w 62"/>
                  <a:gd name="T81" fmla="*/ 3 h 62"/>
                  <a:gd name="T82" fmla="*/ 31 w 62"/>
                  <a:gd name="T83" fmla="*/ 3 h 62"/>
                  <a:gd name="T84" fmla="*/ 32 w 62"/>
                  <a:gd name="T85" fmla="*/ 3 h 62"/>
                  <a:gd name="T86" fmla="*/ 32 w 62"/>
                  <a:gd name="T87" fmla="*/ 3 h 62"/>
                  <a:gd name="T88" fmla="*/ 44 w 62"/>
                  <a:gd name="T89" fmla="*/ 7 h 62"/>
                  <a:gd name="T90" fmla="*/ 55 w 62"/>
                  <a:gd name="T91" fmla="*/ 4 h 62"/>
                  <a:gd name="T92" fmla="*/ 58 w 62"/>
                  <a:gd name="T93" fmla="*/ 2 h 62"/>
                  <a:gd name="T94" fmla="*/ 59 w 62"/>
                  <a:gd name="T95" fmla="*/ 2 h 62"/>
                  <a:gd name="T96" fmla="*/ 60 w 62"/>
                  <a:gd name="T97" fmla="*/ 2 h 62"/>
                  <a:gd name="T98" fmla="*/ 60 w 62"/>
                  <a:gd name="T99" fmla="*/ 2 h 62"/>
                  <a:gd name="T100" fmla="*/ 60 w 62"/>
                  <a:gd name="T101" fmla="*/ 2 h 62"/>
                  <a:gd name="T102" fmla="*/ 60 w 62"/>
                  <a:gd name="T103" fmla="*/ 3 h 62"/>
                  <a:gd name="T104" fmla="*/ 60 w 62"/>
                  <a:gd name="T105" fmla="*/ 6 h 62"/>
                  <a:gd name="T106" fmla="*/ 59 w 62"/>
                  <a:gd name="T107" fmla="*/ 10 h 62"/>
                  <a:gd name="T108" fmla="*/ 59 w 62"/>
                  <a:gd name="T109" fmla="*/ 14 h 62"/>
                  <a:gd name="T110" fmla="*/ 58 w 62"/>
                  <a:gd name="T111" fmla="*/ 17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62" h="62">
                    <a:moveTo>
                      <a:pt x="60" y="14"/>
                    </a:moveTo>
                    <a:cubicBezTo>
                      <a:pt x="61" y="13"/>
                      <a:pt x="61" y="12"/>
                      <a:pt x="61" y="11"/>
                    </a:cubicBezTo>
                    <a:cubicBezTo>
                      <a:pt x="61" y="10"/>
                      <a:pt x="61" y="10"/>
                      <a:pt x="61" y="10"/>
                    </a:cubicBezTo>
                    <a:cubicBezTo>
                      <a:pt x="61" y="9"/>
                      <a:pt x="61" y="9"/>
                      <a:pt x="61" y="8"/>
                    </a:cubicBezTo>
                    <a:cubicBezTo>
                      <a:pt x="62" y="7"/>
                      <a:pt x="62" y="7"/>
                      <a:pt x="62" y="7"/>
                    </a:cubicBezTo>
                    <a:cubicBezTo>
                      <a:pt x="62" y="6"/>
                      <a:pt x="62" y="4"/>
                      <a:pt x="62" y="3"/>
                    </a:cubicBezTo>
                    <a:cubicBezTo>
                      <a:pt x="62" y="2"/>
                      <a:pt x="61" y="1"/>
                      <a:pt x="60" y="1"/>
                    </a:cubicBezTo>
                    <a:cubicBezTo>
                      <a:pt x="60" y="0"/>
                      <a:pt x="59" y="0"/>
                      <a:pt x="59" y="0"/>
                    </a:cubicBezTo>
                    <a:cubicBezTo>
                      <a:pt x="58" y="0"/>
                      <a:pt x="57" y="1"/>
                      <a:pt x="57" y="1"/>
                    </a:cubicBezTo>
                    <a:cubicBezTo>
                      <a:pt x="53" y="4"/>
                      <a:pt x="49" y="6"/>
                      <a:pt x="44" y="6"/>
                    </a:cubicBezTo>
                    <a:cubicBezTo>
                      <a:pt x="40" y="6"/>
                      <a:pt x="36" y="4"/>
                      <a:pt x="33" y="2"/>
                    </a:cubicBezTo>
                    <a:cubicBezTo>
                      <a:pt x="32" y="2"/>
                      <a:pt x="32" y="1"/>
                      <a:pt x="31" y="1"/>
                    </a:cubicBezTo>
                    <a:cubicBezTo>
                      <a:pt x="30" y="1"/>
                      <a:pt x="29" y="2"/>
                      <a:pt x="29" y="2"/>
                    </a:cubicBezTo>
                    <a:cubicBezTo>
                      <a:pt x="26" y="4"/>
                      <a:pt x="22" y="6"/>
                      <a:pt x="18" y="6"/>
                    </a:cubicBezTo>
                    <a:cubicBezTo>
                      <a:pt x="13" y="6"/>
                      <a:pt x="9" y="4"/>
                      <a:pt x="5" y="1"/>
                    </a:cubicBezTo>
                    <a:cubicBezTo>
                      <a:pt x="5" y="1"/>
                      <a:pt x="4" y="0"/>
                      <a:pt x="3" y="0"/>
                    </a:cubicBezTo>
                    <a:cubicBezTo>
                      <a:pt x="3" y="0"/>
                      <a:pt x="2" y="0"/>
                      <a:pt x="2" y="1"/>
                    </a:cubicBezTo>
                    <a:cubicBezTo>
                      <a:pt x="1" y="1"/>
                      <a:pt x="0" y="2"/>
                      <a:pt x="0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" y="8"/>
                      <a:pt x="1" y="9"/>
                      <a:pt x="1" y="9"/>
                    </a:cubicBezTo>
                    <a:cubicBezTo>
                      <a:pt x="1" y="10"/>
                      <a:pt x="1" y="10"/>
                      <a:pt x="1" y="11"/>
                    </a:cubicBezTo>
                    <a:cubicBezTo>
                      <a:pt x="1" y="11"/>
                      <a:pt x="1" y="12"/>
                      <a:pt x="1" y="12"/>
                    </a:cubicBezTo>
                    <a:cubicBezTo>
                      <a:pt x="1" y="13"/>
                      <a:pt x="1" y="13"/>
                      <a:pt x="1" y="14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2" y="15"/>
                      <a:pt x="2" y="16"/>
                      <a:pt x="2" y="17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2" y="18"/>
                      <a:pt x="2" y="19"/>
                      <a:pt x="3" y="20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1"/>
                      <a:pt x="3" y="22"/>
                      <a:pt x="3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5" y="31"/>
                      <a:pt x="8" y="39"/>
                      <a:pt x="11" y="45"/>
                    </a:cubicBezTo>
                    <a:cubicBezTo>
                      <a:pt x="18" y="59"/>
                      <a:pt x="26" y="62"/>
                      <a:pt x="31" y="62"/>
                    </a:cubicBezTo>
                    <a:cubicBezTo>
                      <a:pt x="36" y="62"/>
                      <a:pt x="44" y="59"/>
                      <a:pt x="51" y="45"/>
                    </a:cubicBezTo>
                    <a:cubicBezTo>
                      <a:pt x="55" y="37"/>
                      <a:pt x="58" y="28"/>
                      <a:pt x="60" y="18"/>
                    </a:cubicBezTo>
                    <a:cubicBezTo>
                      <a:pt x="60" y="18"/>
                      <a:pt x="60" y="18"/>
                      <a:pt x="60" y="18"/>
                    </a:cubicBezTo>
                    <a:cubicBezTo>
                      <a:pt x="60" y="16"/>
                      <a:pt x="60" y="15"/>
                      <a:pt x="60" y="14"/>
                    </a:cubicBezTo>
                    <a:close/>
                    <a:moveTo>
                      <a:pt x="42" y="56"/>
                    </a:moveTo>
                    <a:cubicBezTo>
                      <a:pt x="42" y="56"/>
                      <a:pt x="42" y="56"/>
                      <a:pt x="42" y="56"/>
                    </a:cubicBezTo>
                    <a:cubicBezTo>
                      <a:pt x="41" y="57"/>
                      <a:pt x="41" y="57"/>
                      <a:pt x="41" y="57"/>
                    </a:cubicBezTo>
                    <a:cubicBezTo>
                      <a:pt x="41" y="57"/>
                      <a:pt x="41" y="57"/>
                      <a:pt x="41" y="57"/>
                    </a:cubicBezTo>
                    <a:cubicBezTo>
                      <a:pt x="41" y="57"/>
                      <a:pt x="41" y="57"/>
                      <a:pt x="41" y="57"/>
                    </a:cubicBezTo>
                    <a:cubicBezTo>
                      <a:pt x="40" y="57"/>
                      <a:pt x="40" y="57"/>
                      <a:pt x="40" y="57"/>
                    </a:cubicBezTo>
                    <a:cubicBezTo>
                      <a:pt x="40" y="58"/>
                      <a:pt x="40" y="58"/>
                      <a:pt x="40" y="58"/>
                    </a:cubicBezTo>
                    <a:cubicBezTo>
                      <a:pt x="40" y="58"/>
                      <a:pt x="40" y="58"/>
                      <a:pt x="40" y="58"/>
                    </a:cubicBezTo>
                    <a:cubicBezTo>
                      <a:pt x="40" y="58"/>
                      <a:pt x="40" y="58"/>
                      <a:pt x="40" y="58"/>
                    </a:cubicBezTo>
                    <a:cubicBezTo>
                      <a:pt x="37" y="60"/>
                      <a:pt x="34" y="61"/>
                      <a:pt x="31" y="61"/>
                    </a:cubicBezTo>
                    <a:cubicBezTo>
                      <a:pt x="28" y="61"/>
                      <a:pt x="25" y="60"/>
                      <a:pt x="22" y="58"/>
                    </a:cubicBezTo>
                    <a:cubicBezTo>
                      <a:pt x="22" y="58"/>
                      <a:pt x="22" y="58"/>
                      <a:pt x="22" y="58"/>
                    </a:cubicBezTo>
                    <a:cubicBezTo>
                      <a:pt x="22" y="58"/>
                      <a:pt x="22" y="58"/>
                      <a:pt x="22" y="58"/>
                    </a:cubicBezTo>
                    <a:cubicBezTo>
                      <a:pt x="22" y="57"/>
                      <a:pt x="22" y="57"/>
                      <a:pt x="22" y="57"/>
                    </a:cubicBezTo>
                    <a:cubicBezTo>
                      <a:pt x="21" y="57"/>
                      <a:pt x="21" y="57"/>
                      <a:pt x="21" y="57"/>
                    </a:cubicBezTo>
                    <a:cubicBezTo>
                      <a:pt x="21" y="57"/>
                      <a:pt x="21" y="57"/>
                      <a:pt x="21" y="57"/>
                    </a:cubicBezTo>
                    <a:cubicBezTo>
                      <a:pt x="21" y="57"/>
                      <a:pt x="21" y="57"/>
                      <a:pt x="21" y="57"/>
                    </a:cubicBezTo>
                    <a:cubicBezTo>
                      <a:pt x="20" y="56"/>
                      <a:pt x="20" y="56"/>
                      <a:pt x="20" y="56"/>
                    </a:cubicBezTo>
                    <a:cubicBezTo>
                      <a:pt x="20" y="56"/>
                      <a:pt x="20" y="56"/>
                      <a:pt x="20" y="56"/>
                    </a:cubicBezTo>
                    <a:cubicBezTo>
                      <a:pt x="14" y="50"/>
                      <a:pt x="9" y="40"/>
                      <a:pt x="5" y="25"/>
                    </a:cubicBezTo>
                    <a:cubicBezTo>
                      <a:pt x="5" y="24"/>
                      <a:pt x="5" y="23"/>
                      <a:pt x="5" y="23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5" y="22"/>
                      <a:pt x="4" y="21"/>
                      <a:pt x="4" y="20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4" y="19"/>
                      <a:pt x="4" y="18"/>
                      <a:pt x="4" y="18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3" y="15"/>
                      <a:pt x="3" y="14"/>
                      <a:pt x="3" y="12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3" y="11"/>
                      <a:pt x="2" y="10"/>
                      <a:pt x="2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8"/>
                      <a:pt x="2" y="7"/>
                      <a:pt x="2" y="7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5"/>
                      <a:pt x="2" y="4"/>
                      <a:pt x="1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5" y="3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10" y="6"/>
                      <a:pt x="14" y="7"/>
                      <a:pt x="18" y="7"/>
                    </a:cubicBezTo>
                    <a:cubicBezTo>
                      <a:pt x="21" y="7"/>
                      <a:pt x="25" y="6"/>
                      <a:pt x="28" y="4"/>
                    </a:cubicBezTo>
                    <a:cubicBezTo>
                      <a:pt x="29" y="4"/>
                      <a:pt x="29" y="4"/>
                      <a:pt x="30" y="3"/>
                    </a:cubicBezTo>
                    <a:cubicBezTo>
                      <a:pt x="30" y="3"/>
                      <a:pt x="31" y="3"/>
                      <a:pt x="31" y="3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35" y="6"/>
                      <a:pt x="40" y="7"/>
                      <a:pt x="44" y="7"/>
                    </a:cubicBezTo>
                    <a:cubicBezTo>
                      <a:pt x="48" y="7"/>
                      <a:pt x="52" y="6"/>
                      <a:pt x="55" y="4"/>
                    </a:cubicBezTo>
                    <a:cubicBezTo>
                      <a:pt x="55" y="4"/>
                      <a:pt x="55" y="4"/>
                      <a:pt x="55" y="4"/>
                    </a:cubicBezTo>
                    <a:cubicBezTo>
                      <a:pt x="55" y="4"/>
                      <a:pt x="55" y="4"/>
                      <a:pt x="55" y="4"/>
                    </a:cubicBezTo>
                    <a:cubicBezTo>
                      <a:pt x="56" y="4"/>
                      <a:pt x="57" y="3"/>
                      <a:pt x="58" y="2"/>
                    </a:cubicBezTo>
                    <a:cubicBezTo>
                      <a:pt x="58" y="2"/>
                      <a:pt x="58" y="2"/>
                      <a:pt x="58" y="2"/>
                    </a:cubicBezTo>
                    <a:cubicBezTo>
                      <a:pt x="58" y="2"/>
                      <a:pt x="58" y="2"/>
                      <a:pt x="59" y="2"/>
                    </a:cubicBezTo>
                    <a:cubicBezTo>
                      <a:pt x="59" y="2"/>
                      <a:pt x="59" y="2"/>
                      <a:pt x="59" y="2"/>
                    </a:cubicBezTo>
                    <a:cubicBezTo>
                      <a:pt x="60" y="2"/>
                      <a:pt x="60" y="2"/>
                      <a:pt x="60" y="2"/>
                    </a:cubicBezTo>
                    <a:cubicBezTo>
                      <a:pt x="60" y="2"/>
                      <a:pt x="60" y="2"/>
                      <a:pt x="60" y="2"/>
                    </a:cubicBezTo>
                    <a:cubicBezTo>
                      <a:pt x="60" y="2"/>
                      <a:pt x="60" y="2"/>
                      <a:pt x="60" y="2"/>
                    </a:cubicBezTo>
                    <a:cubicBezTo>
                      <a:pt x="60" y="2"/>
                      <a:pt x="60" y="2"/>
                      <a:pt x="60" y="2"/>
                    </a:cubicBezTo>
                    <a:cubicBezTo>
                      <a:pt x="60" y="2"/>
                      <a:pt x="60" y="2"/>
                      <a:pt x="60" y="2"/>
                    </a:cubicBezTo>
                    <a:cubicBezTo>
                      <a:pt x="60" y="2"/>
                      <a:pt x="60" y="2"/>
                      <a:pt x="60" y="2"/>
                    </a:cubicBezTo>
                    <a:cubicBezTo>
                      <a:pt x="60" y="3"/>
                      <a:pt x="60" y="3"/>
                      <a:pt x="60" y="3"/>
                    </a:cubicBezTo>
                    <a:cubicBezTo>
                      <a:pt x="60" y="3"/>
                      <a:pt x="60" y="3"/>
                      <a:pt x="60" y="3"/>
                    </a:cubicBezTo>
                    <a:cubicBezTo>
                      <a:pt x="60" y="4"/>
                      <a:pt x="60" y="5"/>
                      <a:pt x="60" y="6"/>
                    </a:cubicBezTo>
                    <a:cubicBezTo>
                      <a:pt x="60" y="7"/>
                      <a:pt x="60" y="7"/>
                      <a:pt x="60" y="7"/>
                    </a:cubicBezTo>
                    <a:cubicBezTo>
                      <a:pt x="60" y="8"/>
                      <a:pt x="60" y="9"/>
                      <a:pt x="59" y="10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59" y="12"/>
                      <a:pt x="59" y="13"/>
                      <a:pt x="59" y="14"/>
                    </a:cubicBezTo>
                    <a:cubicBezTo>
                      <a:pt x="59" y="14"/>
                      <a:pt x="59" y="14"/>
                      <a:pt x="59" y="14"/>
                    </a:cubicBezTo>
                    <a:cubicBezTo>
                      <a:pt x="59" y="15"/>
                      <a:pt x="58" y="16"/>
                      <a:pt x="58" y="17"/>
                    </a:cubicBezTo>
                    <a:cubicBezTo>
                      <a:pt x="55" y="36"/>
                      <a:pt x="49" y="49"/>
                      <a:pt x="42" y="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53" name="Freeform 245"/>
              <p:cNvSpPr/>
              <p:nvPr/>
            </p:nvSpPr>
            <p:spPr bwMode="auto">
              <a:xfrm>
                <a:off x="2027238" y="1035051"/>
                <a:ext cx="211138" cy="214313"/>
              </a:xfrm>
              <a:custGeom>
                <a:avLst/>
                <a:gdLst>
                  <a:gd name="T0" fmla="*/ 56 w 56"/>
                  <a:gd name="T1" fmla="*/ 0 h 57"/>
                  <a:gd name="T2" fmla="*/ 41 w 56"/>
                  <a:gd name="T3" fmla="*/ 6 h 57"/>
                  <a:gd name="T4" fmla="*/ 28 w 56"/>
                  <a:gd name="T5" fmla="*/ 1 h 57"/>
                  <a:gd name="T6" fmla="*/ 15 w 56"/>
                  <a:gd name="T7" fmla="*/ 6 h 57"/>
                  <a:gd name="T8" fmla="*/ 0 w 56"/>
                  <a:gd name="T9" fmla="*/ 0 h 57"/>
                  <a:gd name="T10" fmla="*/ 0 w 56"/>
                  <a:gd name="T11" fmla="*/ 3 h 57"/>
                  <a:gd name="T12" fmla="*/ 1 w 56"/>
                  <a:gd name="T13" fmla="*/ 4 h 57"/>
                  <a:gd name="T14" fmla="*/ 1 w 56"/>
                  <a:gd name="T15" fmla="*/ 6 h 57"/>
                  <a:gd name="T16" fmla="*/ 1 w 56"/>
                  <a:gd name="T17" fmla="*/ 8 h 57"/>
                  <a:gd name="T18" fmla="*/ 1 w 56"/>
                  <a:gd name="T19" fmla="*/ 9 h 57"/>
                  <a:gd name="T20" fmla="*/ 2 w 56"/>
                  <a:gd name="T21" fmla="*/ 11 h 57"/>
                  <a:gd name="T22" fmla="*/ 2 w 56"/>
                  <a:gd name="T23" fmla="*/ 12 h 57"/>
                  <a:gd name="T24" fmla="*/ 2 w 56"/>
                  <a:gd name="T25" fmla="*/ 14 h 57"/>
                  <a:gd name="T26" fmla="*/ 2 w 56"/>
                  <a:gd name="T27" fmla="*/ 15 h 57"/>
                  <a:gd name="T28" fmla="*/ 3 w 56"/>
                  <a:gd name="T29" fmla="*/ 16 h 57"/>
                  <a:gd name="T30" fmla="*/ 3 w 56"/>
                  <a:gd name="T31" fmla="*/ 18 h 57"/>
                  <a:gd name="T32" fmla="*/ 3 w 56"/>
                  <a:gd name="T33" fmla="*/ 19 h 57"/>
                  <a:gd name="T34" fmla="*/ 4 w 56"/>
                  <a:gd name="T35" fmla="*/ 22 h 57"/>
                  <a:gd name="T36" fmla="*/ 12 w 56"/>
                  <a:gd name="T37" fmla="*/ 43 h 57"/>
                  <a:gd name="T38" fmla="*/ 12 w 56"/>
                  <a:gd name="T39" fmla="*/ 44 h 57"/>
                  <a:gd name="T40" fmla="*/ 13 w 56"/>
                  <a:gd name="T41" fmla="*/ 46 h 57"/>
                  <a:gd name="T42" fmla="*/ 13 w 56"/>
                  <a:gd name="T43" fmla="*/ 46 h 57"/>
                  <a:gd name="T44" fmla="*/ 13 w 56"/>
                  <a:gd name="T45" fmla="*/ 46 h 57"/>
                  <a:gd name="T46" fmla="*/ 15 w 56"/>
                  <a:gd name="T47" fmla="*/ 48 h 57"/>
                  <a:gd name="T48" fmla="*/ 15 w 56"/>
                  <a:gd name="T49" fmla="*/ 48 h 57"/>
                  <a:gd name="T50" fmla="*/ 28 w 56"/>
                  <a:gd name="T51" fmla="*/ 57 h 57"/>
                  <a:gd name="T52" fmla="*/ 54 w 56"/>
                  <a:gd name="T53" fmla="*/ 14 h 57"/>
                  <a:gd name="T54" fmla="*/ 54 w 56"/>
                  <a:gd name="T55" fmla="*/ 14 h 57"/>
                  <a:gd name="T56" fmla="*/ 54 w 56"/>
                  <a:gd name="T57" fmla="*/ 11 h 57"/>
                  <a:gd name="T58" fmla="*/ 55 w 56"/>
                  <a:gd name="T59" fmla="*/ 7 h 57"/>
                  <a:gd name="T60" fmla="*/ 55 w 56"/>
                  <a:gd name="T61" fmla="*/ 7 h 57"/>
                  <a:gd name="T62" fmla="*/ 56 w 56"/>
                  <a:gd name="T63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6" h="57">
                    <a:moveTo>
                      <a:pt x="56" y="0"/>
                    </a:moveTo>
                    <a:cubicBezTo>
                      <a:pt x="52" y="3"/>
                      <a:pt x="47" y="6"/>
                      <a:pt x="41" y="6"/>
                    </a:cubicBezTo>
                    <a:cubicBezTo>
                      <a:pt x="36" y="6"/>
                      <a:pt x="31" y="4"/>
                      <a:pt x="28" y="1"/>
                    </a:cubicBezTo>
                    <a:cubicBezTo>
                      <a:pt x="24" y="4"/>
                      <a:pt x="20" y="6"/>
                      <a:pt x="15" y="6"/>
                    </a:cubicBezTo>
                    <a:cubicBezTo>
                      <a:pt x="9" y="6"/>
                      <a:pt x="4" y="3"/>
                      <a:pt x="0" y="0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5"/>
                      <a:pt x="1" y="6"/>
                      <a:pt x="1" y="6"/>
                    </a:cubicBezTo>
                    <a:cubicBezTo>
                      <a:pt x="1" y="7"/>
                      <a:pt x="1" y="7"/>
                      <a:pt x="1" y="8"/>
                    </a:cubicBezTo>
                    <a:cubicBezTo>
                      <a:pt x="1" y="8"/>
                      <a:pt x="1" y="9"/>
                      <a:pt x="1" y="9"/>
                    </a:cubicBezTo>
                    <a:cubicBezTo>
                      <a:pt x="1" y="10"/>
                      <a:pt x="2" y="10"/>
                      <a:pt x="2" y="11"/>
                    </a:cubicBezTo>
                    <a:cubicBezTo>
                      <a:pt x="2" y="11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4"/>
                    </a:cubicBezTo>
                    <a:cubicBezTo>
                      <a:pt x="2" y="14"/>
                      <a:pt x="2" y="15"/>
                      <a:pt x="2" y="15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3" y="17"/>
                      <a:pt x="3" y="18"/>
                      <a:pt x="3" y="18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4" y="20"/>
                      <a:pt x="4" y="21"/>
                      <a:pt x="4" y="22"/>
                    </a:cubicBezTo>
                    <a:cubicBezTo>
                      <a:pt x="6" y="30"/>
                      <a:pt x="9" y="37"/>
                      <a:pt x="12" y="43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44"/>
                      <a:pt x="13" y="45"/>
                      <a:pt x="13" y="46"/>
                    </a:cubicBezTo>
                    <a:cubicBezTo>
                      <a:pt x="13" y="46"/>
                      <a:pt x="13" y="46"/>
                      <a:pt x="13" y="46"/>
                    </a:cubicBezTo>
                    <a:cubicBezTo>
                      <a:pt x="13" y="46"/>
                      <a:pt x="13" y="46"/>
                      <a:pt x="13" y="46"/>
                    </a:cubicBezTo>
                    <a:cubicBezTo>
                      <a:pt x="14" y="47"/>
                      <a:pt x="14" y="47"/>
                      <a:pt x="15" y="48"/>
                    </a:cubicBezTo>
                    <a:cubicBezTo>
                      <a:pt x="15" y="48"/>
                      <a:pt x="15" y="48"/>
                      <a:pt x="15" y="48"/>
                    </a:cubicBezTo>
                    <a:cubicBezTo>
                      <a:pt x="19" y="54"/>
                      <a:pt x="23" y="57"/>
                      <a:pt x="28" y="57"/>
                    </a:cubicBezTo>
                    <a:cubicBezTo>
                      <a:pt x="39" y="57"/>
                      <a:pt x="49" y="40"/>
                      <a:pt x="54" y="14"/>
                    </a:cubicBezTo>
                    <a:cubicBezTo>
                      <a:pt x="54" y="14"/>
                      <a:pt x="54" y="14"/>
                      <a:pt x="54" y="14"/>
                    </a:cubicBezTo>
                    <a:cubicBezTo>
                      <a:pt x="54" y="13"/>
                      <a:pt x="54" y="12"/>
                      <a:pt x="54" y="11"/>
                    </a:cubicBezTo>
                    <a:cubicBezTo>
                      <a:pt x="55" y="7"/>
                      <a:pt x="55" y="7"/>
                      <a:pt x="55" y="7"/>
                    </a:cubicBezTo>
                    <a:cubicBezTo>
                      <a:pt x="55" y="7"/>
                      <a:pt x="55" y="7"/>
                      <a:pt x="55" y="7"/>
                    </a:cubicBezTo>
                    <a:cubicBezTo>
                      <a:pt x="55" y="5"/>
                      <a:pt x="56" y="2"/>
                      <a:pt x="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54" name="Freeform 246"/>
              <p:cNvSpPr>
                <a:spLocks noEditPoints="1"/>
              </p:cNvSpPr>
              <p:nvPr/>
            </p:nvSpPr>
            <p:spPr bwMode="auto">
              <a:xfrm>
                <a:off x="2147888" y="4589463"/>
                <a:ext cx="195263" cy="201613"/>
              </a:xfrm>
              <a:custGeom>
                <a:avLst/>
                <a:gdLst>
                  <a:gd name="T0" fmla="*/ 11 w 52"/>
                  <a:gd name="T1" fmla="*/ 28 h 54"/>
                  <a:gd name="T2" fmla="*/ 3 w 52"/>
                  <a:gd name="T3" fmla="*/ 23 h 54"/>
                  <a:gd name="T4" fmla="*/ 0 w 52"/>
                  <a:gd name="T5" fmla="*/ 14 h 54"/>
                  <a:gd name="T6" fmla="*/ 3 w 52"/>
                  <a:gd name="T7" fmla="*/ 4 h 54"/>
                  <a:gd name="T8" fmla="*/ 11 w 52"/>
                  <a:gd name="T9" fmla="*/ 0 h 54"/>
                  <a:gd name="T10" fmla="*/ 20 w 52"/>
                  <a:gd name="T11" fmla="*/ 4 h 54"/>
                  <a:gd name="T12" fmla="*/ 22 w 52"/>
                  <a:gd name="T13" fmla="*/ 14 h 54"/>
                  <a:gd name="T14" fmla="*/ 19 w 52"/>
                  <a:gd name="T15" fmla="*/ 23 h 54"/>
                  <a:gd name="T16" fmla="*/ 11 w 52"/>
                  <a:gd name="T17" fmla="*/ 28 h 54"/>
                  <a:gd name="T18" fmla="*/ 11 w 52"/>
                  <a:gd name="T19" fmla="*/ 24 h 54"/>
                  <a:gd name="T20" fmla="*/ 16 w 52"/>
                  <a:gd name="T21" fmla="*/ 22 h 54"/>
                  <a:gd name="T22" fmla="*/ 18 w 52"/>
                  <a:gd name="T23" fmla="*/ 14 h 54"/>
                  <a:gd name="T24" fmla="*/ 16 w 52"/>
                  <a:gd name="T25" fmla="*/ 6 h 54"/>
                  <a:gd name="T26" fmla="*/ 11 w 52"/>
                  <a:gd name="T27" fmla="*/ 3 h 54"/>
                  <a:gd name="T28" fmla="*/ 4 w 52"/>
                  <a:gd name="T29" fmla="*/ 13 h 54"/>
                  <a:gd name="T30" fmla="*/ 11 w 52"/>
                  <a:gd name="T31" fmla="*/ 24 h 54"/>
                  <a:gd name="T32" fmla="*/ 13 w 52"/>
                  <a:gd name="T33" fmla="*/ 54 h 54"/>
                  <a:gd name="T34" fmla="*/ 8 w 52"/>
                  <a:gd name="T35" fmla="*/ 54 h 54"/>
                  <a:gd name="T36" fmla="*/ 40 w 52"/>
                  <a:gd name="T37" fmla="*/ 0 h 54"/>
                  <a:gd name="T38" fmla="*/ 45 w 52"/>
                  <a:gd name="T39" fmla="*/ 0 h 54"/>
                  <a:gd name="T40" fmla="*/ 13 w 52"/>
                  <a:gd name="T41" fmla="*/ 54 h 54"/>
                  <a:gd name="T42" fmla="*/ 41 w 52"/>
                  <a:gd name="T43" fmla="*/ 54 h 54"/>
                  <a:gd name="T44" fmla="*/ 33 w 52"/>
                  <a:gd name="T45" fmla="*/ 50 h 54"/>
                  <a:gd name="T46" fmla="*/ 30 w 52"/>
                  <a:gd name="T47" fmla="*/ 40 h 54"/>
                  <a:gd name="T48" fmla="*/ 33 w 52"/>
                  <a:gd name="T49" fmla="*/ 31 h 54"/>
                  <a:gd name="T50" fmla="*/ 41 w 52"/>
                  <a:gd name="T51" fmla="*/ 26 h 54"/>
                  <a:gd name="T52" fmla="*/ 50 w 52"/>
                  <a:gd name="T53" fmla="*/ 31 h 54"/>
                  <a:gd name="T54" fmla="*/ 52 w 52"/>
                  <a:gd name="T55" fmla="*/ 41 h 54"/>
                  <a:gd name="T56" fmla="*/ 49 w 52"/>
                  <a:gd name="T57" fmla="*/ 50 h 54"/>
                  <a:gd name="T58" fmla="*/ 41 w 52"/>
                  <a:gd name="T59" fmla="*/ 54 h 54"/>
                  <a:gd name="T60" fmla="*/ 41 w 52"/>
                  <a:gd name="T61" fmla="*/ 51 h 54"/>
                  <a:gd name="T62" fmla="*/ 46 w 52"/>
                  <a:gd name="T63" fmla="*/ 48 h 54"/>
                  <a:gd name="T64" fmla="*/ 48 w 52"/>
                  <a:gd name="T65" fmla="*/ 41 h 54"/>
                  <a:gd name="T66" fmla="*/ 46 w 52"/>
                  <a:gd name="T67" fmla="*/ 33 h 54"/>
                  <a:gd name="T68" fmla="*/ 41 w 52"/>
                  <a:gd name="T69" fmla="*/ 30 h 54"/>
                  <a:gd name="T70" fmla="*/ 34 w 52"/>
                  <a:gd name="T71" fmla="*/ 40 h 54"/>
                  <a:gd name="T72" fmla="*/ 41 w 52"/>
                  <a:gd name="T73" fmla="*/ 5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2" h="54">
                    <a:moveTo>
                      <a:pt x="11" y="28"/>
                    </a:moveTo>
                    <a:cubicBezTo>
                      <a:pt x="8" y="28"/>
                      <a:pt x="5" y="26"/>
                      <a:pt x="3" y="23"/>
                    </a:cubicBezTo>
                    <a:cubicBezTo>
                      <a:pt x="1" y="21"/>
                      <a:pt x="0" y="17"/>
                      <a:pt x="0" y="14"/>
                    </a:cubicBezTo>
                    <a:cubicBezTo>
                      <a:pt x="0" y="10"/>
                      <a:pt x="1" y="6"/>
                      <a:pt x="3" y="4"/>
                    </a:cubicBezTo>
                    <a:cubicBezTo>
                      <a:pt x="5" y="1"/>
                      <a:pt x="8" y="0"/>
                      <a:pt x="11" y="0"/>
                    </a:cubicBezTo>
                    <a:cubicBezTo>
                      <a:pt x="15" y="0"/>
                      <a:pt x="18" y="1"/>
                      <a:pt x="20" y="4"/>
                    </a:cubicBezTo>
                    <a:cubicBezTo>
                      <a:pt x="21" y="7"/>
                      <a:pt x="22" y="10"/>
                      <a:pt x="22" y="14"/>
                    </a:cubicBezTo>
                    <a:cubicBezTo>
                      <a:pt x="22" y="17"/>
                      <a:pt x="21" y="21"/>
                      <a:pt x="19" y="23"/>
                    </a:cubicBezTo>
                    <a:cubicBezTo>
                      <a:pt x="18" y="26"/>
                      <a:pt x="15" y="28"/>
                      <a:pt x="11" y="28"/>
                    </a:cubicBezTo>
                    <a:close/>
                    <a:moveTo>
                      <a:pt x="11" y="24"/>
                    </a:moveTo>
                    <a:cubicBezTo>
                      <a:pt x="14" y="24"/>
                      <a:pt x="15" y="24"/>
                      <a:pt x="16" y="22"/>
                    </a:cubicBezTo>
                    <a:cubicBezTo>
                      <a:pt x="18" y="20"/>
                      <a:pt x="18" y="17"/>
                      <a:pt x="18" y="14"/>
                    </a:cubicBezTo>
                    <a:cubicBezTo>
                      <a:pt x="18" y="11"/>
                      <a:pt x="18" y="8"/>
                      <a:pt x="16" y="6"/>
                    </a:cubicBezTo>
                    <a:cubicBezTo>
                      <a:pt x="15" y="4"/>
                      <a:pt x="14" y="3"/>
                      <a:pt x="11" y="3"/>
                    </a:cubicBezTo>
                    <a:cubicBezTo>
                      <a:pt x="7" y="3"/>
                      <a:pt x="4" y="6"/>
                      <a:pt x="4" y="13"/>
                    </a:cubicBezTo>
                    <a:cubicBezTo>
                      <a:pt x="4" y="21"/>
                      <a:pt x="7" y="24"/>
                      <a:pt x="11" y="24"/>
                    </a:cubicBezTo>
                    <a:close/>
                    <a:moveTo>
                      <a:pt x="13" y="54"/>
                    </a:moveTo>
                    <a:cubicBezTo>
                      <a:pt x="8" y="54"/>
                      <a:pt x="8" y="54"/>
                      <a:pt x="8" y="54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5" y="0"/>
                      <a:pt x="45" y="0"/>
                      <a:pt x="45" y="0"/>
                    </a:cubicBezTo>
                    <a:lnTo>
                      <a:pt x="13" y="54"/>
                    </a:lnTo>
                    <a:close/>
                    <a:moveTo>
                      <a:pt x="41" y="54"/>
                    </a:moveTo>
                    <a:cubicBezTo>
                      <a:pt x="38" y="54"/>
                      <a:pt x="35" y="53"/>
                      <a:pt x="33" y="50"/>
                    </a:cubicBezTo>
                    <a:cubicBezTo>
                      <a:pt x="31" y="48"/>
                      <a:pt x="30" y="44"/>
                      <a:pt x="30" y="40"/>
                    </a:cubicBezTo>
                    <a:cubicBezTo>
                      <a:pt x="30" y="36"/>
                      <a:pt x="31" y="33"/>
                      <a:pt x="33" y="31"/>
                    </a:cubicBezTo>
                    <a:cubicBezTo>
                      <a:pt x="35" y="28"/>
                      <a:pt x="38" y="26"/>
                      <a:pt x="41" y="26"/>
                    </a:cubicBezTo>
                    <a:cubicBezTo>
                      <a:pt x="45" y="26"/>
                      <a:pt x="48" y="28"/>
                      <a:pt x="50" y="31"/>
                    </a:cubicBezTo>
                    <a:cubicBezTo>
                      <a:pt x="51" y="34"/>
                      <a:pt x="52" y="37"/>
                      <a:pt x="52" y="41"/>
                    </a:cubicBezTo>
                    <a:cubicBezTo>
                      <a:pt x="52" y="44"/>
                      <a:pt x="51" y="47"/>
                      <a:pt x="49" y="50"/>
                    </a:cubicBezTo>
                    <a:cubicBezTo>
                      <a:pt x="48" y="53"/>
                      <a:pt x="45" y="54"/>
                      <a:pt x="41" y="54"/>
                    </a:cubicBezTo>
                    <a:close/>
                    <a:moveTo>
                      <a:pt x="41" y="51"/>
                    </a:moveTo>
                    <a:cubicBezTo>
                      <a:pt x="44" y="51"/>
                      <a:pt x="45" y="50"/>
                      <a:pt x="46" y="48"/>
                    </a:cubicBezTo>
                    <a:cubicBezTo>
                      <a:pt x="48" y="46"/>
                      <a:pt x="48" y="44"/>
                      <a:pt x="48" y="41"/>
                    </a:cubicBezTo>
                    <a:cubicBezTo>
                      <a:pt x="48" y="38"/>
                      <a:pt x="48" y="35"/>
                      <a:pt x="46" y="33"/>
                    </a:cubicBezTo>
                    <a:cubicBezTo>
                      <a:pt x="45" y="31"/>
                      <a:pt x="44" y="30"/>
                      <a:pt x="41" y="30"/>
                    </a:cubicBezTo>
                    <a:cubicBezTo>
                      <a:pt x="37" y="30"/>
                      <a:pt x="34" y="33"/>
                      <a:pt x="34" y="40"/>
                    </a:cubicBezTo>
                    <a:cubicBezTo>
                      <a:pt x="34" y="48"/>
                      <a:pt x="37" y="51"/>
                      <a:pt x="41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55" name="Freeform 247"/>
              <p:cNvSpPr>
                <a:spLocks noEditPoints="1"/>
              </p:cNvSpPr>
              <p:nvPr/>
            </p:nvSpPr>
            <p:spPr bwMode="auto">
              <a:xfrm>
                <a:off x="3963988" y="1219201"/>
                <a:ext cx="100013" cy="115888"/>
              </a:xfrm>
              <a:custGeom>
                <a:avLst/>
                <a:gdLst>
                  <a:gd name="T0" fmla="*/ 25 w 27"/>
                  <a:gd name="T1" fmla="*/ 13 h 31"/>
                  <a:gd name="T2" fmla="*/ 18 w 27"/>
                  <a:gd name="T3" fmla="*/ 10 h 31"/>
                  <a:gd name="T4" fmla="*/ 27 w 27"/>
                  <a:gd name="T5" fmla="*/ 3 h 31"/>
                  <a:gd name="T6" fmla="*/ 25 w 27"/>
                  <a:gd name="T7" fmla="*/ 0 h 31"/>
                  <a:gd name="T8" fmla="*/ 0 w 27"/>
                  <a:gd name="T9" fmla="*/ 19 h 31"/>
                  <a:gd name="T10" fmla="*/ 1 w 27"/>
                  <a:gd name="T11" fmla="*/ 20 h 31"/>
                  <a:gd name="T12" fmla="*/ 5 w 27"/>
                  <a:gd name="T13" fmla="*/ 19 h 31"/>
                  <a:gd name="T14" fmla="*/ 5 w 27"/>
                  <a:gd name="T15" fmla="*/ 27 h 31"/>
                  <a:gd name="T16" fmla="*/ 12 w 27"/>
                  <a:gd name="T17" fmla="*/ 31 h 31"/>
                  <a:gd name="T18" fmla="*/ 21 w 27"/>
                  <a:gd name="T19" fmla="*/ 28 h 31"/>
                  <a:gd name="T20" fmla="*/ 27 w 27"/>
                  <a:gd name="T21" fmla="*/ 20 h 31"/>
                  <a:gd name="T22" fmla="*/ 25 w 27"/>
                  <a:gd name="T23" fmla="*/ 13 h 31"/>
                  <a:gd name="T24" fmla="*/ 12 w 27"/>
                  <a:gd name="T25" fmla="*/ 28 h 31"/>
                  <a:gd name="T26" fmla="*/ 8 w 27"/>
                  <a:gd name="T27" fmla="*/ 25 h 31"/>
                  <a:gd name="T28" fmla="*/ 6 w 27"/>
                  <a:gd name="T29" fmla="*/ 21 h 31"/>
                  <a:gd name="T30" fmla="*/ 9 w 27"/>
                  <a:gd name="T31" fmla="*/ 16 h 31"/>
                  <a:gd name="T32" fmla="*/ 14 w 27"/>
                  <a:gd name="T33" fmla="*/ 13 h 31"/>
                  <a:gd name="T34" fmla="*/ 19 w 27"/>
                  <a:gd name="T35" fmla="*/ 12 h 31"/>
                  <a:gd name="T36" fmla="*/ 23 w 27"/>
                  <a:gd name="T37" fmla="*/ 15 h 31"/>
                  <a:gd name="T38" fmla="*/ 23 w 27"/>
                  <a:gd name="T39" fmla="*/ 20 h 31"/>
                  <a:gd name="T40" fmla="*/ 18 w 27"/>
                  <a:gd name="T41" fmla="*/ 25 h 31"/>
                  <a:gd name="T42" fmla="*/ 12 w 27"/>
                  <a:gd name="T43" fmla="*/ 2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7" h="31">
                    <a:moveTo>
                      <a:pt x="25" y="13"/>
                    </a:moveTo>
                    <a:cubicBezTo>
                      <a:pt x="24" y="11"/>
                      <a:pt x="21" y="10"/>
                      <a:pt x="18" y="10"/>
                    </a:cubicBezTo>
                    <a:cubicBezTo>
                      <a:pt x="27" y="3"/>
                      <a:pt x="27" y="3"/>
                      <a:pt x="27" y="3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5" y="19"/>
                      <a:pt x="5" y="19"/>
                      <a:pt x="5" y="19"/>
                    </a:cubicBezTo>
                    <a:cubicBezTo>
                      <a:pt x="3" y="22"/>
                      <a:pt x="4" y="25"/>
                      <a:pt x="5" y="27"/>
                    </a:cubicBezTo>
                    <a:cubicBezTo>
                      <a:pt x="7" y="30"/>
                      <a:pt x="9" y="31"/>
                      <a:pt x="12" y="31"/>
                    </a:cubicBezTo>
                    <a:cubicBezTo>
                      <a:pt x="15" y="31"/>
                      <a:pt x="18" y="30"/>
                      <a:pt x="21" y="28"/>
                    </a:cubicBezTo>
                    <a:cubicBezTo>
                      <a:pt x="24" y="26"/>
                      <a:pt x="26" y="23"/>
                      <a:pt x="27" y="20"/>
                    </a:cubicBezTo>
                    <a:cubicBezTo>
                      <a:pt x="27" y="18"/>
                      <a:pt x="27" y="15"/>
                      <a:pt x="25" y="13"/>
                    </a:cubicBezTo>
                    <a:close/>
                    <a:moveTo>
                      <a:pt x="12" y="28"/>
                    </a:moveTo>
                    <a:cubicBezTo>
                      <a:pt x="10" y="28"/>
                      <a:pt x="9" y="27"/>
                      <a:pt x="8" y="25"/>
                    </a:cubicBezTo>
                    <a:cubicBezTo>
                      <a:pt x="7" y="24"/>
                      <a:pt x="6" y="23"/>
                      <a:pt x="6" y="21"/>
                    </a:cubicBezTo>
                    <a:cubicBezTo>
                      <a:pt x="7" y="19"/>
                      <a:pt x="8" y="18"/>
                      <a:pt x="9" y="16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5" y="12"/>
                      <a:pt x="17" y="12"/>
                      <a:pt x="19" y="12"/>
                    </a:cubicBezTo>
                    <a:cubicBezTo>
                      <a:pt x="20" y="13"/>
                      <a:pt x="22" y="13"/>
                      <a:pt x="23" y="15"/>
                    </a:cubicBezTo>
                    <a:cubicBezTo>
                      <a:pt x="24" y="16"/>
                      <a:pt x="24" y="18"/>
                      <a:pt x="23" y="20"/>
                    </a:cubicBezTo>
                    <a:cubicBezTo>
                      <a:pt x="22" y="22"/>
                      <a:pt x="21" y="23"/>
                      <a:pt x="18" y="25"/>
                    </a:cubicBezTo>
                    <a:cubicBezTo>
                      <a:pt x="16" y="27"/>
                      <a:pt x="14" y="28"/>
                      <a:pt x="12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56" name="Freeform 248"/>
              <p:cNvSpPr/>
              <p:nvPr/>
            </p:nvSpPr>
            <p:spPr bwMode="auto">
              <a:xfrm>
                <a:off x="4027488" y="1316038"/>
                <a:ext cx="101600" cy="106363"/>
              </a:xfrm>
              <a:custGeom>
                <a:avLst/>
                <a:gdLst>
                  <a:gd name="T0" fmla="*/ 14 w 27"/>
                  <a:gd name="T1" fmla="*/ 19 h 28"/>
                  <a:gd name="T2" fmla="*/ 11 w 27"/>
                  <a:gd name="T3" fmla="*/ 21 h 28"/>
                  <a:gd name="T4" fmla="*/ 7 w 27"/>
                  <a:gd name="T5" fmla="*/ 20 h 28"/>
                  <a:gd name="T6" fmla="*/ 4 w 27"/>
                  <a:gd name="T7" fmla="*/ 18 h 28"/>
                  <a:gd name="T8" fmla="*/ 3 w 27"/>
                  <a:gd name="T9" fmla="*/ 15 h 28"/>
                  <a:gd name="T10" fmla="*/ 6 w 27"/>
                  <a:gd name="T11" fmla="*/ 11 h 28"/>
                  <a:gd name="T12" fmla="*/ 18 w 27"/>
                  <a:gd name="T13" fmla="*/ 3 h 28"/>
                  <a:gd name="T14" fmla="*/ 16 w 27"/>
                  <a:gd name="T15" fmla="*/ 0 h 28"/>
                  <a:gd name="T16" fmla="*/ 4 w 27"/>
                  <a:gd name="T17" fmla="*/ 8 h 28"/>
                  <a:gd name="T18" fmla="*/ 0 w 27"/>
                  <a:gd name="T19" fmla="*/ 14 h 28"/>
                  <a:gd name="T20" fmla="*/ 1 w 27"/>
                  <a:gd name="T21" fmla="*/ 20 h 28"/>
                  <a:gd name="T22" fmla="*/ 10 w 27"/>
                  <a:gd name="T23" fmla="*/ 23 h 28"/>
                  <a:gd name="T24" fmla="*/ 6 w 27"/>
                  <a:gd name="T25" fmla="*/ 25 h 28"/>
                  <a:gd name="T26" fmla="*/ 8 w 27"/>
                  <a:gd name="T27" fmla="*/ 28 h 28"/>
                  <a:gd name="T28" fmla="*/ 27 w 27"/>
                  <a:gd name="T29" fmla="*/ 14 h 28"/>
                  <a:gd name="T30" fmla="*/ 25 w 27"/>
                  <a:gd name="T31" fmla="*/ 11 h 28"/>
                  <a:gd name="T32" fmla="*/ 14 w 27"/>
                  <a:gd name="T33" fmla="*/ 19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" h="28">
                    <a:moveTo>
                      <a:pt x="14" y="19"/>
                    </a:moveTo>
                    <a:cubicBezTo>
                      <a:pt x="13" y="20"/>
                      <a:pt x="12" y="20"/>
                      <a:pt x="11" y="21"/>
                    </a:cubicBezTo>
                    <a:cubicBezTo>
                      <a:pt x="9" y="21"/>
                      <a:pt x="8" y="21"/>
                      <a:pt x="7" y="20"/>
                    </a:cubicBezTo>
                    <a:cubicBezTo>
                      <a:pt x="6" y="20"/>
                      <a:pt x="5" y="19"/>
                      <a:pt x="4" y="18"/>
                    </a:cubicBezTo>
                    <a:cubicBezTo>
                      <a:pt x="4" y="17"/>
                      <a:pt x="3" y="16"/>
                      <a:pt x="3" y="15"/>
                    </a:cubicBezTo>
                    <a:cubicBezTo>
                      <a:pt x="4" y="14"/>
                      <a:pt x="5" y="12"/>
                      <a:pt x="6" y="11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10"/>
                      <a:pt x="1" y="12"/>
                      <a:pt x="0" y="14"/>
                    </a:cubicBezTo>
                    <a:cubicBezTo>
                      <a:pt x="0" y="16"/>
                      <a:pt x="0" y="18"/>
                      <a:pt x="1" y="20"/>
                    </a:cubicBezTo>
                    <a:cubicBezTo>
                      <a:pt x="3" y="22"/>
                      <a:pt x="6" y="23"/>
                      <a:pt x="10" y="23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27" y="14"/>
                      <a:pt x="27" y="14"/>
                      <a:pt x="27" y="14"/>
                    </a:cubicBezTo>
                    <a:cubicBezTo>
                      <a:pt x="25" y="11"/>
                      <a:pt x="25" y="11"/>
                      <a:pt x="25" y="11"/>
                    </a:cubicBezTo>
                    <a:lnTo>
                      <a:pt x="14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57" name="Freeform 249"/>
              <p:cNvSpPr/>
              <p:nvPr/>
            </p:nvSpPr>
            <p:spPr bwMode="auto">
              <a:xfrm>
                <a:off x="4076700" y="1395413"/>
                <a:ext cx="93663" cy="90488"/>
              </a:xfrm>
              <a:custGeom>
                <a:avLst/>
                <a:gdLst>
                  <a:gd name="T0" fmla="*/ 16 w 25"/>
                  <a:gd name="T1" fmla="*/ 13 h 24"/>
                  <a:gd name="T2" fmla="*/ 14 w 25"/>
                  <a:gd name="T3" fmla="*/ 9 h 24"/>
                  <a:gd name="T4" fmla="*/ 14 w 25"/>
                  <a:gd name="T5" fmla="*/ 4 h 24"/>
                  <a:gd name="T6" fmla="*/ 17 w 25"/>
                  <a:gd name="T7" fmla="*/ 3 h 24"/>
                  <a:gd name="T8" fmla="*/ 20 w 25"/>
                  <a:gd name="T9" fmla="*/ 6 h 24"/>
                  <a:gd name="T10" fmla="*/ 20 w 25"/>
                  <a:gd name="T11" fmla="*/ 13 h 24"/>
                  <a:gd name="T12" fmla="*/ 23 w 25"/>
                  <a:gd name="T13" fmla="*/ 15 h 24"/>
                  <a:gd name="T14" fmla="*/ 22 w 25"/>
                  <a:gd name="T15" fmla="*/ 4 h 24"/>
                  <a:gd name="T16" fmla="*/ 17 w 25"/>
                  <a:gd name="T17" fmla="*/ 0 h 24"/>
                  <a:gd name="T18" fmla="*/ 12 w 25"/>
                  <a:gd name="T19" fmla="*/ 1 h 24"/>
                  <a:gd name="T20" fmla="*/ 9 w 25"/>
                  <a:gd name="T21" fmla="*/ 5 h 24"/>
                  <a:gd name="T22" fmla="*/ 10 w 25"/>
                  <a:gd name="T23" fmla="*/ 10 h 24"/>
                  <a:gd name="T24" fmla="*/ 12 w 25"/>
                  <a:gd name="T25" fmla="*/ 14 h 24"/>
                  <a:gd name="T26" fmla="*/ 12 w 25"/>
                  <a:gd name="T27" fmla="*/ 20 h 24"/>
                  <a:gd name="T28" fmla="*/ 9 w 25"/>
                  <a:gd name="T29" fmla="*/ 20 h 24"/>
                  <a:gd name="T30" fmla="*/ 6 w 25"/>
                  <a:gd name="T31" fmla="*/ 17 h 24"/>
                  <a:gd name="T32" fmla="*/ 5 w 25"/>
                  <a:gd name="T33" fmla="*/ 9 h 24"/>
                  <a:gd name="T34" fmla="*/ 2 w 25"/>
                  <a:gd name="T35" fmla="*/ 7 h 24"/>
                  <a:gd name="T36" fmla="*/ 3 w 25"/>
                  <a:gd name="T37" fmla="*/ 19 h 24"/>
                  <a:gd name="T38" fmla="*/ 9 w 25"/>
                  <a:gd name="T39" fmla="*/ 23 h 24"/>
                  <a:gd name="T40" fmla="*/ 14 w 25"/>
                  <a:gd name="T41" fmla="*/ 22 h 24"/>
                  <a:gd name="T42" fmla="*/ 16 w 25"/>
                  <a:gd name="T43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" h="24">
                    <a:moveTo>
                      <a:pt x="16" y="13"/>
                    </a:moveTo>
                    <a:cubicBezTo>
                      <a:pt x="14" y="9"/>
                      <a:pt x="14" y="9"/>
                      <a:pt x="14" y="9"/>
                    </a:cubicBezTo>
                    <a:cubicBezTo>
                      <a:pt x="13" y="6"/>
                      <a:pt x="13" y="5"/>
                      <a:pt x="14" y="4"/>
                    </a:cubicBezTo>
                    <a:cubicBezTo>
                      <a:pt x="15" y="3"/>
                      <a:pt x="16" y="3"/>
                      <a:pt x="17" y="3"/>
                    </a:cubicBezTo>
                    <a:cubicBezTo>
                      <a:pt x="18" y="4"/>
                      <a:pt x="19" y="5"/>
                      <a:pt x="20" y="6"/>
                    </a:cubicBezTo>
                    <a:cubicBezTo>
                      <a:pt x="22" y="8"/>
                      <a:pt x="22" y="11"/>
                      <a:pt x="20" y="13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5" y="12"/>
                      <a:pt x="25" y="8"/>
                      <a:pt x="22" y="4"/>
                    </a:cubicBezTo>
                    <a:cubicBezTo>
                      <a:pt x="21" y="2"/>
                      <a:pt x="19" y="1"/>
                      <a:pt x="17" y="0"/>
                    </a:cubicBezTo>
                    <a:cubicBezTo>
                      <a:pt x="15" y="0"/>
                      <a:pt x="13" y="0"/>
                      <a:pt x="12" y="1"/>
                    </a:cubicBezTo>
                    <a:cubicBezTo>
                      <a:pt x="10" y="2"/>
                      <a:pt x="10" y="3"/>
                      <a:pt x="9" y="5"/>
                    </a:cubicBezTo>
                    <a:cubicBezTo>
                      <a:pt x="9" y="6"/>
                      <a:pt x="9" y="8"/>
                      <a:pt x="10" y="10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14" y="17"/>
                      <a:pt x="13" y="19"/>
                      <a:pt x="12" y="20"/>
                    </a:cubicBezTo>
                    <a:cubicBezTo>
                      <a:pt x="11" y="20"/>
                      <a:pt x="10" y="20"/>
                      <a:pt x="9" y="20"/>
                    </a:cubicBezTo>
                    <a:cubicBezTo>
                      <a:pt x="8" y="20"/>
                      <a:pt x="7" y="19"/>
                      <a:pt x="6" y="17"/>
                    </a:cubicBezTo>
                    <a:cubicBezTo>
                      <a:pt x="3" y="14"/>
                      <a:pt x="3" y="11"/>
                      <a:pt x="5" y="9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0" y="10"/>
                      <a:pt x="0" y="14"/>
                      <a:pt x="3" y="19"/>
                    </a:cubicBezTo>
                    <a:cubicBezTo>
                      <a:pt x="5" y="21"/>
                      <a:pt x="7" y="23"/>
                      <a:pt x="9" y="23"/>
                    </a:cubicBezTo>
                    <a:cubicBezTo>
                      <a:pt x="11" y="24"/>
                      <a:pt x="13" y="24"/>
                      <a:pt x="14" y="22"/>
                    </a:cubicBezTo>
                    <a:cubicBezTo>
                      <a:pt x="17" y="20"/>
                      <a:pt x="18" y="17"/>
                      <a:pt x="1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58" name="Freeform 250"/>
              <p:cNvSpPr/>
              <p:nvPr/>
            </p:nvSpPr>
            <p:spPr bwMode="auto">
              <a:xfrm>
                <a:off x="4121150" y="1458913"/>
                <a:ext cx="79375" cy="60325"/>
              </a:xfrm>
              <a:custGeom>
                <a:avLst/>
                <a:gdLst>
                  <a:gd name="T0" fmla="*/ 0 w 50"/>
                  <a:gd name="T1" fmla="*/ 31 h 38"/>
                  <a:gd name="T2" fmla="*/ 5 w 50"/>
                  <a:gd name="T3" fmla="*/ 38 h 38"/>
                  <a:gd name="T4" fmla="*/ 50 w 50"/>
                  <a:gd name="T5" fmla="*/ 7 h 38"/>
                  <a:gd name="T6" fmla="*/ 45 w 50"/>
                  <a:gd name="T7" fmla="*/ 0 h 38"/>
                  <a:gd name="T8" fmla="*/ 0 w 50"/>
                  <a:gd name="T9" fmla="*/ 3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" h="38">
                    <a:moveTo>
                      <a:pt x="0" y="31"/>
                    </a:moveTo>
                    <a:lnTo>
                      <a:pt x="5" y="38"/>
                    </a:lnTo>
                    <a:lnTo>
                      <a:pt x="50" y="7"/>
                    </a:lnTo>
                    <a:lnTo>
                      <a:pt x="45" y="0"/>
                    </a:lnTo>
                    <a:lnTo>
                      <a:pt x="0" y="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59" name="Freeform 251"/>
              <p:cNvSpPr/>
              <p:nvPr/>
            </p:nvSpPr>
            <p:spPr bwMode="auto">
              <a:xfrm>
                <a:off x="4203700" y="1441451"/>
                <a:ext cx="22225" cy="17463"/>
              </a:xfrm>
              <a:custGeom>
                <a:avLst/>
                <a:gdLst>
                  <a:gd name="T0" fmla="*/ 0 w 14"/>
                  <a:gd name="T1" fmla="*/ 4 h 11"/>
                  <a:gd name="T2" fmla="*/ 5 w 14"/>
                  <a:gd name="T3" fmla="*/ 11 h 11"/>
                  <a:gd name="T4" fmla="*/ 14 w 14"/>
                  <a:gd name="T5" fmla="*/ 7 h 11"/>
                  <a:gd name="T6" fmla="*/ 7 w 14"/>
                  <a:gd name="T7" fmla="*/ 0 h 11"/>
                  <a:gd name="T8" fmla="*/ 0 w 14"/>
                  <a:gd name="T9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1">
                    <a:moveTo>
                      <a:pt x="0" y="4"/>
                    </a:moveTo>
                    <a:lnTo>
                      <a:pt x="5" y="11"/>
                    </a:lnTo>
                    <a:lnTo>
                      <a:pt x="14" y="7"/>
                    </a:lnTo>
                    <a:lnTo>
                      <a:pt x="7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60" name="Freeform 252"/>
              <p:cNvSpPr/>
              <p:nvPr/>
            </p:nvSpPr>
            <p:spPr bwMode="auto">
              <a:xfrm>
                <a:off x="4143375" y="1493838"/>
                <a:ext cx="101600" cy="104775"/>
              </a:xfrm>
              <a:custGeom>
                <a:avLst/>
                <a:gdLst>
                  <a:gd name="T0" fmla="*/ 27 w 27"/>
                  <a:gd name="T1" fmla="*/ 12 h 28"/>
                  <a:gd name="T2" fmla="*/ 26 w 27"/>
                  <a:gd name="T3" fmla="*/ 8 h 28"/>
                  <a:gd name="T4" fmla="*/ 18 w 27"/>
                  <a:gd name="T5" fmla="*/ 5 h 28"/>
                  <a:gd name="T6" fmla="*/ 21 w 27"/>
                  <a:gd name="T7" fmla="*/ 2 h 28"/>
                  <a:gd name="T8" fmla="*/ 19 w 27"/>
                  <a:gd name="T9" fmla="*/ 0 h 28"/>
                  <a:gd name="T10" fmla="*/ 0 w 27"/>
                  <a:gd name="T11" fmla="*/ 13 h 28"/>
                  <a:gd name="T12" fmla="*/ 2 w 27"/>
                  <a:gd name="T13" fmla="*/ 16 h 28"/>
                  <a:gd name="T14" fmla="*/ 13 w 27"/>
                  <a:gd name="T15" fmla="*/ 9 h 28"/>
                  <a:gd name="T16" fmla="*/ 18 w 27"/>
                  <a:gd name="T17" fmla="*/ 7 h 28"/>
                  <a:gd name="T18" fmla="*/ 23 w 27"/>
                  <a:gd name="T19" fmla="*/ 9 h 28"/>
                  <a:gd name="T20" fmla="*/ 24 w 27"/>
                  <a:gd name="T21" fmla="*/ 13 h 28"/>
                  <a:gd name="T22" fmla="*/ 21 w 27"/>
                  <a:gd name="T23" fmla="*/ 16 h 28"/>
                  <a:gd name="T24" fmla="*/ 9 w 27"/>
                  <a:gd name="T25" fmla="*/ 25 h 28"/>
                  <a:gd name="T26" fmla="*/ 11 w 27"/>
                  <a:gd name="T27" fmla="*/ 28 h 28"/>
                  <a:gd name="T28" fmla="*/ 22 w 27"/>
                  <a:gd name="T29" fmla="*/ 20 h 28"/>
                  <a:gd name="T30" fmla="*/ 26 w 27"/>
                  <a:gd name="T31" fmla="*/ 16 h 28"/>
                  <a:gd name="T32" fmla="*/ 27 w 27"/>
                  <a:gd name="T33" fmla="*/ 1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" h="28">
                    <a:moveTo>
                      <a:pt x="27" y="12"/>
                    </a:moveTo>
                    <a:cubicBezTo>
                      <a:pt x="27" y="11"/>
                      <a:pt x="27" y="9"/>
                      <a:pt x="26" y="8"/>
                    </a:cubicBezTo>
                    <a:cubicBezTo>
                      <a:pt x="24" y="5"/>
                      <a:pt x="21" y="4"/>
                      <a:pt x="18" y="5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7"/>
                      <a:pt x="17" y="7"/>
                      <a:pt x="18" y="7"/>
                    </a:cubicBezTo>
                    <a:cubicBezTo>
                      <a:pt x="20" y="7"/>
                      <a:pt x="22" y="8"/>
                      <a:pt x="23" y="9"/>
                    </a:cubicBezTo>
                    <a:cubicBezTo>
                      <a:pt x="24" y="10"/>
                      <a:pt x="24" y="11"/>
                      <a:pt x="24" y="13"/>
                    </a:cubicBezTo>
                    <a:cubicBezTo>
                      <a:pt x="24" y="14"/>
                      <a:pt x="23" y="15"/>
                      <a:pt x="21" y="16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11" y="28"/>
                      <a:pt x="11" y="28"/>
                      <a:pt x="11" y="28"/>
                    </a:cubicBezTo>
                    <a:cubicBezTo>
                      <a:pt x="22" y="20"/>
                      <a:pt x="22" y="20"/>
                      <a:pt x="22" y="20"/>
                    </a:cubicBezTo>
                    <a:cubicBezTo>
                      <a:pt x="24" y="18"/>
                      <a:pt x="26" y="17"/>
                      <a:pt x="26" y="16"/>
                    </a:cubicBezTo>
                    <a:cubicBezTo>
                      <a:pt x="27" y="15"/>
                      <a:pt x="27" y="14"/>
                      <a:pt x="2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61" name="Freeform 253"/>
              <p:cNvSpPr>
                <a:spLocks noEditPoints="1"/>
              </p:cNvSpPr>
              <p:nvPr/>
            </p:nvSpPr>
            <p:spPr bwMode="auto">
              <a:xfrm>
                <a:off x="4206875" y="1579563"/>
                <a:ext cx="95250" cy="87313"/>
              </a:xfrm>
              <a:custGeom>
                <a:avLst/>
                <a:gdLst>
                  <a:gd name="T0" fmla="*/ 24 w 25"/>
                  <a:gd name="T1" fmla="*/ 12 h 23"/>
                  <a:gd name="T2" fmla="*/ 23 w 25"/>
                  <a:gd name="T3" fmla="*/ 4 h 23"/>
                  <a:gd name="T4" fmla="*/ 15 w 25"/>
                  <a:gd name="T5" fmla="*/ 0 h 23"/>
                  <a:gd name="T6" fmla="*/ 6 w 25"/>
                  <a:gd name="T7" fmla="*/ 3 h 23"/>
                  <a:gd name="T8" fmla="*/ 1 w 25"/>
                  <a:gd name="T9" fmla="*/ 10 h 23"/>
                  <a:gd name="T10" fmla="*/ 3 w 25"/>
                  <a:gd name="T11" fmla="*/ 18 h 23"/>
                  <a:gd name="T12" fmla="*/ 8 w 25"/>
                  <a:gd name="T13" fmla="*/ 22 h 23"/>
                  <a:gd name="T14" fmla="*/ 14 w 25"/>
                  <a:gd name="T15" fmla="*/ 22 h 23"/>
                  <a:gd name="T16" fmla="*/ 13 w 25"/>
                  <a:gd name="T17" fmla="*/ 19 h 23"/>
                  <a:gd name="T18" fmla="*/ 5 w 25"/>
                  <a:gd name="T19" fmla="*/ 17 h 23"/>
                  <a:gd name="T20" fmla="*/ 4 w 25"/>
                  <a:gd name="T21" fmla="*/ 12 h 23"/>
                  <a:gd name="T22" fmla="*/ 8 w 25"/>
                  <a:gd name="T23" fmla="*/ 6 h 23"/>
                  <a:gd name="T24" fmla="*/ 18 w 25"/>
                  <a:gd name="T25" fmla="*/ 20 h 23"/>
                  <a:gd name="T26" fmla="*/ 24 w 25"/>
                  <a:gd name="T27" fmla="*/ 12 h 23"/>
                  <a:gd name="T28" fmla="*/ 11 w 25"/>
                  <a:gd name="T29" fmla="*/ 5 h 23"/>
                  <a:gd name="T30" fmla="*/ 16 w 25"/>
                  <a:gd name="T31" fmla="*/ 3 h 23"/>
                  <a:gd name="T32" fmla="*/ 20 w 25"/>
                  <a:gd name="T33" fmla="*/ 6 h 23"/>
                  <a:gd name="T34" fmla="*/ 22 w 25"/>
                  <a:gd name="T35" fmla="*/ 9 h 23"/>
                  <a:gd name="T36" fmla="*/ 21 w 25"/>
                  <a:gd name="T37" fmla="*/ 12 h 23"/>
                  <a:gd name="T38" fmla="*/ 18 w 25"/>
                  <a:gd name="T39" fmla="*/ 15 h 23"/>
                  <a:gd name="T40" fmla="*/ 11 w 25"/>
                  <a:gd name="T41" fmla="*/ 5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" h="23">
                    <a:moveTo>
                      <a:pt x="24" y="12"/>
                    </a:moveTo>
                    <a:cubicBezTo>
                      <a:pt x="25" y="9"/>
                      <a:pt x="24" y="7"/>
                      <a:pt x="23" y="4"/>
                    </a:cubicBezTo>
                    <a:cubicBezTo>
                      <a:pt x="21" y="2"/>
                      <a:pt x="18" y="0"/>
                      <a:pt x="15" y="0"/>
                    </a:cubicBezTo>
                    <a:cubicBezTo>
                      <a:pt x="12" y="0"/>
                      <a:pt x="9" y="0"/>
                      <a:pt x="6" y="3"/>
                    </a:cubicBezTo>
                    <a:cubicBezTo>
                      <a:pt x="3" y="5"/>
                      <a:pt x="2" y="7"/>
                      <a:pt x="1" y="10"/>
                    </a:cubicBezTo>
                    <a:cubicBezTo>
                      <a:pt x="0" y="13"/>
                      <a:pt x="1" y="16"/>
                      <a:pt x="3" y="18"/>
                    </a:cubicBezTo>
                    <a:cubicBezTo>
                      <a:pt x="4" y="20"/>
                      <a:pt x="6" y="21"/>
                      <a:pt x="8" y="22"/>
                    </a:cubicBezTo>
                    <a:cubicBezTo>
                      <a:pt x="10" y="23"/>
                      <a:pt x="12" y="23"/>
                      <a:pt x="14" y="22"/>
                    </a:cubicBezTo>
                    <a:cubicBezTo>
                      <a:pt x="13" y="19"/>
                      <a:pt x="13" y="19"/>
                      <a:pt x="13" y="19"/>
                    </a:cubicBezTo>
                    <a:cubicBezTo>
                      <a:pt x="9" y="20"/>
                      <a:pt x="7" y="19"/>
                      <a:pt x="5" y="17"/>
                    </a:cubicBezTo>
                    <a:cubicBezTo>
                      <a:pt x="4" y="15"/>
                      <a:pt x="4" y="14"/>
                      <a:pt x="4" y="12"/>
                    </a:cubicBezTo>
                    <a:cubicBezTo>
                      <a:pt x="4" y="10"/>
                      <a:pt x="6" y="8"/>
                      <a:pt x="8" y="6"/>
                    </a:cubicBezTo>
                    <a:cubicBezTo>
                      <a:pt x="18" y="20"/>
                      <a:pt x="18" y="20"/>
                      <a:pt x="18" y="20"/>
                    </a:cubicBezTo>
                    <a:cubicBezTo>
                      <a:pt x="22" y="17"/>
                      <a:pt x="24" y="15"/>
                      <a:pt x="24" y="12"/>
                    </a:cubicBezTo>
                    <a:close/>
                    <a:moveTo>
                      <a:pt x="11" y="5"/>
                    </a:moveTo>
                    <a:cubicBezTo>
                      <a:pt x="13" y="3"/>
                      <a:pt x="14" y="3"/>
                      <a:pt x="16" y="3"/>
                    </a:cubicBezTo>
                    <a:cubicBezTo>
                      <a:pt x="18" y="3"/>
                      <a:pt x="19" y="4"/>
                      <a:pt x="20" y="6"/>
                    </a:cubicBezTo>
                    <a:cubicBezTo>
                      <a:pt x="21" y="7"/>
                      <a:pt x="22" y="8"/>
                      <a:pt x="22" y="9"/>
                    </a:cubicBezTo>
                    <a:cubicBezTo>
                      <a:pt x="21" y="10"/>
                      <a:pt x="21" y="11"/>
                      <a:pt x="21" y="12"/>
                    </a:cubicBezTo>
                    <a:cubicBezTo>
                      <a:pt x="20" y="13"/>
                      <a:pt x="19" y="14"/>
                      <a:pt x="18" y="15"/>
                    </a:cubicBezTo>
                    <a:lnTo>
                      <a:pt x="11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62" name="Freeform 254"/>
              <p:cNvSpPr/>
              <p:nvPr/>
            </p:nvSpPr>
            <p:spPr bwMode="auto">
              <a:xfrm>
                <a:off x="4256088" y="1643063"/>
                <a:ext cx="93663" cy="93663"/>
              </a:xfrm>
              <a:custGeom>
                <a:avLst/>
                <a:gdLst>
                  <a:gd name="T0" fmla="*/ 16 w 25"/>
                  <a:gd name="T1" fmla="*/ 14 h 25"/>
                  <a:gd name="T2" fmla="*/ 14 w 25"/>
                  <a:gd name="T3" fmla="*/ 9 h 25"/>
                  <a:gd name="T4" fmla="*/ 14 w 25"/>
                  <a:gd name="T5" fmla="*/ 5 h 25"/>
                  <a:gd name="T6" fmla="*/ 17 w 25"/>
                  <a:gd name="T7" fmla="*/ 4 h 25"/>
                  <a:gd name="T8" fmla="*/ 20 w 25"/>
                  <a:gd name="T9" fmla="*/ 7 h 25"/>
                  <a:gd name="T10" fmla="*/ 20 w 25"/>
                  <a:gd name="T11" fmla="*/ 14 h 25"/>
                  <a:gd name="T12" fmla="*/ 23 w 25"/>
                  <a:gd name="T13" fmla="*/ 16 h 25"/>
                  <a:gd name="T14" fmla="*/ 22 w 25"/>
                  <a:gd name="T15" fmla="*/ 5 h 25"/>
                  <a:gd name="T16" fmla="*/ 17 w 25"/>
                  <a:gd name="T17" fmla="*/ 1 h 25"/>
                  <a:gd name="T18" fmla="*/ 12 w 25"/>
                  <a:gd name="T19" fmla="*/ 2 h 25"/>
                  <a:gd name="T20" fmla="*/ 9 w 25"/>
                  <a:gd name="T21" fmla="*/ 6 h 25"/>
                  <a:gd name="T22" fmla="*/ 10 w 25"/>
                  <a:gd name="T23" fmla="*/ 11 h 25"/>
                  <a:gd name="T24" fmla="*/ 12 w 25"/>
                  <a:gd name="T25" fmla="*/ 15 h 25"/>
                  <a:gd name="T26" fmla="*/ 12 w 25"/>
                  <a:gd name="T27" fmla="*/ 20 h 25"/>
                  <a:gd name="T28" fmla="*/ 9 w 25"/>
                  <a:gd name="T29" fmla="*/ 21 h 25"/>
                  <a:gd name="T30" fmla="*/ 6 w 25"/>
                  <a:gd name="T31" fmla="*/ 18 h 25"/>
                  <a:gd name="T32" fmla="*/ 5 w 25"/>
                  <a:gd name="T33" fmla="*/ 10 h 25"/>
                  <a:gd name="T34" fmla="*/ 2 w 25"/>
                  <a:gd name="T35" fmla="*/ 8 h 25"/>
                  <a:gd name="T36" fmla="*/ 3 w 25"/>
                  <a:gd name="T37" fmla="*/ 20 h 25"/>
                  <a:gd name="T38" fmla="*/ 9 w 25"/>
                  <a:gd name="T39" fmla="*/ 24 h 25"/>
                  <a:gd name="T40" fmla="*/ 14 w 25"/>
                  <a:gd name="T41" fmla="*/ 23 h 25"/>
                  <a:gd name="T42" fmla="*/ 16 w 25"/>
                  <a:gd name="T43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" h="25">
                    <a:moveTo>
                      <a:pt x="16" y="14"/>
                    </a:moveTo>
                    <a:cubicBezTo>
                      <a:pt x="14" y="9"/>
                      <a:pt x="14" y="9"/>
                      <a:pt x="14" y="9"/>
                    </a:cubicBezTo>
                    <a:cubicBezTo>
                      <a:pt x="13" y="7"/>
                      <a:pt x="13" y="6"/>
                      <a:pt x="14" y="5"/>
                    </a:cubicBezTo>
                    <a:cubicBezTo>
                      <a:pt x="15" y="4"/>
                      <a:pt x="16" y="4"/>
                      <a:pt x="17" y="4"/>
                    </a:cubicBezTo>
                    <a:cubicBezTo>
                      <a:pt x="18" y="5"/>
                      <a:pt x="19" y="6"/>
                      <a:pt x="20" y="7"/>
                    </a:cubicBezTo>
                    <a:cubicBezTo>
                      <a:pt x="22" y="9"/>
                      <a:pt x="22" y="11"/>
                      <a:pt x="20" y="14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5" y="13"/>
                      <a:pt x="25" y="9"/>
                      <a:pt x="22" y="5"/>
                    </a:cubicBezTo>
                    <a:cubicBezTo>
                      <a:pt x="21" y="3"/>
                      <a:pt x="19" y="1"/>
                      <a:pt x="17" y="1"/>
                    </a:cubicBezTo>
                    <a:cubicBezTo>
                      <a:pt x="15" y="0"/>
                      <a:pt x="13" y="1"/>
                      <a:pt x="12" y="2"/>
                    </a:cubicBezTo>
                    <a:cubicBezTo>
                      <a:pt x="10" y="3"/>
                      <a:pt x="10" y="4"/>
                      <a:pt x="9" y="6"/>
                    </a:cubicBezTo>
                    <a:cubicBezTo>
                      <a:pt x="9" y="7"/>
                      <a:pt x="9" y="9"/>
                      <a:pt x="10" y="11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8"/>
                      <a:pt x="13" y="19"/>
                      <a:pt x="12" y="20"/>
                    </a:cubicBezTo>
                    <a:cubicBezTo>
                      <a:pt x="11" y="21"/>
                      <a:pt x="10" y="21"/>
                      <a:pt x="9" y="21"/>
                    </a:cubicBezTo>
                    <a:cubicBezTo>
                      <a:pt x="7" y="20"/>
                      <a:pt x="6" y="20"/>
                      <a:pt x="6" y="18"/>
                    </a:cubicBezTo>
                    <a:cubicBezTo>
                      <a:pt x="3" y="15"/>
                      <a:pt x="3" y="12"/>
                      <a:pt x="5" y="10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11"/>
                      <a:pt x="0" y="15"/>
                      <a:pt x="3" y="20"/>
                    </a:cubicBezTo>
                    <a:cubicBezTo>
                      <a:pt x="5" y="22"/>
                      <a:pt x="6" y="24"/>
                      <a:pt x="9" y="24"/>
                    </a:cubicBezTo>
                    <a:cubicBezTo>
                      <a:pt x="11" y="25"/>
                      <a:pt x="13" y="25"/>
                      <a:pt x="14" y="23"/>
                    </a:cubicBezTo>
                    <a:cubicBezTo>
                      <a:pt x="17" y="21"/>
                      <a:pt x="18" y="18"/>
                      <a:pt x="16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63" name="Freeform 255"/>
              <p:cNvSpPr/>
              <p:nvPr/>
            </p:nvSpPr>
            <p:spPr bwMode="auto">
              <a:xfrm>
                <a:off x="4302125" y="1711326"/>
                <a:ext cx="96838" cy="93663"/>
              </a:xfrm>
              <a:custGeom>
                <a:avLst/>
                <a:gdLst>
                  <a:gd name="T0" fmla="*/ 16 w 26"/>
                  <a:gd name="T1" fmla="*/ 13 h 25"/>
                  <a:gd name="T2" fmla="*/ 14 w 26"/>
                  <a:gd name="T3" fmla="*/ 9 h 25"/>
                  <a:gd name="T4" fmla="*/ 15 w 26"/>
                  <a:gd name="T5" fmla="*/ 4 h 25"/>
                  <a:gd name="T6" fmla="*/ 18 w 26"/>
                  <a:gd name="T7" fmla="*/ 4 h 25"/>
                  <a:gd name="T8" fmla="*/ 21 w 26"/>
                  <a:gd name="T9" fmla="*/ 6 h 25"/>
                  <a:gd name="T10" fmla="*/ 21 w 26"/>
                  <a:gd name="T11" fmla="*/ 13 h 25"/>
                  <a:gd name="T12" fmla="*/ 24 w 26"/>
                  <a:gd name="T13" fmla="*/ 16 h 25"/>
                  <a:gd name="T14" fmla="*/ 23 w 26"/>
                  <a:gd name="T15" fmla="*/ 5 h 25"/>
                  <a:gd name="T16" fmla="*/ 18 w 26"/>
                  <a:gd name="T17" fmla="*/ 1 h 25"/>
                  <a:gd name="T18" fmla="*/ 12 w 26"/>
                  <a:gd name="T19" fmla="*/ 2 h 25"/>
                  <a:gd name="T20" fmla="*/ 10 w 26"/>
                  <a:gd name="T21" fmla="*/ 5 h 25"/>
                  <a:gd name="T22" fmla="*/ 11 w 26"/>
                  <a:gd name="T23" fmla="*/ 10 h 25"/>
                  <a:gd name="T24" fmla="*/ 13 w 26"/>
                  <a:gd name="T25" fmla="*/ 15 h 25"/>
                  <a:gd name="T26" fmla="*/ 12 w 26"/>
                  <a:gd name="T27" fmla="*/ 20 h 25"/>
                  <a:gd name="T28" fmla="*/ 9 w 26"/>
                  <a:gd name="T29" fmla="*/ 20 h 25"/>
                  <a:gd name="T30" fmla="*/ 6 w 26"/>
                  <a:gd name="T31" fmla="*/ 18 h 25"/>
                  <a:gd name="T32" fmla="*/ 6 w 26"/>
                  <a:gd name="T33" fmla="*/ 10 h 25"/>
                  <a:gd name="T34" fmla="*/ 3 w 26"/>
                  <a:gd name="T35" fmla="*/ 7 h 25"/>
                  <a:gd name="T36" fmla="*/ 4 w 26"/>
                  <a:gd name="T37" fmla="*/ 19 h 25"/>
                  <a:gd name="T38" fmla="*/ 9 w 26"/>
                  <a:gd name="T39" fmla="*/ 24 h 25"/>
                  <a:gd name="T40" fmla="*/ 15 w 26"/>
                  <a:gd name="T41" fmla="*/ 23 h 25"/>
                  <a:gd name="T42" fmla="*/ 16 w 26"/>
                  <a:gd name="T43" fmla="*/ 13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6" h="25">
                    <a:moveTo>
                      <a:pt x="16" y="13"/>
                    </a:moveTo>
                    <a:cubicBezTo>
                      <a:pt x="14" y="9"/>
                      <a:pt x="14" y="9"/>
                      <a:pt x="14" y="9"/>
                    </a:cubicBezTo>
                    <a:cubicBezTo>
                      <a:pt x="13" y="7"/>
                      <a:pt x="14" y="5"/>
                      <a:pt x="15" y="4"/>
                    </a:cubicBezTo>
                    <a:cubicBezTo>
                      <a:pt x="16" y="4"/>
                      <a:pt x="17" y="4"/>
                      <a:pt x="18" y="4"/>
                    </a:cubicBezTo>
                    <a:cubicBezTo>
                      <a:pt x="19" y="4"/>
                      <a:pt x="20" y="5"/>
                      <a:pt x="21" y="6"/>
                    </a:cubicBezTo>
                    <a:cubicBezTo>
                      <a:pt x="22" y="9"/>
                      <a:pt x="22" y="11"/>
                      <a:pt x="21" y="13"/>
                    </a:cubicBezTo>
                    <a:cubicBezTo>
                      <a:pt x="24" y="16"/>
                      <a:pt x="24" y="16"/>
                      <a:pt x="24" y="16"/>
                    </a:cubicBezTo>
                    <a:cubicBezTo>
                      <a:pt x="26" y="12"/>
                      <a:pt x="26" y="9"/>
                      <a:pt x="23" y="5"/>
                    </a:cubicBezTo>
                    <a:cubicBezTo>
                      <a:pt x="21" y="2"/>
                      <a:pt x="20" y="1"/>
                      <a:pt x="18" y="1"/>
                    </a:cubicBezTo>
                    <a:cubicBezTo>
                      <a:pt x="16" y="0"/>
                      <a:pt x="14" y="0"/>
                      <a:pt x="12" y="2"/>
                    </a:cubicBezTo>
                    <a:cubicBezTo>
                      <a:pt x="11" y="3"/>
                      <a:pt x="10" y="4"/>
                      <a:pt x="10" y="5"/>
                    </a:cubicBezTo>
                    <a:cubicBezTo>
                      <a:pt x="10" y="7"/>
                      <a:pt x="10" y="9"/>
                      <a:pt x="11" y="10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4" y="17"/>
                      <a:pt x="14" y="19"/>
                      <a:pt x="12" y="20"/>
                    </a:cubicBezTo>
                    <a:cubicBezTo>
                      <a:pt x="11" y="21"/>
                      <a:pt x="10" y="21"/>
                      <a:pt x="9" y="20"/>
                    </a:cubicBezTo>
                    <a:cubicBezTo>
                      <a:pt x="8" y="20"/>
                      <a:pt x="7" y="19"/>
                      <a:pt x="6" y="18"/>
                    </a:cubicBezTo>
                    <a:cubicBezTo>
                      <a:pt x="4" y="15"/>
                      <a:pt x="4" y="12"/>
                      <a:pt x="6" y="10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0" y="11"/>
                      <a:pt x="0" y="15"/>
                      <a:pt x="4" y="19"/>
                    </a:cubicBezTo>
                    <a:cubicBezTo>
                      <a:pt x="5" y="22"/>
                      <a:pt x="7" y="23"/>
                      <a:pt x="9" y="24"/>
                    </a:cubicBezTo>
                    <a:cubicBezTo>
                      <a:pt x="11" y="25"/>
                      <a:pt x="13" y="24"/>
                      <a:pt x="15" y="23"/>
                    </a:cubicBezTo>
                    <a:cubicBezTo>
                      <a:pt x="18" y="21"/>
                      <a:pt x="18" y="18"/>
                      <a:pt x="1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64" name="Freeform 256"/>
              <p:cNvSpPr/>
              <p:nvPr/>
            </p:nvSpPr>
            <p:spPr bwMode="auto">
              <a:xfrm>
                <a:off x="1185863" y="2330451"/>
                <a:ext cx="52388" cy="60325"/>
              </a:xfrm>
              <a:custGeom>
                <a:avLst/>
                <a:gdLst>
                  <a:gd name="T0" fmla="*/ 9 w 14"/>
                  <a:gd name="T1" fmla="*/ 7 h 16"/>
                  <a:gd name="T2" fmla="*/ 6 w 14"/>
                  <a:gd name="T3" fmla="*/ 6 h 16"/>
                  <a:gd name="T4" fmla="*/ 4 w 14"/>
                  <a:gd name="T5" fmla="*/ 4 h 16"/>
                  <a:gd name="T6" fmla="*/ 5 w 14"/>
                  <a:gd name="T7" fmla="*/ 3 h 16"/>
                  <a:gd name="T8" fmla="*/ 7 w 14"/>
                  <a:gd name="T9" fmla="*/ 2 h 16"/>
                  <a:gd name="T10" fmla="*/ 11 w 14"/>
                  <a:gd name="T11" fmla="*/ 5 h 16"/>
                  <a:gd name="T12" fmla="*/ 13 w 14"/>
                  <a:gd name="T13" fmla="*/ 4 h 16"/>
                  <a:gd name="T14" fmla="*/ 7 w 14"/>
                  <a:gd name="T15" fmla="*/ 0 h 16"/>
                  <a:gd name="T16" fmla="*/ 3 w 14"/>
                  <a:gd name="T17" fmla="*/ 1 h 16"/>
                  <a:gd name="T18" fmla="*/ 1 w 14"/>
                  <a:gd name="T19" fmla="*/ 4 h 16"/>
                  <a:gd name="T20" fmla="*/ 2 w 14"/>
                  <a:gd name="T21" fmla="*/ 7 h 16"/>
                  <a:gd name="T22" fmla="*/ 5 w 14"/>
                  <a:gd name="T23" fmla="*/ 9 h 16"/>
                  <a:gd name="T24" fmla="*/ 8 w 14"/>
                  <a:gd name="T25" fmla="*/ 9 h 16"/>
                  <a:gd name="T26" fmla="*/ 11 w 14"/>
                  <a:gd name="T27" fmla="*/ 12 h 16"/>
                  <a:gd name="T28" fmla="*/ 10 w 14"/>
                  <a:gd name="T29" fmla="*/ 14 h 16"/>
                  <a:gd name="T30" fmla="*/ 7 w 14"/>
                  <a:gd name="T31" fmla="*/ 14 h 16"/>
                  <a:gd name="T32" fmla="*/ 3 w 14"/>
                  <a:gd name="T33" fmla="*/ 11 h 16"/>
                  <a:gd name="T34" fmla="*/ 0 w 14"/>
                  <a:gd name="T35" fmla="*/ 12 h 16"/>
                  <a:gd name="T36" fmla="*/ 7 w 14"/>
                  <a:gd name="T37" fmla="*/ 16 h 16"/>
                  <a:gd name="T38" fmla="*/ 12 w 14"/>
                  <a:gd name="T39" fmla="*/ 15 h 16"/>
                  <a:gd name="T40" fmla="*/ 13 w 14"/>
                  <a:gd name="T41" fmla="*/ 12 h 16"/>
                  <a:gd name="T42" fmla="*/ 9 w 14"/>
                  <a:gd name="T43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4" h="16">
                    <a:moveTo>
                      <a:pt x="9" y="7"/>
                    </a:moveTo>
                    <a:cubicBezTo>
                      <a:pt x="6" y="6"/>
                      <a:pt x="6" y="6"/>
                      <a:pt x="6" y="6"/>
                    </a:cubicBezTo>
                    <a:cubicBezTo>
                      <a:pt x="4" y="6"/>
                      <a:pt x="4" y="5"/>
                      <a:pt x="4" y="4"/>
                    </a:cubicBezTo>
                    <a:cubicBezTo>
                      <a:pt x="4" y="3"/>
                      <a:pt x="4" y="3"/>
                      <a:pt x="5" y="3"/>
                    </a:cubicBezTo>
                    <a:cubicBezTo>
                      <a:pt x="5" y="2"/>
                      <a:pt x="6" y="2"/>
                      <a:pt x="7" y="2"/>
                    </a:cubicBezTo>
                    <a:cubicBezTo>
                      <a:pt x="9" y="2"/>
                      <a:pt x="10" y="3"/>
                      <a:pt x="11" y="5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2" y="1"/>
                      <a:pt x="10" y="0"/>
                      <a:pt x="7" y="0"/>
                    </a:cubicBezTo>
                    <a:cubicBezTo>
                      <a:pt x="5" y="0"/>
                      <a:pt x="4" y="0"/>
                      <a:pt x="3" y="1"/>
                    </a:cubicBezTo>
                    <a:cubicBezTo>
                      <a:pt x="2" y="2"/>
                      <a:pt x="1" y="3"/>
                      <a:pt x="1" y="4"/>
                    </a:cubicBezTo>
                    <a:cubicBezTo>
                      <a:pt x="1" y="6"/>
                      <a:pt x="1" y="7"/>
                      <a:pt x="2" y="7"/>
                    </a:cubicBezTo>
                    <a:cubicBezTo>
                      <a:pt x="3" y="8"/>
                      <a:pt x="4" y="8"/>
                      <a:pt x="5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10" y="10"/>
                      <a:pt x="11" y="11"/>
                      <a:pt x="11" y="12"/>
                    </a:cubicBezTo>
                    <a:cubicBezTo>
                      <a:pt x="11" y="13"/>
                      <a:pt x="11" y="13"/>
                      <a:pt x="10" y="14"/>
                    </a:cubicBezTo>
                    <a:cubicBezTo>
                      <a:pt x="9" y="14"/>
                      <a:pt x="8" y="14"/>
                      <a:pt x="7" y="14"/>
                    </a:cubicBezTo>
                    <a:cubicBezTo>
                      <a:pt x="5" y="14"/>
                      <a:pt x="3" y="13"/>
                      <a:pt x="3" y="11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1" y="15"/>
                      <a:pt x="3" y="16"/>
                      <a:pt x="7" y="16"/>
                    </a:cubicBezTo>
                    <a:cubicBezTo>
                      <a:pt x="9" y="16"/>
                      <a:pt x="10" y="16"/>
                      <a:pt x="12" y="15"/>
                    </a:cubicBezTo>
                    <a:cubicBezTo>
                      <a:pt x="13" y="14"/>
                      <a:pt x="13" y="13"/>
                      <a:pt x="13" y="12"/>
                    </a:cubicBezTo>
                    <a:cubicBezTo>
                      <a:pt x="14" y="9"/>
                      <a:pt x="12" y="8"/>
                      <a:pt x="9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65" name="Freeform 257"/>
              <p:cNvSpPr/>
              <p:nvPr/>
            </p:nvSpPr>
            <p:spPr bwMode="auto">
              <a:xfrm>
                <a:off x="1241425" y="2319338"/>
                <a:ext cx="33338" cy="76200"/>
              </a:xfrm>
              <a:custGeom>
                <a:avLst/>
                <a:gdLst>
                  <a:gd name="T0" fmla="*/ 4 w 9"/>
                  <a:gd name="T1" fmla="*/ 15 h 20"/>
                  <a:gd name="T2" fmla="*/ 5 w 9"/>
                  <a:gd name="T3" fmla="*/ 6 h 20"/>
                  <a:gd name="T4" fmla="*/ 8 w 9"/>
                  <a:gd name="T5" fmla="*/ 6 h 20"/>
                  <a:gd name="T6" fmla="*/ 8 w 9"/>
                  <a:gd name="T7" fmla="*/ 4 h 20"/>
                  <a:gd name="T8" fmla="*/ 5 w 9"/>
                  <a:gd name="T9" fmla="*/ 4 h 20"/>
                  <a:gd name="T10" fmla="*/ 5 w 9"/>
                  <a:gd name="T11" fmla="*/ 0 h 20"/>
                  <a:gd name="T12" fmla="*/ 3 w 9"/>
                  <a:gd name="T13" fmla="*/ 0 h 20"/>
                  <a:gd name="T14" fmla="*/ 2 w 9"/>
                  <a:gd name="T15" fmla="*/ 4 h 20"/>
                  <a:gd name="T16" fmla="*/ 0 w 9"/>
                  <a:gd name="T17" fmla="*/ 4 h 20"/>
                  <a:gd name="T18" fmla="*/ 0 w 9"/>
                  <a:gd name="T19" fmla="*/ 6 h 20"/>
                  <a:gd name="T20" fmla="*/ 2 w 9"/>
                  <a:gd name="T21" fmla="*/ 6 h 20"/>
                  <a:gd name="T22" fmla="*/ 2 w 9"/>
                  <a:gd name="T23" fmla="*/ 15 h 20"/>
                  <a:gd name="T24" fmla="*/ 6 w 9"/>
                  <a:gd name="T25" fmla="*/ 20 h 20"/>
                  <a:gd name="T26" fmla="*/ 9 w 9"/>
                  <a:gd name="T27" fmla="*/ 20 h 20"/>
                  <a:gd name="T28" fmla="*/ 9 w 9"/>
                  <a:gd name="T29" fmla="*/ 18 h 20"/>
                  <a:gd name="T30" fmla="*/ 7 w 9"/>
                  <a:gd name="T31" fmla="*/ 18 h 20"/>
                  <a:gd name="T32" fmla="*/ 4 w 9"/>
                  <a:gd name="T33" fmla="*/ 15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" h="20">
                    <a:moveTo>
                      <a:pt x="4" y="15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2" y="18"/>
                      <a:pt x="3" y="20"/>
                      <a:pt x="6" y="20"/>
                    </a:cubicBezTo>
                    <a:cubicBezTo>
                      <a:pt x="7" y="20"/>
                      <a:pt x="8" y="20"/>
                      <a:pt x="9" y="20"/>
                    </a:cubicBezTo>
                    <a:cubicBezTo>
                      <a:pt x="9" y="18"/>
                      <a:pt x="9" y="18"/>
                      <a:pt x="9" y="18"/>
                    </a:cubicBezTo>
                    <a:cubicBezTo>
                      <a:pt x="8" y="18"/>
                      <a:pt x="7" y="18"/>
                      <a:pt x="7" y="18"/>
                    </a:cubicBezTo>
                    <a:cubicBezTo>
                      <a:pt x="5" y="18"/>
                      <a:pt x="4" y="17"/>
                      <a:pt x="4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66" name="Freeform 258"/>
              <p:cNvSpPr/>
              <p:nvPr/>
            </p:nvSpPr>
            <p:spPr bwMode="auto">
              <a:xfrm>
                <a:off x="1282700" y="2335213"/>
                <a:ext cx="49213" cy="60325"/>
              </a:xfrm>
              <a:custGeom>
                <a:avLst/>
                <a:gdLst>
                  <a:gd name="T0" fmla="*/ 10 w 13"/>
                  <a:gd name="T1" fmla="*/ 9 h 16"/>
                  <a:gd name="T2" fmla="*/ 9 w 13"/>
                  <a:gd name="T3" fmla="*/ 12 h 16"/>
                  <a:gd name="T4" fmla="*/ 8 w 13"/>
                  <a:gd name="T5" fmla="*/ 13 h 16"/>
                  <a:gd name="T6" fmla="*/ 6 w 13"/>
                  <a:gd name="T7" fmla="*/ 14 h 16"/>
                  <a:gd name="T8" fmla="*/ 4 w 13"/>
                  <a:gd name="T9" fmla="*/ 13 h 16"/>
                  <a:gd name="T10" fmla="*/ 3 w 13"/>
                  <a:gd name="T11" fmla="*/ 10 h 16"/>
                  <a:gd name="T12" fmla="*/ 3 w 13"/>
                  <a:gd name="T13" fmla="*/ 0 h 16"/>
                  <a:gd name="T14" fmla="*/ 1 w 13"/>
                  <a:gd name="T15" fmla="*/ 0 h 16"/>
                  <a:gd name="T16" fmla="*/ 0 w 13"/>
                  <a:gd name="T17" fmla="*/ 10 h 16"/>
                  <a:gd name="T18" fmla="*/ 2 w 13"/>
                  <a:gd name="T19" fmla="*/ 14 h 16"/>
                  <a:gd name="T20" fmla="*/ 5 w 13"/>
                  <a:gd name="T21" fmla="*/ 16 h 16"/>
                  <a:gd name="T22" fmla="*/ 10 w 13"/>
                  <a:gd name="T23" fmla="*/ 13 h 16"/>
                  <a:gd name="T24" fmla="*/ 10 w 13"/>
                  <a:gd name="T25" fmla="*/ 16 h 16"/>
                  <a:gd name="T26" fmla="*/ 12 w 13"/>
                  <a:gd name="T27" fmla="*/ 16 h 16"/>
                  <a:gd name="T28" fmla="*/ 13 w 13"/>
                  <a:gd name="T29" fmla="*/ 0 h 16"/>
                  <a:gd name="T30" fmla="*/ 10 w 13"/>
                  <a:gd name="T31" fmla="*/ 0 h 16"/>
                  <a:gd name="T32" fmla="*/ 10 w 13"/>
                  <a:gd name="T33" fmla="*/ 9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" h="16">
                    <a:moveTo>
                      <a:pt x="10" y="9"/>
                    </a:moveTo>
                    <a:cubicBezTo>
                      <a:pt x="10" y="10"/>
                      <a:pt x="10" y="11"/>
                      <a:pt x="9" y="12"/>
                    </a:cubicBezTo>
                    <a:cubicBezTo>
                      <a:pt x="9" y="12"/>
                      <a:pt x="9" y="13"/>
                      <a:pt x="8" y="13"/>
                    </a:cubicBezTo>
                    <a:cubicBezTo>
                      <a:pt x="7" y="14"/>
                      <a:pt x="7" y="14"/>
                      <a:pt x="6" y="14"/>
                    </a:cubicBezTo>
                    <a:cubicBezTo>
                      <a:pt x="5" y="14"/>
                      <a:pt x="4" y="14"/>
                      <a:pt x="4" y="13"/>
                    </a:cubicBezTo>
                    <a:cubicBezTo>
                      <a:pt x="3" y="12"/>
                      <a:pt x="3" y="11"/>
                      <a:pt x="3" y="1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cubicBezTo>
                      <a:pt x="3" y="15"/>
                      <a:pt x="4" y="16"/>
                      <a:pt x="5" y="16"/>
                    </a:cubicBezTo>
                    <a:cubicBezTo>
                      <a:pt x="7" y="16"/>
                      <a:pt x="9" y="15"/>
                      <a:pt x="10" y="13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12" y="16"/>
                      <a:pt x="12" y="16"/>
                      <a:pt x="12" y="16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10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67" name="Freeform 259"/>
              <p:cNvSpPr>
                <a:spLocks noEditPoints="1"/>
              </p:cNvSpPr>
              <p:nvPr/>
            </p:nvSpPr>
            <p:spPr bwMode="auto">
              <a:xfrm>
                <a:off x="1343025" y="2316163"/>
                <a:ext cx="52388" cy="82550"/>
              </a:xfrm>
              <a:custGeom>
                <a:avLst/>
                <a:gdLst>
                  <a:gd name="T0" fmla="*/ 11 w 14"/>
                  <a:gd name="T1" fmla="*/ 8 h 22"/>
                  <a:gd name="T2" fmla="*/ 7 w 14"/>
                  <a:gd name="T3" fmla="*/ 5 h 22"/>
                  <a:gd name="T4" fmla="*/ 2 w 14"/>
                  <a:gd name="T5" fmla="*/ 7 h 22"/>
                  <a:gd name="T6" fmla="*/ 0 w 14"/>
                  <a:gd name="T7" fmla="*/ 13 h 22"/>
                  <a:gd name="T8" fmla="*/ 2 w 14"/>
                  <a:gd name="T9" fmla="*/ 19 h 22"/>
                  <a:gd name="T10" fmla="*/ 6 w 14"/>
                  <a:gd name="T11" fmla="*/ 21 h 22"/>
                  <a:gd name="T12" fmla="*/ 11 w 14"/>
                  <a:gd name="T13" fmla="*/ 19 h 22"/>
                  <a:gd name="T14" fmla="*/ 11 w 14"/>
                  <a:gd name="T15" fmla="*/ 21 h 22"/>
                  <a:gd name="T16" fmla="*/ 13 w 14"/>
                  <a:gd name="T17" fmla="*/ 21 h 22"/>
                  <a:gd name="T18" fmla="*/ 14 w 14"/>
                  <a:gd name="T19" fmla="*/ 0 h 22"/>
                  <a:gd name="T20" fmla="*/ 11 w 14"/>
                  <a:gd name="T21" fmla="*/ 0 h 22"/>
                  <a:gd name="T22" fmla="*/ 11 w 14"/>
                  <a:gd name="T23" fmla="*/ 8 h 22"/>
                  <a:gd name="T24" fmla="*/ 11 w 14"/>
                  <a:gd name="T25" fmla="*/ 15 h 22"/>
                  <a:gd name="T26" fmla="*/ 10 w 14"/>
                  <a:gd name="T27" fmla="*/ 18 h 22"/>
                  <a:gd name="T28" fmla="*/ 7 w 14"/>
                  <a:gd name="T29" fmla="*/ 19 h 22"/>
                  <a:gd name="T30" fmla="*/ 4 w 14"/>
                  <a:gd name="T31" fmla="*/ 18 h 22"/>
                  <a:gd name="T32" fmla="*/ 3 w 14"/>
                  <a:gd name="T33" fmla="*/ 13 h 22"/>
                  <a:gd name="T34" fmla="*/ 4 w 14"/>
                  <a:gd name="T35" fmla="*/ 9 h 22"/>
                  <a:gd name="T36" fmla="*/ 7 w 14"/>
                  <a:gd name="T37" fmla="*/ 7 h 22"/>
                  <a:gd name="T38" fmla="*/ 10 w 14"/>
                  <a:gd name="T39" fmla="*/ 8 h 22"/>
                  <a:gd name="T40" fmla="*/ 11 w 14"/>
                  <a:gd name="T41" fmla="*/ 12 h 22"/>
                  <a:gd name="T42" fmla="*/ 11 w 14"/>
                  <a:gd name="T43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4" h="22">
                    <a:moveTo>
                      <a:pt x="11" y="8"/>
                    </a:moveTo>
                    <a:cubicBezTo>
                      <a:pt x="10" y="6"/>
                      <a:pt x="9" y="5"/>
                      <a:pt x="7" y="5"/>
                    </a:cubicBezTo>
                    <a:cubicBezTo>
                      <a:pt x="5" y="5"/>
                      <a:pt x="3" y="6"/>
                      <a:pt x="2" y="7"/>
                    </a:cubicBezTo>
                    <a:cubicBezTo>
                      <a:pt x="1" y="9"/>
                      <a:pt x="0" y="11"/>
                      <a:pt x="0" y="13"/>
                    </a:cubicBezTo>
                    <a:cubicBezTo>
                      <a:pt x="0" y="16"/>
                      <a:pt x="1" y="18"/>
                      <a:pt x="2" y="19"/>
                    </a:cubicBezTo>
                    <a:cubicBezTo>
                      <a:pt x="3" y="21"/>
                      <a:pt x="4" y="21"/>
                      <a:pt x="6" y="21"/>
                    </a:cubicBezTo>
                    <a:cubicBezTo>
                      <a:pt x="8" y="22"/>
                      <a:pt x="10" y="21"/>
                      <a:pt x="11" y="19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3" y="21"/>
                      <a:pt x="13" y="21"/>
                      <a:pt x="13" y="21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1" y="0"/>
                      <a:pt x="11" y="0"/>
                      <a:pt x="11" y="0"/>
                    </a:cubicBezTo>
                    <a:lnTo>
                      <a:pt x="11" y="8"/>
                    </a:lnTo>
                    <a:close/>
                    <a:moveTo>
                      <a:pt x="11" y="15"/>
                    </a:moveTo>
                    <a:cubicBezTo>
                      <a:pt x="11" y="16"/>
                      <a:pt x="10" y="17"/>
                      <a:pt x="10" y="18"/>
                    </a:cubicBezTo>
                    <a:cubicBezTo>
                      <a:pt x="9" y="19"/>
                      <a:pt x="8" y="20"/>
                      <a:pt x="7" y="19"/>
                    </a:cubicBezTo>
                    <a:cubicBezTo>
                      <a:pt x="5" y="19"/>
                      <a:pt x="4" y="19"/>
                      <a:pt x="4" y="18"/>
                    </a:cubicBezTo>
                    <a:cubicBezTo>
                      <a:pt x="3" y="17"/>
                      <a:pt x="3" y="15"/>
                      <a:pt x="3" y="13"/>
                    </a:cubicBezTo>
                    <a:cubicBezTo>
                      <a:pt x="3" y="11"/>
                      <a:pt x="3" y="10"/>
                      <a:pt x="4" y="9"/>
                    </a:cubicBezTo>
                    <a:cubicBezTo>
                      <a:pt x="5" y="8"/>
                      <a:pt x="6" y="7"/>
                      <a:pt x="7" y="7"/>
                    </a:cubicBezTo>
                    <a:cubicBezTo>
                      <a:pt x="8" y="7"/>
                      <a:pt x="9" y="8"/>
                      <a:pt x="10" y="8"/>
                    </a:cubicBezTo>
                    <a:cubicBezTo>
                      <a:pt x="11" y="9"/>
                      <a:pt x="11" y="10"/>
                      <a:pt x="11" y="12"/>
                    </a:cubicBezTo>
                    <a:lnTo>
                      <a:pt x="11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68" name="Freeform 260"/>
              <p:cNvSpPr/>
              <p:nvPr/>
            </p:nvSpPr>
            <p:spPr bwMode="auto">
              <a:xfrm>
                <a:off x="1403350" y="2338388"/>
                <a:ext cx="49213" cy="79375"/>
              </a:xfrm>
              <a:custGeom>
                <a:avLst/>
                <a:gdLst>
                  <a:gd name="T0" fmla="*/ 11 w 13"/>
                  <a:gd name="T1" fmla="*/ 0 h 21"/>
                  <a:gd name="T2" fmla="*/ 6 w 13"/>
                  <a:gd name="T3" fmla="*/ 12 h 21"/>
                  <a:gd name="T4" fmla="*/ 3 w 13"/>
                  <a:gd name="T5" fmla="*/ 0 h 21"/>
                  <a:gd name="T6" fmla="*/ 0 w 13"/>
                  <a:gd name="T7" fmla="*/ 0 h 21"/>
                  <a:gd name="T8" fmla="*/ 5 w 13"/>
                  <a:gd name="T9" fmla="*/ 15 h 21"/>
                  <a:gd name="T10" fmla="*/ 3 w 13"/>
                  <a:gd name="T11" fmla="*/ 18 h 21"/>
                  <a:gd name="T12" fmla="*/ 2 w 13"/>
                  <a:gd name="T13" fmla="*/ 19 h 21"/>
                  <a:gd name="T14" fmla="*/ 0 w 13"/>
                  <a:gd name="T15" fmla="*/ 19 h 21"/>
                  <a:gd name="T16" fmla="*/ 0 w 13"/>
                  <a:gd name="T17" fmla="*/ 21 h 21"/>
                  <a:gd name="T18" fmla="*/ 2 w 13"/>
                  <a:gd name="T19" fmla="*/ 21 h 21"/>
                  <a:gd name="T20" fmla="*/ 6 w 13"/>
                  <a:gd name="T21" fmla="*/ 17 h 21"/>
                  <a:gd name="T22" fmla="*/ 13 w 13"/>
                  <a:gd name="T23" fmla="*/ 0 h 21"/>
                  <a:gd name="T24" fmla="*/ 11 w 13"/>
                  <a:gd name="T2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" h="21">
                    <a:moveTo>
                      <a:pt x="11" y="0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7"/>
                      <a:pt x="4" y="18"/>
                      <a:pt x="3" y="18"/>
                    </a:cubicBezTo>
                    <a:cubicBezTo>
                      <a:pt x="3" y="19"/>
                      <a:pt x="2" y="19"/>
                      <a:pt x="2" y="19"/>
                    </a:cubicBezTo>
                    <a:cubicBezTo>
                      <a:pt x="1" y="19"/>
                      <a:pt x="1" y="19"/>
                      <a:pt x="0" y="19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1" y="21"/>
                      <a:pt x="1" y="21"/>
                      <a:pt x="2" y="21"/>
                    </a:cubicBezTo>
                    <a:cubicBezTo>
                      <a:pt x="4" y="21"/>
                      <a:pt x="5" y="20"/>
                      <a:pt x="6" y="17"/>
                    </a:cubicBezTo>
                    <a:cubicBezTo>
                      <a:pt x="13" y="0"/>
                      <a:pt x="13" y="0"/>
                      <a:pt x="13" y="0"/>
                    </a:cubicBezTo>
                    <a:lnTo>
                      <a:pt x="1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69" name="Freeform 261"/>
              <p:cNvSpPr/>
              <p:nvPr/>
            </p:nvSpPr>
            <p:spPr bwMode="auto">
              <a:xfrm>
                <a:off x="1189038" y="2046288"/>
                <a:ext cx="44450" cy="47625"/>
              </a:xfrm>
              <a:custGeom>
                <a:avLst/>
                <a:gdLst>
                  <a:gd name="T0" fmla="*/ 8 w 12"/>
                  <a:gd name="T1" fmla="*/ 13 h 13"/>
                  <a:gd name="T2" fmla="*/ 11 w 12"/>
                  <a:gd name="T3" fmla="*/ 11 h 13"/>
                  <a:gd name="T4" fmla="*/ 12 w 12"/>
                  <a:gd name="T5" fmla="*/ 8 h 13"/>
                  <a:gd name="T6" fmla="*/ 11 w 12"/>
                  <a:gd name="T7" fmla="*/ 0 h 13"/>
                  <a:gd name="T8" fmla="*/ 0 w 12"/>
                  <a:gd name="T9" fmla="*/ 13 h 13"/>
                  <a:gd name="T10" fmla="*/ 0 w 12"/>
                  <a:gd name="T11" fmla="*/ 13 h 13"/>
                  <a:gd name="T12" fmla="*/ 8 w 12"/>
                  <a:gd name="T13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3">
                    <a:moveTo>
                      <a:pt x="8" y="13"/>
                    </a:moveTo>
                    <a:cubicBezTo>
                      <a:pt x="9" y="12"/>
                      <a:pt x="10" y="12"/>
                      <a:pt x="11" y="11"/>
                    </a:cubicBezTo>
                    <a:cubicBezTo>
                      <a:pt x="12" y="10"/>
                      <a:pt x="12" y="9"/>
                      <a:pt x="12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lnTo>
                      <a:pt x="8" y="1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70" name="Freeform 262"/>
              <p:cNvSpPr/>
              <p:nvPr/>
            </p:nvSpPr>
            <p:spPr bwMode="auto">
              <a:xfrm>
                <a:off x="1181100" y="2022476"/>
                <a:ext cx="233363" cy="266700"/>
              </a:xfrm>
              <a:custGeom>
                <a:avLst/>
                <a:gdLst>
                  <a:gd name="T0" fmla="*/ 57 w 62"/>
                  <a:gd name="T1" fmla="*/ 4 h 71"/>
                  <a:gd name="T2" fmla="*/ 55 w 62"/>
                  <a:gd name="T3" fmla="*/ 1 h 71"/>
                  <a:gd name="T4" fmla="*/ 52 w 62"/>
                  <a:gd name="T5" fmla="*/ 0 h 71"/>
                  <a:gd name="T6" fmla="*/ 21 w 62"/>
                  <a:gd name="T7" fmla="*/ 2 h 71"/>
                  <a:gd name="T8" fmla="*/ 17 w 62"/>
                  <a:gd name="T9" fmla="*/ 4 h 71"/>
                  <a:gd name="T10" fmla="*/ 16 w 62"/>
                  <a:gd name="T11" fmla="*/ 8 h 71"/>
                  <a:gd name="T12" fmla="*/ 17 w 62"/>
                  <a:gd name="T13" fmla="*/ 15 h 71"/>
                  <a:gd name="T14" fmla="*/ 15 w 62"/>
                  <a:gd name="T15" fmla="*/ 19 h 71"/>
                  <a:gd name="T16" fmla="*/ 12 w 62"/>
                  <a:gd name="T17" fmla="*/ 21 h 71"/>
                  <a:gd name="T18" fmla="*/ 5 w 62"/>
                  <a:gd name="T19" fmla="*/ 21 h 71"/>
                  <a:gd name="T20" fmla="*/ 1 w 62"/>
                  <a:gd name="T21" fmla="*/ 23 h 71"/>
                  <a:gd name="T22" fmla="*/ 0 w 62"/>
                  <a:gd name="T23" fmla="*/ 27 h 71"/>
                  <a:gd name="T24" fmla="*/ 3 w 62"/>
                  <a:gd name="T25" fmla="*/ 67 h 71"/>
                  <a:gd name="T26" fmla="*/ 5 w 62"/>
                  <a:gd name="T27" fmla="*/ 70 h 71"/>
                  <a:gd name="T28" fmla="*/ 9 w 62"/>
                  <a:gd name="T29" fmla="*/ 71 h 71"/>
                  <a:gd name="T30" fmla="*/ 58 w 62"/>
                  <a:gd name="T31" fmla="*/ 67 h 71"/>
                  <a:gd name="T32" fmla="*/ 61 w 62"/>
                  <a:gd name="T33" fmla="*/ 66 h 71"/>
                  <a:gd name="T34" fmla="*/ 62 w 62"/>
                  <a:gd name="T35" fmla="*/ 62 h 71"/>
                  <a:gd name="T36" fmla="*/ 57 w 62"/>
                  <a:gd name="T37" fmla="*/ 4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2" h="71">
                    <a:moveTo>
                      <a:pt x="57" y="4"/>
                    </a:moveTo>
                    <a:cubicBezTo>
                      <a:pt x="57" y="3"/>
                      <a:pt x="56" y="2"/>
                      <a:pt x="55" y="1"/>
                    </a:cubicBezTo>
                    <a:cubicBezTo>
                      <a:pt x="54" y="0"/>
                      <a:pt x="53" y="0"/>
                      <a:pt x="52" y="0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19" y="2"/>
                      <a:pt x="18" y="3"/>
                      <a:pt x="17" y="4"/>
                    </a:cubicBezTo>
                    <a:cubicBezTo>
                      <a:pt x="16" y="5"/>
                      <a:pt x="16" y="7"/>
                      <a:pt x="16" y="8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16"/>
                      <a:pt x="16" y="18"/>
                      <a:pt x="15" y="19"/>
                    </a:cubicBezTo>
                    <a:cubicBezTo>
                      <a:pt x="14" y="20"/>
                      <a:pt x="13" y="21"/>
                      <a:pt x="12" y="21"/>
                    </a:cubicBezTo>
                    <a:cubicBezTo>
                      <a:pt x="5" y="21"/>
                      <a:pt x="5" y="21"/>
                      <a:pt x="5" y="21"/>
                    </a:cubicBezTo>
                    <a:cubicBezTo>
                      <a:pt x="3" y="22"/>
                      <a:pt x="2" y="22"/>
                      <a:pt x="1" y="23"/>
                    </a:cubicBezTo>
                    <a:cubicBezTo>
                      <a:pt x="0" y="24"/>
                      <a:pt x="0" y="26"/>
                      <a:pt x="0" y="27"/>
                    </a:cubicBezTo>
                    <a:cubicBezTo>
                      <a:pt x="3" y="67"/>
                      <a:pt x="3" y="67"/>
                      <a:pt x="3" y="67"/>
                    </a:cubicBezTo>
                    <a:cubicBezTo>
                      <a:pt x="4" y="68"/>
                      <a:pt x="4" y="69"/>
                      <a:pt x="5" y="70"/>
                    </a:cubicBezTo>
                    <a:cubicBezTo>
                      <a:pt x="6" y="71"/>
                      <a:pt x="7" y="71"/>
                      <a:pt x="9" y="71"/>
                    </a:cubicBezTo>
                    <a:cubicBezTo>
                      <a:pt x="58" y="67"/>
                      <a:pt x="58" y="67"/>
                      <a:pt x="58" y="67"/>
                    </a:cubicBezTo>
                    <a:cubicBezTo>
                      <a:pt x="59" y="67"/>
                      <a:pt x="60" y="67"/>
                      <a:pt x="61" y="66"/>
                    </a:cubicBezTo>
                    <a:cubicBezTo>
                      <a:pt x="62" y="65"/>
                      <a:pt x="62" y="63"/>
                      <a:pt x="62" y="62"/>
                    </a:cubicBezTo>
                    <a:lnTo>
                      <a:pt x="57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17" name="矩形 216"/>
            <p:cNvSpPr/>
            <p:nvPr/>
          </p:nvSpPr>
          <p:spPr>
            <a:xfrm>
              <a:off x="1474665" y="5216836"/>
              <a:ext cx="696433" cy="7758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18" name="矩形 217"/>
            <p:cNvSpPr/>
            <p:nvPr/>
          </p:nvSpPr>
          <p:spPr>
            <a:xfrm>
              <a:off x="1496663" y="5341458"/>
              <a:ext cx="641024" cy="6913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19" name="矩形 218"/>
            <p:cNvSpPr/>
            <p:nvPr/>
          </p:nvSpPr>
          <p:spPr>
            <a:xfrm>
              <a:off x="1533631" y="5466754"/>
              <a:ext cx="573205" cy="6782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sp>
          <p:nvSpPr>
            <p:cNvPr id="220" name="弦形 219"/>
            <p:cNvSpPr/>
            <p:nvPr/>
          </p:nvSpPr>
          <p:spPr>
            <a:xfrm rot="19203826">
              <a:off x="1582239" y="5325694"/>
              <a:ext cx="482444" cy="482444"/>
            </a:xfrm>
            <a:prstGeom prst="chord">
              <a:avLst>
                <a:gd name="adj1" fmla="val 2700000"/>
                <a:gd name="adj2" fmla="val 12871001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</p:grpSp>
      <p:pic>
        <p:nvPicPr>
          <p:cNvPr id="471" name="图片 470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99700" l="0" r="97898">
                        <a14:foregroundMark x1="70571" y1="23400" x2="70571" y2="23400"/>
                        <a14:foregroundMark x1="73874" y1="21400" x2="73874" y2="21400"/>
                        <a14:foregroundMark x1="72523" y1="23500" x2="72523" y2="23500"/>
                        <a14:foregroundMark x1="71471" y1="24800" x2="71471" y2="24800"/>
                        <a14:foregroundMark x1="71471" y1="24800" x2="71471" y2="24800"/>
                        <a14:foregroundMark x1="71471" y1="24800" x2="71471" y2="24800"/>
                        <a14:backgroundMark x1="24925" y1="35400" x2="24925" y2="35400"/>
                        <a14:backgroundMark x1="69369" y1="76600" x2="69369" y2="76600"/>
                        <a14:backgroundMark x1="83033" y1="56100" x2="83033" y2="561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0769"/>
          <a:stretch>
            <a:fillRect/>
          </a:stretch>
        </p:blipFill>
        <p:spPr>
          <a:xfrm>
            <a:off x="10561763" y="5086336"/>
            <a:ext cx="793705" cy="1721416"/>
          </a:xfrm>
          <a:prstGeom prst="rect">
            <a:avLst/>
          </a:prstGeom>
        </p:spPr>
      </p:pic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108641" y="1779351"/>
            <a:ext cx="7582955" cy="3893235"/>
            <a:chOff x="1285171" y="975925"/>
            <a:chExt cx="6095118" cy="3129351"/>
          </a:xfrm>
        </p:grpSpPr>
        <p:sp>
          <p:nvSpPr>
            <p:cNvPr id="7" name="Freeform 5"/>
            <p:cNvSpPr/>
            <p:nvPr/>
          </p:nvSpPr>
          <p:spPr bwMode="auto">
            <a:xfrm>
              <a:off x="1928813" y="3252788"/>
              <a:ext cx="3197225" cy="852488"/>
            </a:xfrm>
            <a:custGeom>
              <a:avLst/>
              <a:gdLst>
                <a:gd name="T0" fmla="*/ 0 w 251"/>
                <a:gd name="T1" fmla="*/ 67 h 67"/>
                <a:gd name="T2" fmla="*/ 0 w 251"/>
                <a:gd name="T3" fmla="*/ 67 h 67"/>
                <a:gd name="T4" fmla="*/ 251 w 251"/>
                <a:gd name="T5" fmla="*/ 67 h 67"/>
                <a:gd name="T6" fmla="*/ 251 w 251"/>
                <a:gd name="T7" fmla="*/ 0 h 67"/>
                <a:gd name="T8" fmla="*/ 0 w 251"/>
                <a:gd name="T9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1" h="67">
                  <a:moveTo>
                    <a:pt x="0" y="67"/>
                  </a:moveTo>
                  <a:cubicBezTo>
                    <a:pt x="0" y="67"/>
                    <a:pt x="0" y="67"/>
                    <a:pt x="0" y="67"/>
                  </a:cubicBezTo>
                  <a:cubicBezTo>
                    <a:pt x="251" y="67"/>
                    <a:pt x="251" y="67"/>
                    <a:pt x="251" y="67"/>
                  </a:cubicBezTo>
                  <a:cubicBezTo>
                    <a:pt x="251" y="0"/>
                    <a:pt x="251" y="0"/>
                    <a:pt x="251" y="0"/>
                  </a:cubicBezTo>
                  <a:cubicBezTo>
                    <a:pt x="178" y="38"/>
                    <a:pt x="92" y="62"/>
                    <a:pt x="0" y="67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/>
            <p:nvPr/>
          </p:nvSpPr>
          <p:spPr bwMode="auto">
            <a:xfrm>
              <a:off x="5176838" y="2794000"/>
              <a:ext cx="750888" cy="1311275"/>
            </a:xfrm>
            <a:custGeom>
              <a:avLst/>
              <a:gdLst>
                <a:gd name="T0" fmla="*/ 0 w 59"/>
                <a:gd name="T1" fmla="*/ 36 h 103"/>
                <a:gd name="T2" fmla="*/ 0 w 59"/>
                <a:gd name="T3" fmla="*/ 103 h 103"/>
                <a:gd name="T4" fmla="*/ 59 w 59"/>
                <a:gd name="T5" fmla="*/ 103 h 103"/>
                <a:gd name="T6" fmla="*/ 59 w 59"/>
                <a:gd name="T7" fmla="*/ 0 h 103"/>
                <a:gd name="T8" fmla="*/ 0 w 59"/>
                <a:gd name="T9" fmla="*/ 36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103">
                  <a:moveTo>
                    <a:pt x="0" y="36"/>
                  </a:moveTo>
                  <a:cubicBezTo>
                    <a:pt x="0" y="103"/>
                    <a:pt x="0" y="103"/>
                    <a:pt x="0" y="103"/>
                  </a:cubicBezTo>
                  <a:cubicBezTo>
                    <a:pt x="59" y="103"/>
                    <a:pt x="59" y="103"/>
                    <a:pt x="59" y="10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41" y="13"/>
                    <a:pt x="21" y="25"/>
                    <a:pt x="0" y="36"/>
                  </a:cubicBezTo>
                  <a:close/>
                </a:path>
              </a:pathLst>
            </a:custGeom>
            <a:solidFill>
              <a:srgbClr val="01B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6985001" y="1495425"/>
              <a:ext cx="395288" cy="2609850"/>
            </a:xfrm>
            <a:custGeom>
              <a:avLst/>
              <a:gdLst>
                <a:gd name="T0" fmla="*/ 31 w 31"/>
                <a:gd name="T1" fmla="*/ 0 h 205"/>
                <a:gd name="T2" fmla="*/ 28 w 31"/>
                <a:gd name="T3" fmla="*/ 0 h 205"/>
                <a:gd name="T4" fmla="*/ 0 w 31"/>
                <a:gd name="T5" fmla="*/ 36 h 205"/>
                <a:gd name="T6" fmla="*/ 0 w 31"/>
                <a:gd name="T7" fmla="*/ 205 h 205"/>
                <a:gd name="T8" fmla="*/ 31 w 31"/>
                <a:gd name="T9" fmla="*/ 205 h 205"/>
                <a:gd name="T10" fmla="*/ 31 w 31"/>
                <a:gd name="T11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205">
                  <a:moveTo>
                    <a:pt x="31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0" y="13"/>
                    <a:pt x="11" y="25"/>
                    <a:pt x="0" y="36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31" y="205"/>
                    <a:pt x="31" y="205"/>
                    <a:pt x="31" y="205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FF7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5992813" y="1954213"/>
              <a:ext cx="941388" cy="2151063"/>
            </a:xfrm>
            <a:custGeom>
              <a:avLst/>
              <a:gdLst>
                <a:gd name="T0" fmla="*/ 0 w 74"/>
                <a:gd name="T1" fmla="*/ 66 h 169"/>
                <a:gd name="T2" fmla="*/ 0 w 74"/>
                <a:gd name="T3" fmla="*/ 169 h 169"/>
                <a:gd name="T4" fmla="*/ 74 w 74"/>
                <a:gd name="T5" fmla="*/ 169 h 169"/>
                <a:gd name="T6" fmla="*/ 74 w 74"/>
                <a:gd name="T7" fmla="*/ 0 h 169"/>
                <a:gd name="T8" fmla="*/ 0 w 74"/>
                <a:gd name="T9" fmla="*/ 66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169">
                  <a:moveTo>
                    <a:pt x="0" y="66"/>
                  </a:moveTo>
                  <a:cubicBezTo>
                    <a:pt x="0" y="169"/>
                    <a:pt x="0" y="169"/>
                    <a:pt x="0" y="169"/>
                  </a:cubicBezTo>
                  <a:cubicBezTo>
                    <a:pt x="74" y="169"/>
                    <a:pt x="74" y="169"/>
                    <a:pt x="74" y="169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52" y="24"/>
                    <a:pt x="28" y="47"/>
                    <a:pt x="0" y="66"/>
                  </a:cubicBezTo>
                  <a:close/>
                </a:path>
              </a:pathLst>
            </a:custGeom>
            <a:solidFill>
              <a:srgbClr val="FF3B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11" name="Freeform 9"/>
            <p:cNvSpPr/>
            <p:nvPr/>
          </p:nvSpPr>
          <p:spPr bwMode="auto">
            <a:xfrm>
              <a:off x="2642395" y="3112016"/>
              <a:ext cx="1566863" cy="700088"/>
            </a:xfrm>
            <a:custGeom>
              <a:avLst/>
              <a:gdLst>
                <a:gd name="T0" fmla="*/ 971 w 987"/>
                <a:gd name="T1" fmla="*/ 441 h 441"/>
                <a:gd name="T2" fmla="*/ 554 w 987"/>
                <a:gd name="T3" fmla="*/ 24 h 441"/>
                <a:gd name="T4" fmla="*/ 0 w 987"/>
                <a:gd name="T5" fmla="*/ 24 h 441"/>
                <a:gd name="T6" fmla="*/ 0 w 987"/>
                <a:gd name="T7" fmla="*/ 0 h 441"/>
                <a:gd name="T8" fmla="*/ 562 w 987"/>
                <a:gd name="T9" fmla="*/ 0 h 441"/>
                <a:gd name="T10" fmla="*/ 987 w 987"/>
                <a:gd name="T11" fmla="*/ 433 h 441"/>
                <a:gd name="T12" fmla="*/ 971 w 987"/>
                <a:gd name="T13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7" h="441">
                  <a:moveTo>
                    <a:pt x="971" y="441"/>
                  </a:moveTo>
                  <a:lnTo>
                    <a:pt x="554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562" y="0"/>
                  </a:lnTo>
                  <a:lnTo>
                    <a:pt x="987" y="433"/>
                  </a:lnTo>
                  <a:lnTo>
                    <a:pt x="971" y="441"/>
                  </a:lnTo>
                  <a:close/>
                </a:path>
              </a:pathLst>
            </a:custGeom>
            <a:solidFill>
              <a:srgbClr val="FFC000"/>
            </a:solidFill>
            <a:ln w="9525">
              <a:solidFill>
                <a:srgbClr val="FFC000"/>
              </a:solidFill>
              <a:miter lim="800000"/>
            </a:ln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12" name="Freeform 10"/>
            <p:cNvSpPr/>
            <p:nvPr/>
          </p:nvSpPr>
          <p:spPr bwMode="auto">
            <a:xfrm>
              <a:off x="3954463" y="2463800"/>
              <a:ext cx="1566863" cy="698500"/>
            </a:xfrm>
            <a:custGeom>
              <a:avLst/>
              <a:gdLst>
                <a:gd name="T0" fmla="*/ 971 w 987"/>
                <a:gd name="T1" fmla="*/ 440 h 440"/>
                <a:gd name="T2" fmla="*/ 553 w 987"/>
                <a:gd name="T3" fmla="*/ 24 h 440"/>
                <a:gd name="T4" fmla="*/ 0 w 987"/>
                <a:gd name="T5" fmla="*/ 24 h 440"/>
                <a:gd name="T6" fmla="*/ 0 w 987"/>
                <a:gd name="T7" fmla="*/ 0 h 440"/>
                <a:gd name="T8" fmla="*/ 561 w 987"/>
                <a:gd name="T9" fmla="*/ 0 h 440"/>
                <a:gd name="T10" fmla="*/ 987 w 987"/>
                <a:gd name="T11" fmla="*/ 432 h 440"/>
                <a:gd name="T12" fmla="*/ 971 w 987"/>
                <a:gd name="T13" fmla="*/ 440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7" h="440">
                  <a:moveTo>
                    <a:pt x="971" y="440"/>
                  </a:moveTo>
                  <a:lnTo>
                    <a:pt x="553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561" y="0"/>
                  </a:lnTo>
                  <a:lnTo>
                    <a:pt x="987" y="432"/>
                  </a:lnTo>
                  <a:lnTo>
                    <a:pt x="971" y="440"/>
                  </a:lnTo>
                  <a:close/>
                </a:path>
              </a:pathLst>
            </a:custGeom>
            <a:solidFill>
              <a:srgbClr val="01B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11"/>
            <p:cNvSpPr/>
            <p:nvPr/>
          </p:nvSpPr>
          <p:spPr bwMode="auto">
            <a:xfrm>
              <a:off x="4857751" y="1890713"/>
              <a:ext cx="1579563" cy="700088"/>
            </a:xfrm>
            <a:custGeom>
              <a:avLst/>
              <a:gdLst>
                <a:gd name="T0" fmla="*/ 979 w 995"/>
                <a:gd name="T1" fmla="*/ 441 h 441"/>
                <a:gd name="T2" fmla="*/ 554 w 995"/>
                <a:gd name="T3" fmla="*/ 16 h 441"/>
                <a:gd name="T4" fmla="*/ 0 w 995"/>
                <a:gd name="T5" fmla="*/ 16 h 441"/>
                <a:gd name="T6" fmla="*/ 0 w 995"/>
                <a:gd name="T7" fmla="*/ 0 h 441"/>
                <a:gd name="T8" fmla="*/ 562 w 995"/>
                <a:gd name="T9" fmla="*/ 0 h 441"/>
                <a:gd name="T10" fmla="*/ 995 w 995"/>
                <a:gd name="T11" fmla="*/ 425 h 441"/>
                <a:gd name="T12" fmla="*/ 979 w 995"/>
                <a:gd name="T13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5" h="441">
                  <a:moveTo>
                    <a:pt x="979" y="441"/>
                  </a:moveTo>
                  <a:lnTo>
                    <a:pt x="554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562" y="0"/>
                  </a:lnTo>
                  <a:lnTo>
                    <a:pt x="995" y="425"/>
                  </a:lnTo>
                  <a:lnTo>
                    <a:pt x="979" y="441"/>
                  </a:lnTo>
                  <a:close/>
                </a:path>
              </a:pathLst>
            </a:custGeom>
            <a:solidFill>
              <a:srgbClr val="FF3B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14" name="Freeform 12"/>
            <p:cNvSpPr/>
            <p:nvPr/>
          </p:nvSpPr>
          <p:spPr bwMode="auto">
            <a:xfrm>
              <a:off x="5559426" y="1152525"/>
              <a:ext cx="1566863" cy="700088"/>
            </a:xfrm>
            <a:custGeom>
              <a:avLst/>
              <a:gdLst>
                <a:gd name="T0" fmla="*/ 979 w 987"/>
                <a:gd name="T1" fmla="*/ 441 h 441"/>
                <a:gd name="T2" fmla="*/ 553 w 987"/>
                <a:gd name="T3" fmla="*/ 16 h 441"/>
                <a:gd name="T4" fmla="*/ 0 w 987"/>
                <a:gd name="T5" fmla="*/ 16 h 441"/>
                <a:gd name="T6" fmla="*/ 0 w 987"/>
                <a:gd name="T7" fmla="*/ 0 h 441"/>
                <a:gd name="T8" fmla="*/ 561 w 987"/>
                <a:gd name="T9" fmla="*/ 0 h 441"/>
                <a:gd name="T10" fmla="*/ 987 w 987"/>
                <a:gd name="T11" fmla="*/ 425 h 441"/>
                <a:gd name="T12" fmla="*/ 979 w 987"/>
                <a:gd name="T13" fmla="*/ 44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7" h="441">
                  <a:moveTo>
                    <a:pt x="979" y="441"/>
                  </a:moveTo>
                  <a:lnTo>
                    <a:pt x="553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561" y="0"/>
                  </a:lnTo>
                  <a:lnTo>
                    <a:pt x="987" y="425"/>
                  </a:lnTo>
                  <a:lnTo>
                    <a:pt x="979" y="441"/>
                  </a:lnTo>
                  <a:close/>
                </a:path>
              </a:pathLst>
            </a:custGeom>
            <a:solidFill>
              <a:srgbClr val="FF7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5" name="Oval 13"/>
            <p:cNvSpPr>
              <a:spLocks noChangeArrowheads="1"/>
            </p:cNvSpPr>
            <p:nvPr/>
          </p:nvSpPr>
          <p:spPr bwMode="auto">
            <a:xfrm>
              <a:off x="2527301" y="3073400"/>
              <a:ext cx="127000" cy="128588"/>
            </a:xfrm>
            <a:prstGeom prst="ellipse">
              <a:avLst/>
            </a:prstGeom>
            <a:solidFill>
              <a:srgbClr val="FF7450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16" name="Oval 14"/>
            <p:cNvSpPr>
              <a:spLocks noChangeArrowheads="1"/>
            </p:cNvSpPr>
            <p:nvPr/>
          </p:nvSpPr>
          <p:spPr bwMode="auto">
            <a:xfrm>
              <a:off x="4806951" y="1839913"/>
              <a:ext cx="128588" cy="139700"/>
            </a:xfrm>
            <a:prstGeom prst="ellipse">
              <a:avLst/>
            </a:prstGeom>
            <a:solidFill>
              <a:srgbClr val="1DA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17" name="Oval 15"/>
            <p:cNvSpPr>
              <a:spLocks noChangeArrowheads="1"/>
            </p:cNvSpPr>
            <p:nvPr/>
          </p:nvSpPr>
          <p:spPr bwMode="auto">
            <a:xfrm>
              <a:off x="3954463" y="2424113"/>
              <a:ext cx="127000" cy="128588"/>
            </a:xfrm>
            <a:prstGeom prst="ellipse">
              <a:avLst/>
            </a:prstGeom>
            <a:solidFill>
              <a:srgbClr val="E4A7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8" name="Oval 16"/>
            <p:cNvSpPr>
              <a:spLocks noChangeArrowheads="1"/>
            </p:cNvSpPr>
            <p:nvPr/>
          </p:nvSpPr>
          <p:spPr bwMode="auto">
            <a:xfrm>
              <a:off x="5495926" y="1101725"/>
              <a:ext cx="127000" cy="139700"/>
            </a:xfrm>
            <a:prstGeom prst="ellipse">
              <a:avLst/>
            </a:prstGeom>
            <a:solidFill>
              <a:srgbClr val="94B8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9" name="TextBox 692"/>
            <p:cNvSpPr txBox="1"/>
            <p:nvPr/>
          </p:nvSpPr>
          <p:spPr bwMode="auto">
            <a:xfrm>
              <a:off x="4279776" y="975925"/>
              <a:ext cx="1014292" cy="29686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pc="3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0" name="TextBox 692"/>
            <p:cNvSpPr txBox="1"/>
            <p:nvPr/>
          </p:nvSpPr>
          <p:spPr bwMode="auto">
            <a:xfrm>
              <a:off x="3230775" y="1732954"/>
              <a:ext cx="1014292" cy="29686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pc="3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1" name="TextBox 692"/>
            <p:cNvSpPr txBox="1"/>
            <p:nvPr/>
          </p:nvSpPr>
          <p:spPr bwMode="auto">
            <a:xfrm>
              <a:off x="2374012" y="2303741"/>
              <a:ext cx="1014292" cy="29686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pc="3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2" name="TextBox 692"/>
            <p:cNvSpPr txBox="1"/>
            <p:nvPr/>
          </p:nvSpPr>
          <p:spPr bwMode="auto">
            <a:xfrm>
              <a:off x="1285171" y="2953028"/>
              <a:ext cx="1014292" cy="29686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pc="3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23" name="图片 22"/>
          <p:cNvPicPr>
            <a:picLocks noChangeAspect="1"/>
          </p:cNvPicPr>
          <p:nvPr/>
        </p:nvPicPr>
        <p:blipFill rotWithShape="1">
          <a:blip r:embed="rId2" cstate="print"/>
          <a:srcRect l="1749" r="2265"/>
          <a:stretch>
            <a:fillRect/>
          </a:stretch>
        </p:blipFill>
        <p:spPr>
          <a:xfrm>
            <a:off x="8238762" y="1649167"/>
            <a:ext cx="3456384" cy="2475146"/>
          </a:xfrm>
          <a:prstGeom prst="rect">
            <a:avLst/>
          </a:prstGeom>
        </p:spPr>
      </p:pic>
      <p:sp>
        <p:nvSpPr>
          <p:cNvPr id="24" name="矩形 23"/>
          <p:cNvSpPr/>
          <p:nvPr/>
        </p:nvSpPr>
        <p:spPr>
          <a:xfrm>
            <a:off x="7974902" y="3989441"/>
            <a:ext cx="3984104" cy="23391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我们工作室致力于专业</a:t>
            </a:r>
            <a:r>
              <a: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的发布，课件及汇报</a:t>
            </a:r>
            <a:r>
              <a: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美化，并为您提供专业的</a:t>
            </a:r>
            <a:r>
              <a: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性定制服务。我们秉承“给您演示的光和热”的理念，为您分担职场压力</a:t>
            </a:r>
            <a:r>
              <a: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让您的每一次亮相都信心澎湃。专业的团队，完善的售后，热情的服务，科学严谨的逻辑，一丝不苟的工作态度，定能使您的发展如虎添翼！</a:t>
            </a:r>
            <a:endParaRPr lang="en-US" altLang="zh-CN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除了模板的发布与定制，我们还为您准备了使用教程，希望能够能够更好的使用该作品，授人以鱼不如授人以渔，希望您在下班之余，能够和我们一起进步，共同感受</a:t>
            </a:r>
            <a:r>
              <a: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巨大魅力与价值。我们诚祝您在工作中事事顺心，步步高升！最后让我们谨记：最重要的不是</a:t>
            </a:r>
            <a:r>
              <a: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是你。</a:t>
            </a:r>
            <a:endParaRPr lang="en-US" altLang="zh-CN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1658230" y="1703731"/>
            <a:ext cx="9357895" cy="4325842"/>
            <a:chOff x="1658230" y="1703731"/>
            <a:chExt cx="9357895" cy="4325842"/>
          </a:xfrm>
        </p:grpSpPr>
        <p:grpSp>
          <p:nvGrpSpPr>
            <p:cNvPr id="7" name="组合 6"/>
            <p:cNvGrpSpPr/>
            <p:nvPr/>
          </p:nvGrpSpPr>
          <p:grpSpPr>
            <a:xfrm>
              <a:off x="1780408" y="1772816"/>
              <a:ext cx="9235717" cy="4256757"/>
              <a:chOff x="1703388" y="1260475"/>
              <a:chExt cx="6902449" cy="3181350"/>
            </a:xfrm>
          </p:grpSpPr>
          <p:pic>
            <p:nvPicPr>
              <p:cNvPr id="12" name="Picture 19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19613" y="3889375"/>
                <a:ext cx="2500312" cy="5524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" name="Picture 19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30500" y="3890963"/>
                <a:ext cx="2498725" cy="5492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4" name="Freeform 104"/>
              <p:cNvSpPr/>
              <p:nvPr/>
            </p:nvSpPr>
            <p:spPr bwMode="auto">
              <a:xfrm>
                <a:off x="4976813" y="3197225"/>
                <a:ext cx="863600" cy="938213"/>
              </a:xfrm>
              <a:custGeom>
                <a:avLst/>
                <a:gdLst>
                  <a:gd name="T0" fmla="*/ 0 w 876"/>
                  <a:gd name="T1" fmla="*/ 29138806 h 952"/>
                  <a:gd name="T2" fmla="*/ 0 w 876"/>
                  <a:gd name="T3" fmla="*/ 477871696 h 952"/>
                  <a:gd name="T4" fmla="*/ 851127092 w 876"/>
                  <a:gd name="T5" fmla="*/ 924662129 h 952"/>
                  <a:gd name="T6" fmla="*/ 691784020 w 876"/>
                  <a:gd name="T7" fmla="*/ 0 h 952"/>
                  <a:gd name="T8" fmla="*/ 367267589 w 876"/>
                  <a:gd name="T9" fmla="*/ 0 h 952"/>
                  <a:gd name="T10" fmla="*/ 410017760 w 876"/>
                  <a:gd name="T11" fmla="*/ 244763215 h 952"/>
                  <a:gd name="T12" fmla="*/ 0 w 876"/>
                  <a:gd name="T13" fmla="*/ 29138806 h 9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76" h="952">
                    <a:moveTo>
                      <a:pt x="0" y="30"/>
                    </a:moveTo>
                    <a:lnTo>
                      <a:pt x="0" y="492"/>
                    </a:lnTo>
                    <a:lnTo>
                      <a:pt x="876" y="952"/>
                    </a:lnTo>
                    <a:lnTo>
                      <a:pt x="712" y="0"/>
                    </a:lnTo>
                    <a:lnTo>
                      <a:pt x="378" y="0"/>
                    </a:lnTo>
                    <a:lnTo>
                      <a:pt x="422" y="252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FF3B7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5" name="Freeform 105"/>
              <p:cNvSpPr/>
              <p:nvPr/>
            </p:nvSpPr>
            <p:spPr bwMode="auto">
              <a:xfrm>
                <a:off x="4976813" y="3197225"/>
                <a:ext cx="863600" cy="938213"/>
              </a:xfrm>
              <a:custGeom>
                <a:avLst/>
                <a:gdLst>
                  <a:gd name="T0" fmla="*/ 0 w 876"/>
                  <a:gd name="T1" fmla="*/ 29138806 h 952"/>
                  <a:gd name="T2" fmla="*/ 0 w 876"/>
                  <a:gd name="T3" fmla="*/ 477871696 h 952"/>
                  <a:gd name="T4" fmla="*/ 851127092 w 876"/>
                  <a:gd name="T5" fmla="*/ 924662129 h 952"/>
                  <a:gd name="T6" fmla="*/ 691784020 w 876"/>
                  <a:gd name="T7" fmla="*/ 0 h 952"/>
                  <a:gd name="T8" fmla="*/ 367267589 w 876"/>
                  <a:gd name="T9" fmla="*/ 0 h 952"/>
                  <a:gd name="T10" fmla="*/ 410017760 w 876"/>
                  <a:gd name="T11" fmla="*/ 244763215 h 952"/>
                  <a:gd name="T12" fmla="*/ 0 w 876"/>
                  <a:gd name="T13" fmla="*/ 29138806 h 9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76" h="952">
                    <a:moveTo>
                      <a:pt x="0" y="30"/>
                    </a:moveTo>
                    <a:lnTo>
                      <a:pt x="0" y="492"/>
                    </a:lnTo>
                    <a:lnTo>
                      <a:pt x="876" y="952"/>
                    </a:lnTo>
                    <a:lnTo>
                      <a:pt x="712" y="0"/>
                    </a:lnTo>
                    <a:lnTo>
                      <a:pt x="378" y="0"/>
                    </a:lnTo>
                    <a:lnTo>
                      <a:pt x="422" y="252"/>
                    </a:lnTo>
                    <a:lnTo>
                      <a:pt x="0" y="3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Freeform 106"/>
              <p:cNvSpPr/>
              <p:nvPr/>
            </p:nvSpPr>
            <p:spPr bwMode="auto">
              <a:xfrm>
                <a:off x="3970338" y="3197225"/>
                <a:ext cx="866775" cy="938213"/>
              </a:xfrm>
              <a:custGeom>
                <a:avLst/>
                <a:gdLst>
                  <a:gd name="T0" fmla="*/ 854256123 w 878"/>
                  <a:gd name="T1" fmla="*/ 29138806 h 952"/>
                  <a:gd name="T2" fmla="*/ 443668360 w 878"/>
                  <a:gd name="T3" fmla="*/ 244763215 h 952"/>
                  <a:gd name="T4" fmla="*/ 484532161 w 878"/>
                  <a:gd name="T5" fmla="*/ 0 h 952"/>
                  <a:gd name="T6" fmla="*/ 159564590 w 878"/>
                  <a:gd name="T7" fmla="*/ 0 h 952"/>
                  <a:gd name="T8" fmla="*/ 0 w 878"/>
                  <a:gd name="T9" fmla="*/ 924662129 h 952"/>
                  <a:gd name="T10" fmla="*/ 854256123 w 878"/>
                  <a:gd name="T11" fmla="*/ 477871696 h 952"/>
                  <a:gd name="T12" fmla="*/ 854256123 w 878"/>
                  <a:gd name="T13" fmla="*/ 29138806 h 9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78" h="952">
                    <a:moveTo>
                      <a:pt x="878" y="30"/>
                    </a:moveTo>
                    <a:lnTo>
                      <a:pt x="456" y="252"/>
                    </a:lnTo>
                    <a:lnTo>
                      <a:pt x="498" y="0"/>
                    </a:lnTo>
                    <a:lnTo>
                      <a:pt x="164" y="0"/>
                    </a:lnTo>
                    <a:lnTo>
                      <a:pt x="0" y="952"/>
                    </a:lnTo>
                    <a:lnTo>
                      <a:pt x="878" y="492"/>
                    </a:lnTo>
                    <a:lnTo>
                      <a:pt x="878" y="30"/>
                    </a:lnTo>
                    <a:close/>
                  </a:path>
                </a:pathLst>
              </a:custGeom>
              <a:solidFill>
                <a:srgbClr val="01B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7" name="Freeform 107"/>
              <p:cNvSpPr/>
              <p:nvPr/>
            </p:nvSpPr>
            <p:spPr bwMode="auto">
              <a:xfrm>
                <a:off x="3970338" y="3197225"/>
                <a:ext cx="866775" cy="938213"/>
              </a:xfrm>
              <a:custGeom>
                <a:avLst/>
                <a:gdLst>
                  <a:gd name="T0" fmla="*/ 878 w 878"/>
                  <a:gd name="T1" fmla="*/ 30 h 952"/>
                  <a:gd name="T2" fmla="*/ 456 w 878"/>
                  <a:gd name="T3" fmla="*/ 252 h 952"/>
                  <a:gd name="T4" fmla="*/ 498 w 878"/>
                  <a:gd name="T5" fmla="*/ 0 h 952"/>
                  <a:gd name="T6" fmla="*/ 164 w 878"/>
                  <a:gd name="T7" fmla="*/ 0 h 952"/>
                  <a:gd name="T8" fmla="*/ 0 w 878"/>
                  <a:gd name="T9" fmla="*/ 952 h 952"/>
                  <a:gd name="T10" fmla="*/ 878 w 878"/>
                  <a:gd name="T11" fmla="*/ 492 h 952"/>
                  <a:gd name="T12" fmla="*/ 878 w 878"/>
                  <a:gd name="T13" fmla="*/ 30 h 9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78" h="952">
                    <a:moveTo>
                      <a:pt x="878" y="30"/>
                    </a:moveTo>
                    <a:lnTo>
                      <a:pt x="456" y="252"/>
                    </a:lnTo>
                    <a:lnTo>
                      <a:pt x="498" y="0"/>
                    </a:lnTo>
                    <a:lnTo>
                      <a:pt x="164" y="0"/>
                    </a:lnTo>
                    <a:lnTo>
                      <a:pt x="0" y="952"/>
                    </a:lnTo>
                    <a:lnTo>
                      <a:pt x="878" y="492"/>
                    </a:lnTo>
                    <a:lnTo>
                      <a:pt x="878" y="3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zh-CN" altLang="en-US">
                  <a:solidFill>
                    <a:prstClr val="black"/>
                  </a:solidFill>
                  <a:effectLst>
                    <a:outerShdw blurRad="60007" dist="310007" dir="7680000" sy="30000" kx="1300200" algn="ctr" rotWithShape="0">
                      <a:prstClr val="black">
                        <a:alpha val="32000"/>
                      </a:prstClr>
                    </a:outerShdw>
                  </a:effectLst>
                </a:endParaRPr>
              </a:p>
            </p:txBody>
          </p:sp>
          <p:sp>
            <p:nvSpPr>
              <p:cNvPr id="18" name="Freeform 108"/>
              <p:cNvSpPr/>
              <p:nvPr/>
            </p:nvSpPr>
            <p:spPr bwMode="auto">
              <a:xfrm>
                <a:off x="4905375" y="1260475"/>
                <a:ext cx="1511300" cy="1778000"/>
              </a:xfrm>
              <a:custGeom>
                <a:avLst/>
                <a:gdLst>
                  <a:gd name="T0" fmla="*/ 460241095 w 1534"/>
                  <a:gd name="T1" fmla="*/ 934440516 h 1804"/>
                  <a:gd name="T2" fmla="*/ 0 w 1534"/>
                  <a:gd name="T3" fmla="*/ 0 h 1804"/>
                  <a:gd name="T4" fmla="*/ 0 w 1534"/>
                  <a:gd name="T5" fmla="*/ 679947018 h 1804"/>
                  <a:gd name="T6" fmla="*/ 238859290 w 1534"/>
                  <a:gd name="T7" fmla="*/ 1165622896 h 1804"/>
                  <a:gd name="T8" fmla="*/ 774835825 w 1534"/>
                  <a:gd name="T9" fmla="*/ 1243330563 h 1804"/>
                  <a:gd name="T10" fmla="*/ 388389322 w 1534"/>
                  <a:gd name="T11" fmla="*/ 1622157906 h 1804"/>
                  <a:gd name="T12" fmla="*/ 409750474 w 1534"/>
                  <a:gd name="T13" fmla="*/ 1752319530 h 1804"/>
                  <a:gd name="T14" fmla="*/ 802023462 w 1534"/>
                  <a:gd name="T15" fmla="*/ 1752319530 h 1804"/>
                  <a:gd name="T16" fmla="*/ 1489471863 w 1534"/>
                  <a:gd name="T17" fmla="*/ 1084029057 h 1804"/>
                  <a:gd name="T18" fmla="*/ 460241095 w 1534"/>
                  <a:gd name="T19" fmla="*/ 934440516 h 180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534" h="1804">
                    <a:moveTo>
                      <a:pt x="474" y="962"/>
                    </a:moveTo>
                    <a:lnTo>
                      <a:pt x="0" y="0"/>
                    </a:lnTo>
                    <a:lnTo>
                      <a:pt x="0" y="700"/>
                    </a:lnTo>
                    <a:lnTo>
                      <a:pt x="246" y="1200"/>
                    </a:lnTo>
                    <a:lnTo>
                      <a:pt x="798" y="1280"/>
                    </a:lnTo>
                    <a:lnTo>
                      <a:pt x="400" y="1670"/>
                    </a:lnTo>
                    <a:lnTo>
                      <a:pt x="422" y="1804"/>
                    </a:lnTo>
                    <a:lnTo>
                      <a:pt x="826" y="1804"/>
                    </a:lnTo>
                    <a:lnTo>
                      <a:pt x="1534" y="1116"/>
                    </a:lnTo>
                    <a:lnTo>
                      <a:pt x="474" y="962"/>
                    </a:lnTo>
                    <a:close/>
                  </a:path>
                </a:pathLst>
              </a:custGeom>
              <a:solidFill>
                <a:srgbClr val="91AF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Freeform 109"/>
              <p:cNvSpPr/>
              <p:nvPr/>
            </p:nvSpPr>
            <p:spPr bwMode="auto">
              <a:xfrm>
                <a:off x="3394075" y="1260475"/>
                <a:ext cx="1511300" cy="1778000"/>
              </a:xfrm>
              <a:custGeom>
                <a:avLst/>
                <a:gdLst>
                  <a:gd name="T0" fmla="*/ 1029230767 w 1534"/>
                  <a:gd name="T1" fmla="*/ 934440516 h 1804"/>
                  <a:gd name="T2" fmla="*/ 0 w 1534"/>
                  <a:gd name="T3" fmla="*/ 1084029057 h 1804"/>
                  <a:gd name="T4" fmla="*/ 687448400 w 1534"/>
                  <a:gd name="T5" fmla="*/ 1752319530 h 1804"/>
                  <a:gd name="T6" fmla="*/ 1079721389 w 1534"/>
                  <a:gd name="T7" fmla="*/ 1752319530 h 1804"/>
                  <a:gd name="T8" fmla="*/ 1103024374 w 1534"/>
                  <a:gd name="T9" fmla="*/ 1622157906 h 1804"/>
                  <a:gd name="T10" fmla="*/ 714636037 w 1534"/>
                  <a:gd name="T11" fmla="*/ 1243330563 h 1804"/>
                  <a:gd name="T12" fmla="*/ 1250612572 w 1534"/>
                  <a:gd name="T13" fmla="*/ 1165622896 h 1804"/>
                  <a:gd name="T14" fmla="*/ 1489471863 w 1534"/>
                  <a:gd name="T15" fmla="*/ 679947018 h 1804"/>
                  <a:gd name="T16" fmla="*/ 1489471863 w 1534"/>
                  <a:gd name="T17" fmla="*/ 0 h 1804"/>
                  <a:gd name="T18" fmla="*/ 1029230767 w 1534"/>
                  <a:gd name="T19" fmla="*/ 934440516 h 180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534" h="1804">
                    <a:moveTo>
                      <a:pt x="1060" y="962"/>
                    </a:moveTo>
                    <a:lnTo>
                      <a:pt x="0" y="1116"/>
                    </a:lnTo>
                    <a:lnTo>
                      <a:pt x="708" y="1804"/>
                    </a:lnTo>
                    <a:lnTo>
                      <a:pt x="1112" y="1804"/>
                    </a:lnTo>
                    <a:lnTo>
                      <a:pt x="1136" y="1670"/>
                    </a:lnTo>
                    <a:lnTo>
                      <a:pt x="736" y="1280"/>
                    </a:lnTo>
                    <a:lnTo>
                      <a:pt x="1288" y="1200"/>
                    </a:lnTo>
                    <a:lnTo>
                      <a:pt x="1534" y="700"/>
                    </a:lnTo>
                    <a:lnTo>
                      <a:pt x="1534" y="0"/>
                    </a:lnTo>
                    <a:lnTo>
                      <a:pt x="1060" y="962"/>
                    </a:lnTo>
                    <a:close/>
                  </a:path>
                </a:pathLst>
              </a:custGeom>
              <a:solidFill>
                <a:srgbClr val="F8B2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矩形 1"/>
              <p:cNvSpPr>
                <a:spLocks noChangeArrowheads="1"/>
              </p:cNvSpPr>
              <p:nvPr/>
            </p:nvSpPr>
            <p:spPr bwMode="auto">
              <a:xfrm>
                <a:off x="6881812" y="1693167"/>
                <a:ext cx="1724025" cy="9660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just" eaLnBrk="1" hangingPunct="1">
                  <a:lnSpc>
                    <a:spcPct val="150000"/>
                  </a:lnSpc>
                </a:pPr>
                <a:r>
                  <a:rPr lang="zh-CN" altLang="en-US" sz="14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此处添加标题内容</a:t>
                </a:r>
                <a:endParaRPr lang="en-US" altLang="zh-CN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just" eaLnBrk="1" hangingPunct="1">
                  <a:lnSpc>
                    <a:spcPct val="150000"/>
                  </a:lnSpc>
                </a:pP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点击此处添加内容</a:t>
                </a:r>
                <a:endPara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just" eaLnBrk="1" hangingPunct="1">
                  <a:lnSpc>
                    <a:spcPct val="150000"/>
                  </a:lnSpc>
                </a:pP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点击此处添加内容</a:t>
                </a:r>
                <a:endParaRPr lang="zh-CN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just" eaLnBrk="1" hangingPunct="1">
                  <a:lnSpc>
                    <a:spcPct val="150000"/>
                  </a:lnSpc>
                </a:pPr>
                <a:endParaRPr lang="zh-CN" altLang="zh-CN" sz="1400" b="1" dirty="0">
                  <a:solidFill>
                    <a:srgbClr val="595959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1" name="任意多边形 20"/>
              <p:cNvSpPr/>
              <p:nvPr/>
            </p:nvSpPr>
            <p:spPr>
              <a:xfrm flipH="1">
                <a:off x="1703388" y="1665288"/>
                <a:ext cx="2736850" cy="615950"/>
              </a:xfrm>
              <a:custGeom>
                <a:avLst/>
                <a:gdLst>
                  <a:gd name="connsiteX0" fmla="*/ 0 w 1495425"/>
                  <a:gd name="connsiteY0" fmla="*/ 581025 h 581025"/>
                  <a:gd name="connsiteX1" fmla="*/ 333375 w 1495425"/>
                  <a:gd name="connsiteY1" fmla="*/ 0 h 581025"/>
                  <a:gd name="connsiteX2" fmla="*/ 1238250 w 1495425"/>
                  <a:gd name="connsiteY2" fmla="*/ 0 h 581025"/>
                  <a:gd name="connsiteX3" fmla="*/ 1495425 w 1495425"/>
                  <a:gd name="connsiteY3" fmla="*/ 0 h 581025"/>
                  <a:gd name="connsiteX0-1" fmla="*/ 0 w 1238249"/>
                  <a:gd name="connsiteY0-2" fmla="*/ 581025 h 581025"/>
                  <a:gd name="connsiteX1-3" fmla="*/ 333375 w 1238249"/>
                  <a:gd name="connsiteY1-4" fmla="*/ 0 h 581025"/>
                  <a:gd name="connsiteX2-5" fmla="*/ 1238250 w 1238249"/>
                  <a:gd name="connsiteY2-6" fmla="*/ 0 h 581025"/>
                  <a:gd name="connsiteX0-7" fmla="*/ 0 w 2896333"/>
                  <a:gd name="connsiteY0-8" fmla="*/ 581025 h 581025"/>
                  <a:gd name="connsiteX1-9" fmla="*/ 333375 w 2896333"/>
                  <a:gd name="connsiteY1-10" fmla="*/ 0 h 581025"/>
                  <a:gd name="connsiteX2-11" fmla="*/ 2896333 w 2896333"/>
                  <a:gd name="connsiteY2-12" fmla="*/ 0 h 581025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</a:cxnLst>
                <a:rect l="l" t="t" r="r" b="b"/>
                <a:pathLst>
                  <a:path w="2896333" h="581025">
                    <a:moveTo>
                      <a:pt x="0" y="581025"/>
                    </a:moveTo>
                    <a:lnTo>
                      <a:pt x="333375" y="0"/>
                    </a:lnTo>
                    <a:lnTo>
                      <a:pt x="2896333" y="0"/>
                    </a:lnTo>
                  </a:path>
                </a:pathLst>
              </a:custGeom>
              <a:noFill/>
              <a:ln w="12700">
                <a:solidFill>
                  <a:schemeClr val="bg1">
                    <a:lumMod val="75000"/>
                  </a:schemeClr>
                </a:solidFill>
                <a:prstDash val="dash"/>
                <a:headEnd type="oval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2" name="矩形 1"/>
              <p:cNvSpPr>
                <a:spLocks noChangeArrowheads="1"/>
              </p:cNvSpPr>
              <p:nvPr/>
            </p:nvSpPr>
            <p:spPr bwMode="auto">
              <a:xfrm>
                <a:off x="1927038" y="1658662"/>
                <a:ext cx="1724025" cy="9660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just" eaLnBrk="1" hangingPunct="1">
                  <a:lnSpc>
                    <a:spcPct val="150000"/>
                  </a:lnSpc>
                </a:pPr>
                <a:r>
                  <a:rPr lang="zh-CN" altLang="en-US" sz="14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此处添加标题内容</a:t>
                </a:r>
                <a:endParaRPr lang="en-US" altLang="zh-CN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just" eaLnBrk="1" hangingPunct="1">
                  <a:lnSpc>
                    <a:spcPct val="150000"/>
                  </a:lnSpc>
                </a:pP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点击此处添加内容</a:t>
                </a:r>
                <a:endPara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just" eaLnBrk="1" hangingPunct="1">
                  <a:lnSpc>
                    <a:spcPct val="150000"/>
                  </a:lnSpc>
                </a:pP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点击此处添加内容</a:t>
                </a:r>
                <a:endParaRPr lang="zh-CN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just" eaLnBrk="1" hangingPunct="1">
                  <a:lnSpc>
                    <a:spcPct val="150000"/>
                  </a:lnSpc>
                </a:pPr>
                <a:endParaRPr lang="zh-CN" altLang="zh-CN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3" name="任意多边形 22"/>
              <p:cNvSpPr/>
              <p:nvPr/>
            </p:nvSpPr>
            <p:spPr>
              <a:xfrm flipH="1">
                <a:off x="1712913" y="3190875"/>
                <a:ext cx="2433637" cy="620713"/>
              </a:xfrm>
              <a:custGeom>
                <a:avLst/>
                <a:gdLst>
                  <a:gd name="connsiteX0" fmla="*/ 0 w 1495425"/>
                  <a:gd name="connsiteY0" fmla="*/ 581025 h 581025"/>
                  <a:gd name="connsiteX1" fmla="*/ 333375 w 1495425"/>
                  <a:gd name="connsiteY1" fmla="*/ 0 h 581025"/>
                  <a:gd name="connsiteX2" fmla="*/ 1238250 w 1495425"/>
                  <a:gd name="connsiteY2" fmla="*/ 0 h 581025"/>
                  <a:gd name="connsiteX3" fmla="*/ 1495425 w 1495425"/>
                  <a:gd name="connsiteY3" fmla="*/ 0 h 581025"/>
                  <a:gd name="connsiteX0-1" fmla="*/ 0 w 1238249"/>
                  <a:gd name="connsiteY0-2" fmla="*/ 581025 h 581025"/>
                  <a:gd name="connsiteX1-3" fmla="*/ 333375 w 1238249"/>
                  <a:gd name="connsiteY1-4" fmla="*/ 0 h 581025"/>
                  <a:gd name="connsiteX2-5" fmla="*/ 1238250 w 1238249"/>
                  <a:gd name="connsiteY2-6" fmla="*/ 0 h 581025"/>
                  <a:gd name="connsiteX0-7" fmla="*/ 0 w 2528430"/>
                  <a:gd name="connsiteY0-8" fmla="*/ 587027 h 587027"/>
                  <a:gd name="connsiteX1-9" fmla="*/ 333375 w 2528430"/>
                  <a:gd name="connsiteY1-10" fmla="*/ 6002 h 587027"/>
                  <a:gd name="connsiteX2-11" fmla="*/ 2528430 w 2528430"/>
                  <a:gd name="connsiteY2-12" fmla="*/ 0 h 587027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</a:cxnLst>
                <a:rect l="l" t="t" r="r" b="b"/>
                <a:pathLst>
                  <a:path w="2528430" h="587027">
                    <a:moveTo>
                      <a:pt x="0" y="587027"/>
                    </a:moveTo>
                    <a:lnTo>
                      <a:pt x="333375" y="6002"/>
                    </a:lnTo>
                    <a:lnTo>
                      <a:pt x="2528430" y="0"/>
                    </a:lnTo>
                  </a:path>
                </a:pathLst>
              </a:custGeom>
              <a:noFill/>
              <a:ln w="12700">
                <a:solidFill>
                  <a:schemeClr val="bg1">
                    <a:lumMod val="75000"/>
                  </a:schemeClr>
                </a:solidFill>
                <a:prstDash val="dash"/>
                <a:headEnd type="oval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4" name="矩形 1"/>
              <p:cNvSpPr>
                <a:spLocks noChangeArrowheads="1"/>
              </p:cNvSpPr>
              <p:nvPr/>
            </p:nvSpPr>
            <p:spPr bwMode="auto">
              <a:xfrm>
                <a:off x="1990252" y="3210461"/>
                <a:ext cx="1724025" cy="7245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just" eaLnBrk="1" hangingPunct="1">
                  <a:lnSpc>
                    <a:spcPct val="150000"/>
                  </a:lnSpc>
                </a:pPr>
                <a:r>
                  <a:rPr lang="zh-CN" altLang="en-US" sz="14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此处添加标题内容</a:t>
                </a:r>
                <a:endParaRPr lang="en-US" altLang="zh-CN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just" eaLnBrk="1" hangingPunct="1">
                  <a:lnSpc>
                    <a:spcPct val="150000"/>
                  </a:lnSpc>
                </a:pP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点击此处添加内容</a:t>
                </a:r>
                <a:endPara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just" eaLnBrk="1" hangingPunct="1">
                  <a:lnSpc>
                    <a:spcPct val="150000"/>
                  </a:lnSpc>
                </a:pP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点击此处添加内容</a:t>
                </a:r>
                <a:endParaRPr lang="zh-CN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5" name="矩形 1"/>
              <p:cNvSpPr>
                <a:spLocks noChangeArrowheads="1"/>
              </p:cNvSpPr>
              <p:nvPr/>
            </p:nvSpPr>
            <p:spPr bwMode="auto">
              <a:xfrm>
                <a:off x="6881812" y="3210461"/>
                <a:ext cx="1724025" cy="10350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pPr algn="just" eaLnBrk="1" hangingPunct="1">
                  <a:lnSpc>
                    <a:spcPct val="150000"/>
                  </a:lnSpc>
                </a:pPr>
                <a:r>
                  <a:rPr lang="zh-CN" altLang="en-US" sz="1400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此处添加标题内容</a:t>
                </a:r>
                <a:endParaRPr lang="en-US" altLang="zh-CN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just" eaLnBrk="1" hangingPunct="1">
                  <a:lnSpc>
                    <a:spcPct val="150000"/>
                  </a:lnSpc>
                </a:pP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点击此处添加内容</a:t>
                </a:r>
                <a:endPara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just" eaLnBrk="1" hangingPunct="1">
                  <a:lnSpc>
                    <a:spcPct val="150000"/>
                  </a:lnSpc>
                </a:pPr>
                <a:r>
                  <a:rPr lang="zh-CN" altLang="en-US" sz="12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点击此处添加内容</a:t>
                </a:r>
                <a:endParaRPr lang="zh-CN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just" eaLnBrk="1" hangingPunct="1">
                  <a:lnSpc>
                    <a:spcPct val="150000"/>
                  </a:lnSpc>
                </a:pPr>
                <a:endParaRPr lang="zh-CN" altLang="zh-CN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6" name="任意多边形 25"/>
              <p:cNvSpPr/>
              <p:nvPr/>
            </p:nvSpPr>
            <p:spPr>
              <a:xfrm>
                <a:off x="5553075" y="1674813"/>
                <a:ext cx="2736850" cy="615950"/>
              </a:xfrm>
              <a:custGeom>
                <a:avLst/>
                <a:gdLst>
                  <a:gd name="connsiteX0" fmla="*/ 0 w 1495425"/>
                  <a:gd name="connsiteY0" fmla="*/ 581025 h 581025"/>
                  <a:gd name="connsiteX1" fmla="*/ 333375 w 1495425"/>
                  <a:gd name="connsiteY1" fmla="*/ 0 h 581025"/>
                  <a:gd name="connsiteX2" fmla="*/ 1238250 w 1495425"/>
                  <a:gd name="connsiteY2" fmla="*/ 0 h 581025"/>
                  <a:gd name="connsiteX3" fmla="*/ 1495425 w 1495425"/>
                  <a:gd name="connsiteY3" fmla="*/ 0 h 581025"/>
                  <a:gd name="connsiteX0-1" fmla="*/ 0 w 1238249"/>
                  <a:gd name="connsiteY0-2" fmla="*/ 581025 h 581025"/>
                  <a:gd name="connsiteX1-3" fmla="*/ 333375 w 1238249"/>
                  <a:gd name="connsiteY1-4" fmla="*/ 0 h 581025"/>
                  <a:gd name="connsiteX2-5" fmla="*/ 1238250 w 1238249"/>
                  <a:gd name="connsiteY2-6" fmla="*/ 0 h 581025"/>
                  <a:gd name="connsiteX0-7" fmla="*/ 0 w 2896333"/>
                  <a:gd name="connsiteY0-8" fmla="*/ 581025 h 581025"/>
                  <a:gd name="connsiteX1-9" fmla="*/ 333375 w 2896333"/>
                  <a:gd name="connsiteY1-10" fmla="*/ 0 h 581025"/>
                  <a:gd name="connsiteX2-11" fmla="*/ 2896333 w 2896333"/>
                  <a:gd name="connsiteY2-12" fmla="*/ 0 h 581025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</a:cxnLst>
                <a:rect l="l" t="t" r="r" b="b"/>
                <a:pathLst>
                  <a:path w="2896333" h="581025">
                    <a:moveTo>
                      <a:pt x="0" y="581025"/>
                    </a:moveTo>
                    <a:lnTo>
                      <a:pt x="333375" y="0"/>
                    </a:lnTo>
                    <a:lnTo>
                      <a:pt x="2896333" y="0"/>
                    </a:lnTo>
                  </a:path>
                </a:pathLst>
              </a:custGeom>
              <a:noFill/>
              <a:ln w="12700">
                <a:solidFill>
                  <a:schemeClr val="bg1">
                    <a:lumMod val="75000"/>
                  </a:schemeClr>
                </a:solidFill>
                <a:prstDash val="dash"/>
                <a:headEnd type="oval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任意多边形 26"/>
              <p:cNvSpPr/>
              <p:nvPr/>
            </p:nvSpPr>
            <p:spPr>
              <a:xfrm>
                <a:off x="5597525" y="3190875"/>
                <a:ext cx="2713038" cy="620713"/>
              </a:xfrm>
              <a:custGeom>
                <a:avLst/>
                <a:gdLst>
                  <a:gd name="connsiteX0" fmla="*/ 0 w 1495425"/>
                  <a:gd name="connsiteY0" fmla="*/ 581025 h 581025"/>
                  <a:gd name="connsiteX1" fmla="*/ 333375 w 1495425"/>
                  <a:gd name="connsiteY1" fmla="*/ 0 h 581025"/>
                  <a:gd name="connsiteX2" fmla="*/ 1238250 w 1495425"/>
                  <a:gd name="connsiteY2" fmla="*/ 0 h 581025"/>
                  <a:gd name="connsiteX3" fmla="*/ 1495425 w 1495425"/>
                  <a:gd name="connsiteY3" fmla="*/ 0 h 581025"/>
                  <a:gd name="connsiteX0-1" fmla="*/ 0 w 1238249"/>
                  <a:gd name="connsiteY0-2" fmla="*/ 581025 h 581025"/>
                  <a:gd name="connsiteX1-3" fmla="*/ 333375 w 1238249"/>
                  <a:gd name="connsiteY1-4" fmla="*/ 0 h 581025"/>
                  <a:gd name="connsiteX2-5" fmla="*/ 1238250 w 1238249"/>
                  <a:gd name="connsiteY2-6" fmla="*/ 0 h 581025"/>
                  <a:gd name="connsiteX0-7" fmla="*/ 0 w 2528430"/>
                  <a:gd name="connsiteY0-8" fmla="*/ 587027 h 587027"/>
                  <a:gd name="connsiteX1-9" fmla="*/ 333375 w 2528430"/>
                  <a:gd name="connsiteY1-10" fmla="*/ 6002 h 587027"/>
                  <a:gd name="connsiteX2-11" fmla="*/ 2528430 w 2528430"/>
                  <a:gd name="connsiteY2-12" fmla="*/ 0 h 587027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</a:cxnLst>
                <a:rect l="l" t="t" r="r" b="b"/>
                <a:pathLst>
                  <a:path w="2528430" h="587027">
                    <a:moveTo>
                      <a:pt x="0" y="587027"/>
                    </a:moveTo>
                    <a:lnTo>
                      <a:pt x="333375" y="6002"/>
                    </a:lnTo>
                    <a:lnTo>
                      <a:pt x="2528430" y="0"/>
                    </a:lnTo>
                  </a:path>
                </a:pathLst>
              </a:custGeom>
              <a:noFill/>
              <a:ln w="12700">
                <a:solidFill>
                  <a:schemeClr val="bg1">
                    <a:lumMod val="75000"/>
                  </a:schemeClr>
                </a:solidFill>
                <a:prstDash val="dash"/>
                <a:headEnd type="oval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8" name="Oval 54"/>
              <p:cNvSpPr>
                <a:spLocks noChangeArrowheads="1"/>
              </p:cNvSpPr>
              <p:nvPr/>
            </p:nvSpPr>
            <p:spPr bwMode="auto">
              <a:xfrm>
                <a:off x="4397375" y="2244725"/>
                <a:ext cx="82550" cy="82550"/>
              </a:xfrm>
              <a:prstGeom prst="ellipse">
                <a:avLst/>
              </a:prstGeom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9" name="Oval 54"/>
              <p:cNvSpPr>
                <a:spLocks noChangeArrowheads="1"/>
              </p:cNvSpPr>
              <p:nvPr/>
            </p:nvSpPr>
            <p:spPr bwMode="auto">
              <a:xfrm>
                <a:off x="5505450" y="2251075"/>
                <a:ext cx="82550" cy="82550"/>
              </a:xfrm>
              <a:prstGeom prst="ellipse">
                <a:avLst/>
              </a:prstGeom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Oval 54"/>
              <p:cNvSpPr>
                <a:spLocks noChangeArrowheads="1"/>
              </p:cNvSpPr>
              <p:nvPr/>
            </p:nvSpPr>
            <p:spPr bwMode="auto">
              <a:xfrm>
                <a:off x="5553075" y="3770313"/>
                <a:ext cx="82550" cy="82550"/>
              </a:xfrm>
              <a:prstGeom prst="ellipse">
                <a:avLst/>
              </a:prstGeom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1" name="Oval 54"/>
              <p:cNvSpPr>
                <a:spLocks noChangeArrowheads="1"/>
              </p:cNvSpPr>
              <p:nvPr/>
            </p:nvSpPr>
            <p:spPr bwMode="auto">
              <a:xfrm>
                <a:off x="4113213" y="3770313"/>
                <a:ext cx="82550" cy="82550"/>
              </a:xfrm>
              <a:prstGeom prst="ellipse">
                <a:avLst/>
              </a:prstGeom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658230" y="1703731"/>
              <a:ext cx="506012" cy="499915"/>
            </a:xfrm>
            <a:prstGeom prst="rect">
              <a:avLst/>
            </a:prstGeom>
          </p:spPr>
        </p:pic>
        <p:pic>
          <p:nvPicPr>
            <p:cNvPr id="9" name="图片 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14160" y="3784505"/>
              <a:ext cx="597460" cy="597460"/>
            </a:xfrm>
            <a:prstGeom prst="rect">
              <a:avLst/>
            </a:prstGeom>
          </p:spPr>
        </p:pic>
        <p:pic>
          <p:nvPicPr>
            <p:cNvPr id="10" name="图片 9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127484" y="1748895"/>
              <a:ext cx="499915" cy="499915"/>
            </a:xfrm>
            <a:prstGeom prst="rect">
              <a:avLst/>
            </a:prstGeom>
          </p:spPr>
        </p:pic>
        <p:pic>
          <p:nvPicPr>
            <p:cNvPr id="11" name="图片 10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131826" y="3825871"/>
              <a:ext cx="548688" cy="554784"/>
            </a:xfrm>
            <a:prstGeom prst="rect">
              <a:avLst/>
            </a:prstGeom>
          </p:spPr>
        </p:pic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1271464" y="1556792"/>
            <a:ext cx="9047236" cy="4886586"/>
            <a:chOff x="865188" y="833438"/>
            <a:chExt cx="7413626" cy="4004243"/>
          </a:xfrm>
        </p:grpSpPr>
        <p:sp>
          <p:nvSpPr>
            <p:cNvPr id="7" name="Freeform 5"/>
            <p:cNvSpPr/>
            <p:nvPr/>
          </p:nvSpPr>
          <p:spPr bwMode="auto">
            <a:xfrm>
              <a:off x="1885951" y="833438"/>
              <a:ext cx="1704975" cy="1722438"/>
            </a:xfrm>
            <a:custGeom>
              <a:avLst/>
              <a:gdLst>
                <a:gd name="T0" fmla="*/ 225 w 455"/>
                <a:gd name="T1" fmla="*/ 459 h 459"/>
                <a:gd name="T2" fmla="*/ 455 w 455"/>
                <a:gd name="T3" fmla="*/ 230 h 459"/>
                <a:gd name="T4" fmla="*/ 225 w 455"/>
                <a:gd name="T5" fmla="*/ 0 h 459"/>
                <a:gd name="T6" fmla="*/ 0 w 455"/>
                <a:gd name="T7" fmla="*/ 185 h 459"/>
                <a:gd name="T8" fmla="*/ 5 w 455"/>
                <a:gd name="T9" fmla="*/ 459 h 459"/>
                <a:gd name="T10" fmla="*/ 225 w 455"/>
                <a:gd name="T11" fmla="*/ 459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5" h="459">
                  <a:moveTo>
                    <a:pt x="225" y="459"/>
                  </a:moveTo>
                  <a:cubicBezTo>
                    <a:pt x="352" y="459"/>
                    <a:pt x="455" y="357"/>
                    <a:pt x="455" y="230"/>
                  </a:cubicBezTo>
                  <a:cubicBezTo>
                    <a:pt x="455" y="103"/>
                    <a:pt x="352" y="0"/>
                    <a:pt x="225" y="0"/>
                  </a:cubicBezTo>
                  <a:cubicBezTo>
                    <a:pt x="114" y="0"/>
                    <a:pt x="20" y="80"/>
                    <a:pt x="0" y="185"/>
                  </a:cubicBezTo>
                  <a:cubicBezTo>
                    <a:pt x="5" y="459"/>
                    <a:pt x="5" y="459"/>
                    <a:pt x="5" y="459"/>
                  </a:cubicBezTo>
                  <a:lnTo>
                    <a:pt x="225" y="459"/>
                  </a:lnTo>
                  <a:close/>
                </a:path>
              </a:pathLst>
            </a:custGeom>
            <a:solidFill>
              <a:srgbClr val="FF7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/>
            <p:nvPr/>
          </p:nvSpPr>
          <p:spPr bwMode="auto">
            <a:xfrm>
              <a:off x="4176714" y="874713"/>
              <a:ext cx="1709738" cy="1722438"/>
            </a:xfrm>
            <a:custGeom>
              <a:avLst/>
              <a:gdLst>
                <a:gd name="T0" fmla="*/ 226 w 456"/>
                <a:gd name="T1" fmla="*/ 459 h 459"/>
                <a:gd name="T2" fmla="*/ 456 w 456"/>
                <a:gd name="T3" fmla="*/ 229 h 459"/>
                <a:gd name="T4" fmla="*/ 226 w 456"/>
                <a:gd name="T5" fmla="*/ 0 h 459"/>
                <a:gd name="T6" fmla="*/ 0 w 456"/>
                <a:gd name="T7" fmla="*/ 185 h 459"/>
                <a:gd name="T8" fmla="*/ 5 w 456"/>
                <a:gd name="T9" fmla="*/ 459 h 459"/>
                <a:gd name="T10" fmla="*/ 226 w 456"/>
                <a:gd name="T11" fmla="*/ 459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6" h="459">
                  <a:moveTo>
                    <a:pt x="226" y="459"/>
                  </a:moveTo>
                  <a:cubicBezTo>
                    <a:pt x="353" y="459"/>
                    <a:pt x="456" y="356"/>
                    <a:pt x="456" y="229"/>
                  </a:cubicBezTo>
                  <a:cubicBezTo>
                    <a:pt x="456" y="102"/>
                    <a:pt x="353" y="0"/>
                    <a:pt x="226" y="0"/>
                  </a:cubicBezTo>
                  <a:cubicBezTo>
                    <a:pt x="114" y="0"/>
                    <a:pt x="21" y="79"/>
                    <a:pt x="0" y="185"/>
                  </a:cubicBezTo>
                  <a:cubicBezTo>
                    <a:pt x="5" y="459"/>
                    <a:pt x="5" y="459"/>
                    <a:pt x="5" y="459"/>
                  </a:cubicBezTo>
                  <a:lnTo>
                    <a:pt x="226" y="459"/>
                  </a:lnTo>
                  <a:close/>
                </a:path>
              </a:pathLst>
            </a:custGeom>
            <a:solidFill>
              <a:srgbClr val="01BFFF"/>
            </a:solidFill>
            <a:ln>
              <a:noFill/>
            </a:ln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6569076" y="852488"/>
              <a:ext cx="1709738" cy="1725613"/>
            </a:xfrm>
            <a:custGeom>
              <a:avLst/>
              <a:gdLst>
                <a:gd name="T0" fmla="*/ 226 w 456"/>
                <a:gd name="T1" fmla="*/ 460 h 460"/>
                <a:gd name="T2" fmla="*/ 456 w 456"/>
                <a:gd name="T3" fmla="*/ 230 h 460"/>
                <a:gd name="T4" fmla="*/ 226 w 456"/>
                <a:gd name="T5" fmla="*/ 0 h 460"/>
                <a:gd name="T6" fmla="*/ 0 w 456"/>
                <a:gd name="T7" fmla="*/ 186 h 460"/>
                <a:gd name="T8" fmla="*/ 5 w 456"/>
                <a:gd name="T9" fmla="*/ 460 h 460"/>
                <a:gd name="T10" fmla="*/ 226 w 456"/>
                <a:gd name="T11" fmla="*/ 460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6" h="460">
                  <a:moveTo>
                    <a:pt x="226" y="460"/>
                  </a:moveTo>
                  <a:cubicBezTo>
                    <a:pt x="353" y="460"/>
                    <a:pt x="456" y="357"/>
                    <a:pt x="456" y="230"/>
                  </a:cubicBezTo>
                  <a:cubicBezTo>
                    <a:pt x="456" y="103"/>
                    <a:pt x="353" y="0"/>
                    <a:pt x="226" y="0"/>
                  </a:cubicBezTo>
                  <a:cubicBezTo>
                    <a:pt x="114" y="0"/>
                    <a:pt x="21" y="80"/>
                    <a:pt x="0" y="186"/>
                  </a:cubicBezTo>
                  <a:cubicBezTo>
                    <a:pt x="5" y="460"/>
                    <a:pt x="5" y="460"/>
                    <a:pt x="5" y="460"/>
                  </a:cubicBezTo>
                  <a:lnTo>
                    <a:pt x="226" y="460"/>
                  </a:lnTo>
                  <a:close/>
                </a:path>
              </a:pathLst>
            </a:custGeom>
            <a:solidFill>
              <a:srgbClr val="FF3B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10" name="Freeform 378"/>
            <p:cNvSpPr/>
            <p:nvPr/>
          </p:nvSpPr>
          <p:spPr bwMode="auto">
            <a:xfrm>
              <a:off x="865188" y="2803526"/>
              <a:ext cx="955675" cy="242888"/>
            </a:xfrm>
            <a:custGeom>
              <a:avLst/>
              <a:gdLst>
                <a:gd name="T0" fmla="*/ 255 w 255"/>
                <a:gd name="T1" fmla="*/ 33 h 65"/>
                <a:gd name="T2" fmla="*/ 239 w 255"/>
                <a:gd name="T3" fmla="*/ 0 h 65"/>
                <a:gd name="T4" fmla="*/ 17 w 255"/>
                <a:gd name="T5" fmla="*/ 0 h 65"/>
                <a:gd name="T6" fmla="*/ 0 w 255"/>
                <a:gd name="T7" fmla="*/ 33 h 65"/>
                <a:gd name="T8" fmla="*/ 0 w 255"/>
                <a:gd name="T9" fmla="*/ 33 h 65"/>
                <a:gd name="T10" fmla="*/ 17 w 255"/>
                <a:gd name="T11" fmla="*/ 65 h 65"/>
                <a:gd name="T12" fmla="*/ 239 w 255"/>
                <a:gd name="T13" fmla="*/ 65 h 65"/>
                <a:gd name="T14" fmla="*/ 255 w 255"/>
                <a:gd name="T15" fmla="*/ 33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5" h="65">
                  <a:moveTo>
                    <a:pt x="255" y="33"/>
                  </a:moveTo>
                  <a:cubicBezTo>
                    <a:pt x="255" y="15"/>
                    <a:pt x="248" y="0"/>
                    <a:pt x="239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15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50"/>
                    <a:pt x="7" y="65"/>
                    <a:pt x="17" y="65"/>
                  </a:cubicBezTo>
                  <a:cubicBezTo>
                    <a:pt x="239" y="65"/>
                    <a:pt x="239" y="65"/>
                    <a:pt x="239" y="65"/>
                  </a:cubicBezTo>
                  <a:cubicBezTo>
                    <a:pt x="248" y="65"/>
                    <a:pt x="255" y="50"/>
                    <a:pt x="255" y="33"/>
                  </a:cubicBezTo>
                  <a:close/>
                </a:path>
              </a:pathLst>
            </a:custGeom>
            <a:solidFill>
              <a:srgbClr val="FF7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11" name="Freeform 379"/>
            <p:cNvSpPr/>
            <p:nvPr/>
          </p:nvSpPr>
          <p:spPr bwMode="auto">
            <a:xfrm>
              <a:off x="1847851" y="2803526"/>
              <a:ext cx="960438" cy="242888"/>
            </a:xfrm>
            <a:custGeom>
              <a:avLst/>
              <a:gdLst>
                <a:gd name="T0" fmla="*/ 256 w 256"/>
                <a:gd name="T1" fmla="*/ 33 h 65"/>
                <a:gd name="T2" fmla="*/ 239 w 256"/>
                <a:gd name="T3" fmla="*/ 0 h 65"/>
                <a:gd name="T4" fmla="*/ 17 w 256"/>
                <a:gd name="T5" fmla="*/ 0 h 65"/>
                <a:gd name="T6" fmla="*/ 0 w 256"/>
                <a:gd name="T7" fmla="*/ 33 h 65"/>
                <a:gd name="T8" fmla="*/ 0 w 256"/>
                <a:gd name="T9" fmla="*/ 33 h 65"/>
                <a:gd name="T10" fmla="*/ 17 w 256"/>
                <a:gd name="T11" fmla="*/ 65 h 65"/>
                <a:gd name="T12" fmla="*/ 239 w 256"/>
                <a:gd name="T13" fmla="*/ 65 h 65"/>
                <a:gd name="T14" fmla="*/ 256 w 256"/>
                <a:gd name="T15" fmla="*/ 33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6" h="65">
                  <a:moveTo>
                    <a:pt x="256" y="33"/>
                  </a:moveTo>
                  <a:cubicBezTo>
                    <a:pt x="256" y="15"/>
                    <a:pt x="248" y="0"/>
                    <a:pt x="239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15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50"/>
                    <a:pt x="8" y="65"/>
                    <a:pt x="17" y="65"/>
                  </a:cubicBezTo>
                  <a:cubicBezTo>
                    <a:pt x="239" y="65"/>
                    <a:pt x="239" y="65"/>
                    <a:pt x="239" y="65"/>
                  </a:cubicBezTo>
                  <a:cubicBezTo>
                    <a:pt x="248" y="65"/>
                    <a:pt x="256" y="50"/>
                    <a:pt x="256" y="33"/>
                  </a:cubicBezTo>
                  <a:close/>
                </a:path>
              </a:pathLst>
            </a:custGeom>
            <a:solidFill>
              <a:srgbClr val="FF7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12" name="Freeform 380"/>
            <p:cNvSpPr/>
            <p:nvPr/>
          </p:nvSpPr>
          <p:spPr bwMode="auto">
            <a:xfrm>
              <a:off x="2687638" y="2803526"/>
              <a:ext cx="1549400" cy="242888"/>
            </a:xfrm>
            <a:custGeom>
              <a:avLst/>
              <a:gdLst>
                <a:gd name="T0" fmla="*/ 413 w 413"/>
                <a:gd name="T1" fmla="*/ 33 h 65"/>
                <a:gd name="T2" fmla="*/ 396 w 413"/>
                <a:gd name="T3" fmla="*/ 0 h 65"/>
                <a:gd name="T4" fmla="*/ 17 w 413"/>
                <a:gd name="T5" fmla="*/ 0 h 65"/>
                <a:gd name="T6" fmla="*/ 0 w 413"/>
                <a:gd name="T7" fmla="*/ 33 h 65"/>
                <a:gd name="T8" fmla="*/ 0 w 413"/>
                <a:gd name="T9" fmla="*/ 33 h 65"/>
                <a:gd name="T10" fmla="*/ 17 w 413"/>
                <a:gd name="T11" fmla="*/ 65 h 65"/>
                <a:gd name="T12" fmla="*/ 396 w 413"/>
                <a:gd name="T13" fmla="*/ 65 h 65"/>
                <a:gd name="T14" fmla="*/ 413 w 413"/>
                <a:gd name="T15" fmla="*/ 33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3" h="65">
                  <a:moveTo>
                    <a:pt x="413" y="33"/>
                  </a:moveTo>
                  <a:cubicBezTo>
                    <a:pt x="413" y="15"/>
                    <a:pt x="405" y="0"/>
                    <a:pt x="39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15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50"/>
                    <a:pt x="8" y="65"/>
                    <a:pt x="17" y="65"/>
                  </a:cubicBezTo>
                  <a:cubicBezTo>
                    <a:pt x="396" y="65"/>
                    <a:pt x="396" y="65"/>
                    <a:pt x="396" y="65"/>
                  </a:cubicBezTo>
                  <a:cubicBezTo>
                    <a:pt x="405" y="65"/>
                    <a:pt x="413" y="50"/>
                    <a:pt x="413" y="33"/>
                  </a:cubicBezTo>
                  <a:close/>
                </a:path>
              </a:pathLst>
            </a:custGeom>
            <a:solidFill>
              <a:srgbClr val="01BFFF"/>
            </a:solidFill>
            <a:ln>
              <a:noFill/>
            </a:ln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13" name="Freeform 381"/>
            <p:cNvSpPr/>
            <p:nvPr/>
          </p:nvSpPr>
          <p:spPr bwMode="auto">
            <a:xfrm>
              <a:off x="3832226" y="2803526"/>
              <a:ext cx="1547813" cy="242888"/>
            </a:xfrm>
            <a:custGeom>
              <a:avLst/>
              <a:gdLst>
                <a:gd name="T0" fmla="*/ 413 w 413"/>
                <a:gd name="T1" fmla="*/ 33 h 65"/>
                <a:gd name="T2" fmla="*/ 396 w 413"/>
                <a:gd name="T3" fmla="*/ 0 h 65"/>
                <a:gd name="T4" fmla="*/ 17 w 413"/>
                <a:gd name="T5" fmla="*/ 0 h 65"/>
                <a:gd name="T6" fmla="*/ 0 w 413"/>
                <a:gd name="T7" fmla="*/ 33 h 65"/>
                <a:gd name="T8" fmla="*/ 0 w 413"/>
                <a:gd name="T9" fmla="*/ 33 h 65"/>
                <a:gd name="T10" fmla="*/ 17 w 413"/>
                <a:gd name="T11" fmla="*/ 65 h 65"/>
                <a:gd name="T12" fmla="*/ 396 w 413"/>
                <a:gd name="T13" fmla="*/ 65 h 65"/>
                <a:gd name="T14" fmla="*/ 413 w 413"/>
                <a:gd name="T15" fmla="*/ 33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3" h="65">
                  <a:moveTo>
                    <a:pt x="413" y="33"/>
                  </a:moveTo>
                  <a:cubicBezTo>
                    <a:pt x="413" y="15"/>
                    <a:pt x="405" y="0"/>
                    <a:pt x="39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15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50"/>
                    <a:pt x="7" y="65"/>
                    <a:pt x="17" y="65"/>
                  </a:cubicBezTo>
                  <a:cubicBezTo>
                    <a:pt x="396" y="65"/>
                    <a:pt x="396" y="65"/>
                    <a:pt x="396" y="65"/>
                  </a:cubicBezTo>
                  <a:cubicBezTo>
                    <a:pt x="405" y="65"/>
                    <a:pt x="413" y="50"/>
                    <a:pt x="413" y="33"/>
                  </a:cubicBezTo>
                  <a:close/>
                </a:path>
              </a:pathLst>
            </a:custGeom>
            <a:solidFill>
              <a:srgbClr val="01BFFF"/>
            </a:solidFill>
            <a:ln>
              <a:noFill/>
            </a:ln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14" name="Freeform 382"/>
            <p:cNvSpPr/>
            <p:nvPr/>
          </p:nvSpPr>
          <p:spPr bwMode="auto">
            <a:xfrm>
              <a:off x="5233988" y="2803526"/>
              <a:ext cx="2938462" cy="242888"/>
            </a:xfrm>
            <a:custGeom>
              <a:avLst/>
              <a:gdLst>
                <a:gd name="T0" fmla="*/ 514 w 514"/>
                <a:gd name="T1" fmla="*/ 33 h 65"/>
                <a:gd name="T2" fmla="*/ 497 w 514"/>
                <a:gd name="T3" fmla="*/ 0 h 65"/>
                <a:gd name="T4" fmla="*/ 17 w 514"/>
                <a:gd name="T5" fmla="*/ 0 h 65"/>
                <a:gd name="T6" fmla="*/ 0 w 514"/>
                <a:gd name="T7" fmla="*/ 33 h 65"/>
                <a:gd name="T8" fmla="*/ 0 w 514"/>
                <a:gd name="T9" fmla="*/ 33 h 65"/>
                <a:gd name="T10" fmla="*/ 17 w 514"/>
                <a:gd name="T11" fmla="*/ 65 h 65"/>
                <a:gd name="T12" fmla="*/ 497 w 514"/>
                <a:gd name="T13" fmla="*/ 65 h 65"/>
                <a:gd name="T14" fmla="*/ 514 w 514"/>
                <a:gd name="T15" fmla="*/ 33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4" h="65">
                  <a:moveTo>
                    <a:pt x="514" y="33"/>
                  </a:moveTo>
                  <a:cubicBezTo>
                    <a:pt x="514" y="15"/>
                    <a:pt x="506" y="0"/>
                    <a:pt x="49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15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50"/>
                    <a:pt x="7" y="65"/>
                    <a:pt x="17" y="65"/>
                  </a:cubicBezTo>
                  <a:cubicBezTo>
                    <a:pt x="497" y="65"/>
                    <a:pt x="497" y="65"/>
                    <a:pt x="497" y="65"/>
                  </a:cubicBezTo>
                  <a:cubicBezTo>
                    <a:pt x="506" y="65"/>
                    <a:pt x="514" y="50"/>
                    <a:pt x="514" y="33"/>
                  </a:cubicBezTo>
                  <a:close/>
                </a:path>
              </a:pathLst>
            </a:custGeom>
            <a:solidFill>
              <a:srgbClr val="FF3B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15" name="Rectangle 404"/>
            <p:cNvSpPr>
              <a:spLocks noChangeArrowheads="1"/>
            </p:cNvSpPr>
            <p:nvPr/>
          </p:nvSpPr>
          <p:spPr bwMode="auto">
            <a:xfrm>
              <a:off x="6842126" y="2724151"/>
              <a:ext cx="139700" cy="138113"/>
            </a:xfrm>
            <a:prstGeom prst="rect">
              <a:avLst/>
            </a:prstGeom>
            <a:solidFill>
              <a:srgbClr val="AFCF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6" name="Oval 414"/>
            <p:cNvSpPr>
              <a:spLocks noChangeArrowheads="1"/>
            </p:cNvSpPr>
            <p:nvPr/>
          </p:nvSpPr>
          <p:spPr bwMode="auto">
            <a:xfrm>
              <a:off x="6635751" y="2663826"/>
              <a:ext cx="525463" cy="5222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7" name="Oval 415"/>
            <p:cNvSpPr>
              <a:spLocks noChangeArrowheads="1"/>
            </p:cNvSpPr>
            <p:nvPr/>
          </p:nvSpPr>
          <p:spPr bwMode="auto">
            <a:xfrm>
              <a:off x="6789738" y="2817814"/>
              <a:ext cx="217488" cy="214313"/>
            </a:xfrm>
            <a:prstGeom prst="ellipse">
              <a:avLst/>
            </a:prstGeom>
            <a:solidFill>
              <a:srgbClr val="FF3B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18" name="Oval 416"/>
            <p:cNvSpPr>
              <a:spLocks noChangeArrowheads="1"/>
            </p:cNvSpPr>
            <p:nvPr/>
          </p:nvSpPr>
          <p:spPr bwMode="auto">
            <a:xfrm>
              <a:off x="4083051" y="2663826"/>
              <a:ext cx="523875" cy="5222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19" name="Oval 417"/>
            <p:cNvSpPr>
              <a:spLocks noChangeArrowheads="1"/>
            </p:cNvSpPr>
            <p:nvPr/>
          </p:nvSpPr>
          <p:spPr bwMode="auto">
            <a:xfrm>
              <a:off x="4237038" y="2817814"/>
              <a:ext cx="217488" cy="214313"/>
            </a:xfrm>
            <a:prstGeom prst="ellipse">
              <a:avLst/>
            </a:prstGeom>
            <a:solidFill>
              <a:srgbClr val="01BFFF"/>
            </a:solidFill>
            <a:ln>
              <a:noFill/>
            </a:ln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20" name="Oval 416"/>
            <p:cNvSpPr>
              <a:spLocks noChangeArrowheads="1"/>
            </p:cNvSpPr>
            <p:nvPr/>
          </p:nvSpPr>
          <p:spPr bwMode="auto">
            <a:xfrm>
              <a:off x="1568451" y="2663826"/>
              <a:ext cx="523875" cy="5222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1" name="Oval 417"/>
            <p:cNvSpPr>
              <a:spLocks noChangeArrowheads="1"/>
            </p:cNvSpPr>
            <p:nvPr/>
          </p:nvSpPr>
          <p:spPr bwMode="auto">
            <a:xfrm>
              <a:off x="1722438" y="2817814"/>
              <a:ext cx="217488" cy="214313"/>
            </a:xfrm>
            <a:prstGeom prst="ellipse">
              <a:avLst/>
            </a:prstGeom>
            <a:solidFill>
              <a:srgbClr val="FF7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sz="1600">
                <a:solidFill>
                  <a:prstClr val="black"/>
                </a:solidFill>
              </a:endParaRPr>
            </a:p>
          </p:txBody>
        </p:sp>
        <p:sp>
          <p:nvSpPr>
            <p:cNvPr id="22" name="TextBox 692"/>
            <p:cNvSpPr txBox="1"/>
            <p:nvPr/>
          </p:nvSpPr>
          <p:spPr bwMode="auto">
            <a:xfrm>
              <a:off x="2049616" y="1176257"/>
              <a:ext cx="1364476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spc="3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2000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3" name="矩形 1"/>
            <p:cNvSpPr>
              <a:spLocks noChangeArrowheads="1"/>
            </p:cNvSpPr>
            <p:nvPr/>
          </p:nvSpPr>
          <p:spPr bwMode="auto">
            <a:xfrm>
              <a:off x="1950173" y="1650973"/>
              <a:ext cx="1568729" cy="6305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请在这里输入您要的内容</a:t>
              </a:r>
              <a:endParaRPr lang="en-US" altLang="zh-CN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请在这里输入您要的内容</a:t>
              </a:r>
              <a:endParaRPr lang="en-US" altLang="zh-CN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请在这里输入您要的内容</a:t>
              </a:r>
              <a:endParaRPr lang="en-US" altLang="zh-CN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en-US" altLang="zh-CN" sz="1100" dirty="0">
                <a:solidFill>
                  <a:srgbClr val="242D3C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" name="TextBox 692"/>
            <p:cNvSpPr txBox="1"/>
            <p:nvPr/>
          </p:nvSpPr>
          <p:spPr bwMode="auto">
            <a:xfrm>
              <a:off x="4335616" y="1176257"/>
              <a:ext cx="1364476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spc="3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2000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5" name="矩形 1"/>
            <p:cNvSpPr>
              <a:spLocks noChangeArrowheads="1"/>
            </p:cNvSpPr>
            <p:nvPr/>
          </p:nvSpPr>
          <p:spPr bwMode="auto">
            <a:xfrm>
              <a:off x="4236173" y="1650973"/>
              <a:ext cx="1568729" cy="6305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请在这里输入您要的内容</a:t>
              </a:r>
              <a:endParaRPr lang="en-US" altLang="zh-CN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请在这里输入您要的内容</a:t>
              </a:r>
              <a:endParaRPr lang="en-US" altLang="zh-CN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请在这里输入您要的内容</a:t>
              </a:r>
              <a:endParaRPr lang="en-US" altLang="zh-CN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en-US" altLang="zh-CN" sz="1100" dirty="0">
                <a:solidFill>
                  <a:srgbClr val="242D3C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6" name="TextBox 692"/>
            <p:cNvSpPr txBox="1"/>
            <p:nvPr/>
          </p:nvSpPr>
          <p:spPr bwMode="auto">
            <a:xfrm>
              <a:off x="6735916" y="1176257"/>
              <a:ext cx="1364476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spc="30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2000" spc="3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7" name="矩形 1"/>
            <p:cNvSpPr>
              <a:spLocks noChangeArrowheads="1"/>
            </p:cNvSpPr>
            <p:nvPr/>
          </p:nvSpPr>
          <p:spPr bwMode="auto">
            <a:xfrm>
              <a:off x="6636473" y="1650973"/>
              <a:ext cx="1568729" cy="6305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请在这里输入您要的内容</a:t>
              </a:r>
              <a:endParaRPr lang="en-US" altLang="zh-CN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请在这里输入您要的内容</a:t>
              </a:r>
              <a:endParaRPr lang="en-US" altLang="zh-CN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1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请在这里输入您要的内容</a:t>
              </a:r>
              <a:endParaRPr lang="en-US" altLang="zh-CN" sz="11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en-US" altLang="zh-CN" sz="1100" dirty="0">
                <a:solidFill>
                  <a:srgbClr val="242D3C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" name="TextBox 692"/>
            <p:cNvSpPr txBox="1"/>
            <p:nvPr/>
          </p:nvSpPr>
          <p:spPr bwMode="auto">
            <a:xfrm>
              <a:off x="988805" y="3472358"/>
              <a:ext cx="2126912" cy="63050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4400" b="1" spc="3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添加标题</a:t>
              </a:r>
              <a:endParaRPr lang="zh-CN" altLang="en-US" sz="4400" b="1" spc="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29" name="矩形 1"/>
            <p:cNvSpPr>
              <a:spLocks noChangeArrowheads="1"/>
            </p:cNvSpPr>
            <p:nvPr/>
          </p:nvSpPr>
          <p:spPr bwMode="auto">
            <a:xfrm>
              <a:off x="3438253" y="3570361"/>
              <a:ext cx="4734197" cy="1267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zh-CN" altLang="en-US" sz="105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05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05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05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05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05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05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05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05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专业的团队，完善的售后，热情的服务，科学严谨的逻辑，一丝不苟的工作态度，定能使您的发展如虎添翼！</a:t>
              </a:r>
              <a:endParaRPr lang="en-US" altLang="zh-CN" sz="10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en-US" altLang="zh-CN" sz="10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05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除了模板的发布与定制，我们还为您准备了使用教程，希望能够能够更好的使用该作品，授人以鱼不如授人以渔，希望您在下班之余，能够和我们一起进步，共同感受</a:t>
              </a:r>
              <a:r>
                <a:rPr lang="en-US" altLang="zh-CN" sz="105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05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巨大魅力与价值。我们诚祝您在工作中事事顺心，步步高升！最后让我们谨记：最重要的不是</a:t>
              </a:r>
              <a:r>
                <a:rPr lang="en-US" altLang="zh-CN" sz="105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05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是你。</a:t>
              </a:r>
              <a:endParaRPr lang="en-US" altLang="zh-CN" sz="10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just"/>
              <a:endParaRPr lang="en-US" altLang="zh-CN" sz="10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30" name="直接连接符 29"/>
            <p:cNvCxnSpPr/>
            <p:nvPr/>
          </p:nvCxnSpPr>
          <p:spPr>
            <a:xfrm>
              <a:off x="2034376" y="1595417"/>
              <a:ext cx="1388637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直接连接符 30"/>
            <p:cNvCxnSpPr/>
            <p:nvPr/>
          </p:nvCxnSpPr>
          <p:spPr>
            <a:xfrm>
              <a:off x="4312756" y="1595417"/>
              <a:ext cx="1388637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连接符 31"/>
            <p:cNvCxnSpPr/>
            <p:nvPr/>
          </p:nvCxnSpPr>
          <p:spPr>
            <a:xfrm>
              <a:off x="6697816" y="1595417"/>
              <a:ext cx="1388637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7" name="组合 16"/>
          <p:cNvGrpSpPr/>
          <p:nvPr/>
        </p:nvGrpSpPr>
        <p:grpSpPr>
          <a:xfrm>
            <a:off x="1343472" y="1484784"/>
            <a:ext cx="10635591" cy="3528392"/>
            <a:chOff x="1343472" y="1484784"/>
            <a:chExt cx="10635591" cy="3528392"/>
          </a:xfrm>
        </p:grpSpPr>
        <p:grpSp>
          <p:nvGrpSpPr>
            <p:cNvPr id="18" name="组合 17"/>
            <p:cNvGrpSpPr/>
            <p:nvPr/>
          </p:nvGrpSpPr>
          <p:grpSpPr>
            <a:xfrm>
              <a:off x="1343472" y="1484784"/>
              <a:ext cx="10635591" cy="3528392"/>
              <a:chOff x="1343472" y="1484784"/>
              <a:chExt cx="10635591" cy="3528392"/>
            </a:xfrm>
          </p:grpSpPr>
          <p:grpSp>
            <p:nvGrpSpPr>
              <p:cNvPr id="20" name="组合 19"/>
              <p:cNvGrpSpPr/>
              <p:nvPr/>
            </p:nvGrpSpPr>
            <p:grpSpPr>
              <a:xfrm>
                <a:off x="1343472" y="1484784"/>
                <a:ext cx="10635591" cy="3528392"/>
                <a:chOff x="2063552" y="1628800"/>
                <a:chExt cx="9984432" cy="3312368"/>
              </a:xfrm>
            </p:grpSpPr>
            <p:sp>
              <p:nvSpPr>
                <p:cNvPr id="22" name="矩形 21"/>
                <p:cNvSpPr/>
                <p:nvPr/>
              </p:nvSpPr>
              <p:spPr>
                <a:xfrm>
                  <a:off x="5159896" y="3140968"/>
                  <a:ext cx="6888088" cy="504056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grpSp>
              <p:nvGrpSpPr>
                <p:cNvPr id="23" name="组合 22"/>
                <p:cNvGrpSpPr/>
                <p:nvPr/>
              </p:nvGrpSpPr>
              <p:grpSpPr>
                <a:xfrm>
                  <a:off x="2063552" y="1628800"/>
                  <a:ext cx="3312368" cy="3312368"/>
                  <a:chOff x="2567608" y="1916832"/>
                  <a:chExt cx="2736304" cy="2736304"/>
                </a:xfrm>
              </p:grpSpPr>
              <p:sp>
                <p:nvSpPr>
                  <p:cNvPr id="28" name="椭圆 27"/>
                  <p:cNvSpPr/>
                  <p:nvPr/>
                </p:nvSpPr>
                <p:spPr>
                  <a:xfrm>
                    <a:off x="2567608" y="1916832"/>
                    <a:ext cx="2736304" cy="2736304"/>
                  </a:xfrm>
                  <a:prstGeom prst="ellipse">
                    <a:avLst/>
                  </a:prstGeom>
                  <a:solidFill>
                    <a:schemeClr val="tx1">
                      <a:lumMod val="75000"/>
                      <a:lumOff val="2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9" name="椭圆 28"/>
                  <p:cNvSpPr/>
                  <p:nvPr/>
                </p:nvSpPr>
                <p:spPr>
                  <a:xfrm>
                    <a:off x="2819636" y="2186966"/>
                    <a:ext cx="2232248" cy="2232248"/>
                  </a:xfrm>
                  <a:prstGeom prst="ellipse">
                    <a:avLst/>
                  </a:prstGeom>
                  <a:solidFill>
                    <a:srgbClr val="E51E23"/>
                  </a:solidFill>
                  <a:ln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zh-CN" altLang="en-US">
                      <a:solidFill>
                        <a:prstClr val="white"/>
                      </a:solidFill>
                    </a:endParaRPr>
                  </a:p>
                </p:txBody>
              </p:sp>
            </p:grpSp>
            <p:sp>
              <p:nvSpPr>
                <p:cNvPr id="24" name="矩形 23"/>
                <p:cNvSpPr/>
                <p:nvPr/>
              </p:nvSpPr>
              <p:spPr>
                <a:xfrm>
                  <a:off x="11640616" y="2636912"/>
                  <a:ext cx="288032" cy="504056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5" name="矩形 24"/>
                <p:cNvSpPr/>
                <p:nvPr/>
              </p:nvSpPr>
              <p:spPr>
                <a:xfrm>
                  <a:off x="11064552" y="2852936"/>
                  <a:ext cx="451683" cy="28803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6" name="矩形 25"/>
                <p:cNvSpPr/>
                <p:nvPr/>
              </p:nvSpPr>
              <p:spPr>
                <a:xfrm>
                  <a:off x="10488488" y="2780928"/>
                  <a:ext cx="451683" cy="37819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7" name="矩形 26"/>
                <p:cNvSpPr/>
                <p:nvPr/>
              </p:nvSpPr>
              <p:spPr>
                <a:xfrm>
                  <a:off x="9912424" y="2411812"/>
                  <a:ext cx="451683" cy="738232"/>
                </a:xfrm>
                <a:prstGeom prst="rect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21" name="文本框 20"/>
              <p:cNvSpPr txBox="1"/>
              <p:nvPr/>
            </p:nvSpPr>
            <p:spPr>
              <a:xfrm>
                <a:off x="5464760" y="2627051"/>
                <a:ext cx="3672408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2000" b="1" dirty="0" smtClean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</a:t>
                </a:r>
                <a:r>
                  <a:rPr lang="zh-CN" altLang="en-US" sz="2000" b="1" dirty="0" smtClean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、单击此处添加您的目录标题</a:t>
                </a:r>
                <a:endParaRPr lang="zh-CN" altLang="en-US" sz="2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pic>
          <p:nvPicPr>
            <p:cNvPr id="19" name="图片 1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655926" y="2813664"/>
              <a:ext cx="870631" cy="870631"/>
            </a:xfrm>
            <a:prstGeom prst="rect">
              <a:avLst/>
            </a:prstGeom>
          </p:spPr>
        </p:pic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19" r="18249"/>
          <a:stretch>
            <a:fillRect/>
          </a:stretch>
        </p:blipFill>
        <p:spPr>
          <a:xfrm>
            <a:off x="407368" y="1398738"/>
            <a:ext cx="5542035" cy="4824536"/>
          </a:xfrm>
          <a:prstGeom prst="rect">
            <a:avLst/>
          </a:prstGeom>
        </p:spPr>
      </p:pic>
      <p:cxnSp>
        <p:nvCxnSpPr>
          <p:cNvPr id="7" name="直接连接符 6"/>
          <p:cNvCxnSpPr/>
          <p:nvPr/>
        </p:nvCxnSpPr>
        <p:spPr>
          <a:xfrm>
            <a:off x="6372346" y="1330862"/>
            <a:ext cx="9133" cy="488294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7"/>
          <p:cNvSpPr/>
          <p:nvPr/>
        </p:nvSpPr>
        <p:spPr>
          <a:xfrm>
            <a:off x="6672064" y="1254722"/>
            <a:ext cx="5136232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我们工作室致力于专业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的发布，课件及汇报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美化，并为您提供专业的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性定制服务。我们秉承“给您演示的光和热”的理念，为您分担职场压力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让您的每一次亮相都信心澎湃。专业的团队，完善的售后，热情的服务，科学严谨的逻辑，一丝不苟的工作态度，定能使您的发展如虎添翼！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除了模板的发布与定制，我们还为您准备了使用教程，希望能够能够更好的使用该作品，授人以鱼不如授人以渔，希望您在下班之余，能够和我们一起进步，共同感受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巨大魅力与价值。我们诚祝您在工作中事事顺心，步步高升！最后让我们谨记：最重要的不是</a:t>
            </a:r>
            <a:r>
              <a: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是你。</a:t>
            </a:r>
            <a:endParaRPr lang="en-US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6672064" y="4653614"/>
            <a:ext cx="520824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>
                <a:solidFill>
                  <a:schemeClr val="bg1"/>
                </a:solidFill>
              </a:rPr>
              <a:t>Our studio is committed to professional PPT template publication, </a:t>
            </a:r>
            <a:r>
              <a:rPr lang="en-US" altLang="zh-CN" sz="1200" dirty="0" err="1">
                <a:solidFill>
                  <a:schemeClr val="bg1"/>
                </a:solidFill>
              </a:rPr>
              <a:t>coursewareand</a:t>
            </a:r>
            <a:r>
              <a:rPr lang="en-US" altLang="zh-CN" sz="1200" dirty="0">
                <a:solidFill>
                  <a:schemeClr val="bg1"/>
                </a:solidFill>
              </a:rPr>
              <a:t> reporting PPT beautification, and provides PPT customized professional services to you.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We are adhering to the "to give you a demonstration of light and heat" </a:t>
            </a:r>
            <a:r>
              <a:rPr lang="en-US" altLang="zh-CN" sz="1200" dirty="0" err="1">
                <a:solidFill>
                  <a:schemeClr val="bg1"/>
                </a:solidFill>
              </a:rPr>
              <a:t>concept,for</a:t>
            </a:r>
            <a:r>
              <a:rPr lang="en-US" altLang="zh-CN" sz="1200" dirty="0">
                <a:solidFill>
                  <a:schemeClr val="bg1"/>
                </a:solidFill>
              </a:rPr>
              <a:t> you to share the market pressure, let you every appearance of </a:t>
            </a:r>
            <a:r>
              <a:rPr lang="en-US" altLang="zh-CN" sz="1200" dirty="0" err="1">
                <a:solidFill>
                  <a:schemeClr val="bg1"/>
                </a:solidFill>
              </a:rPr>
              <a:t>confidence.Professional</a:t>
            </a:r>
            <a:r>
              <a:rPr lang="en-US" altLang="zh-CN" sz="1200" dirty="0">
                <a:solidFill>
                  <a:schemeClr val="bg1"/>
                </a:solidFill>
              </a:rPr>
              <a:t> team, improve customer service, enthusiastic service, scientific and strict logic, be strict in one's demands work attitude, you can set the </a:t>
            </a:r>
            <a:r>
              <a:rPr lang="en-US" altLang="zh-CN" sz="1200" dirty="0" err="1">
                <a:solidFill>
                  <a:schemeClr val="bg1"/>
                </a:solidFill>
              </a:rPr>
              <a:t>developmentbe</a:t>
            </a:r>
            <a:r>
              <a:rPr lang="en-US" altLang="zh-CN" sz="1200" dirty="0">
                <a:solidFill>
                  <a:schemeClr val="bg1"/>
                </a:solidFill>
              </a:rPr>
              <a:t> a tiger with wings added!</a:t>
            </a:r>
            <a:endParaRPr lang="en-US" altLang="zh-CN" sz="1200" dirty="0">
              <a:solidFill>
                <a:schemeClr val="bg1"/>
              </a:solidFill>
            </a:endParaRPr>
          </a:p>
          <a:p>
            <a:endParaRPr lang="en-US" altLang="zh-CN" sz="12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68" y="194742"/>
            <a:ext cx="788276" cy="734904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1158845" y="362139"/>
            <a:ext cx="2326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标题</a:t>
            </a:r>
            <a:endParaRPr lang="zh-CN" altLang="en-US" sz="2000" b="1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1945607" y="681959"/>
            <a:ext cx="8427534" cy="5709971"/>
            <a:chOff x="1847528" y="966815"/>
            <a:chExt cx="8427534" cy="5709971"/>
          </a:xfrm>
        </p:grpSpPr>
        <p:sp>
          <p:nvSpPr>
            <p:cNvPr id="7" name="矩形 6"/>
            <p:cNvSpPr/>
            <p:nvPr/>
          </p:nvSpPr>
          <p:spPr>
            <a:xfrm>
              <a:off x="1847528" y="4250569"/>
              <a:ext cx="2808312" cy="792088"/>
            </a:xfrm>
            <a:prstGeom prst="rect">
              <a:avLst/>
            </a:prstGeom>
            <a:solidFill>
              <a:srgbClr val="01B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/>
            <p:cNvSpPr/>
            <p:nvPr/>
          </p:nvSpPr>
          <p:spPr>
            <a:xfrm>
              <a:off x="4655840" y="3458481"/>
              <a:ext cx="2808312" cy="792088"/>
            </a:xfrm>
            <a:prstGeom prst="rect">
              <a:avLst/>
            </a:prstGeom>
            <a:solidFill>
              <a:srgbClr val="F79E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 8"/>
            <p:cNvSpPr/>
            <p:nvPr/>
          </p:nvSpPr>
          <p:spPr>
            <a:xfrm>
              <a:off x="7466750" y="2658854"/>
              <a:ext cx="2808312" cy="792088"/>
            </a:xfrm>
            <a:prstGeom prst="rect">
              <a:avLst/>
            </a:prstGeom>
            <a:solidFill>
              <a:srgbClr val="AAB1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文本框 34"/>
            <p:cNvSpPr txBox="1"/>
            <p:nvPr/>
          </p:nvSpPr>
          <p:spPr>
            <a:xfrm>
              <a:off x="1857782" y="5107126"/>
              <a:ext cx="2798058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专业的团队，完善的售后，热情的服务，科学严谨的逻辑，一丝不苟的工作态度，定能使您的发展如虎添翼！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文本框 34"/>
            <p:cNvSpPr txBox="1"/>
            <p:nvPr/>
          </p:nvSpPr>
          <p:spPr>
            <a:xfrm>
              <a:off x="4734904" y="4387046"/>
              <a:ext cx="2777512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专业的团队，完善的售后，热情的服务，科学严谨的逻辑，一丝不苟的工作态度，定能使您的发展如虎添翼！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文本框 34"/>
            <p:cNvSpPr txBox="1"/>
            <p:nvPr/>
          </p:nvSpPr>
          <p:spPr>
            <a:xfrm>
              <a:off x="7512416" y="3566678"/>
              <a:ext cx="2760048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我们工作室致力于专业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板的发布，课件及汇报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美化，并为您提供专业的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性定制服务。我们秉承“给您演示的光和热”的理念，为您分担职场压力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,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让您的每一次亮相都信心澎湃。专业的团队，完善的售后，热情的服务，科学严谨的逻辑，一丝不苟的工作态度，定能使您的发展如虎添翼！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2186876" y="4494182"/>
              <a:ext cx="23762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文本框 13"/>
            <p:cNvSpPr txBox="1"/>
            <p:nvPr/>
          </p:nvSpPr>
          <p:spPr>
            <a:xfrm>
              <a:off x="5080534" y="3707826"/>
              <a:ext cx="23762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文本框 14"/>
            <p:cNvSpPr txBox="1"/>
            <p:nvPr/>
          </p:nvSpPr>
          <p:spPr>
            <a:xfrm>
              <a:off x="7898798" y="2900714"/>
              <a:ext cx="23762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标题</a:t>
              </a:r>
              <a:endPara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6" name="组合 15"/>
            <p:cNvGrpSpPr/>
            <p:nvPr/>
          </p:nvGrpSpPr>
          <p:grpSpPr>
            <a:xfrm>
              <a:off x="8330846" y="966815"/>
              <a:ext cx="1080120" cy="1666289"/>
              <a:chOff x="3763963" y="460375"/>
              <a:chExt cx="1878012" cy="2897188"/>
            </a:xfrm>
          </p:grpSpPr>
          <p:sp>
            <p:nvSpPr>
              <p:cNvPr id="89" name="AutoShape 69"/>
              <p:cNvSpPr>
                <a:spLocks noChangeAspect="1" noChangeArrowheads="1" noTextEdit="1"/>
              </p:cNvSpPr>
              <p:nvPr/>
            </p:nvSpPr>
            <p:spPr bwMode="auto">
              <a:xfrm>
                <a:off x="3779838" y="476250"/>
                <a:ext cx="1862137" cy="28813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Freeform 71"/>
              <p:cNvSpPr/>
              <p:nvPr/>
            </p:nvSpPr>
            <p:spPr bwMode="auto">
              <a:xfrm>
                <a:off x="4657725" y="776288"/>
                <a:ext cx="182562" cy="179388"/>
              </a:xfrm>
              <a:custGeom>
                <a:avLst/>
                <a:gdLst>
                  <a:gd name="T0" fmla="*/ 0 w 12"/>
                  <a:gd name="T1" fmla="*/ 1 h 12"/>
                  <a:gd name="T2" fmla="*/ 0 w 12"/>
                  <a:gd name="T3" fmla="*/ 6 h 12"/>
                  <a:gd name="T4" fmla="*/ 4 w 12"/>
                  <a:gd name="T5" fmla="*/ 12 h 12"/>
                  <a:gd name="T6" fmla="*/ 10 w 12"/>
                  <a:gd name="T7" fmla="*/ 10 h 12"/>
                  <a:gd name="T8" fmla="*/ 12 w 12"/>
                  <a:gd name="T9" fmla="*/ 6 h 12"/>
                  <a:gd name="T10" fmla="*/ 12 w 12"/>
                  <a:gd name="T11" fmla="*/ 1 h 12"/>
                  <a:gd name="T12" fmla="*/ 0 w 12"/>
                  <a:gd name="T13" fmla="*/ 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2">
                    <a:moveTo>
                      <a:pt x="0" y="1"/>
                    </a:moveTo>
                    <a:cubicBezTo>
                      <a:pt x="0" y="1"/>
                      <a:pt x="0" y="6"/>
                      <a:pt x="0" y="6"/>
                    </a:cubicBezTo>
                    <a:cubicBezTo>
                      <a:pt x="0" y="6"/>
                      <a:pt x="3" y="12"/>
                      <a:pt x="4" y="12"/>
                    </a:cubicBezTo>
                    <a:cubicBezTo>
                      <a:pt x="6" y="12"/>
                      <a:pt x="10" y="11"/>
                      <a:pt x="10" y="10"/>
                    </a:cubicBezTo>
                    <a:cubicBezTo>
                      <a:pt x="11" y="10"/>
                      <a:pt x="12" y="6"/>
                      <a:pt x="12" y="6"/>
                    </a:cubicBezTo>
                    <a:cubicBezTo>
                      <a:pt x="12" y="6"/>
                      <a:pt x="12" y="2"/>
                      <a:pt x="12" y="1"/>
                    </a:cubicBezTo>
                    <a:cubicBezTo>
                      <a:pt x="12" y="0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F1B1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1" name="Freeform 72"/>
              <p:cNvSpPr/>
              <p:nvPr/>
            </p:nvSpPr>
            <p:spPr bwMode="auto">
              <a:xfrm>
                <a:off x="3779838" y="955675"/>
                <a:ext cx="120650" cy="104775"/>
              </a:xfrm>
              <a:custGeom>
                <a:avLst/>
                <a:gdLst>
                  <a:gd name="T0" fmla="*/ 2 w 8"/>
                  <a:gd name="T1" fmla="*/ 6 h 7"/>
                  <a:gd name="T2" fmla="*/ 3 w 8"/>
                  <a:gd name="T3" fmla="*/ 1 h 7"/>
                  <a:gd name="T4" fmla="*/ 8 w 8"/>
                  <a:gd name="T5" fmla="*/ 4 h 7"/>
                  <a:gd name="T6" fmla="*/ 2 w 8"/>
                  <a:gd name="T7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7">
                    <a:moveTo>
                      <a:pt x="2" y="6"/>
                    </a:moveTo>
                    <a:cubicBezTo>
                      <a:pt x="2" y="6"/>
                      <a:pt x="0" y="2"/>
                      <a:pt x="3" y="1"/>
                    </a:cubicBezTo>
                    <a:cubicBezTo>
                      <a:pt x="7" y="0"/>
                      <a:pt x="8" y="4"/>
                      <a:pt x="8" y="4"/>
                    </a:cubicBezTo>
                    <a:cubicBezTo>
                      <a:pt x="8" y="4"/>
                      <a:pt x="2" y="7"/>
                      <a:pt x="2" y="6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2" name="Freeform 73"/>
              <p:cNvSpPr/>
              <p:nvPr/>
            </p:nvSpPr>
            <p:spPr bwMode="auto">
              <a:xfrm>
                <a:off x="5505450" y="1016000"/>
                <a:ext cx="106362" cy="119063"/>
              </a:xfrm>
              <a:custGeom>
                <a:avLst/>
                <a:gdLst>
                  <a:gd name="T0" fmla="*/ 0 w 7"/>
                  <a:gd name="T1" fmla="*/ 4 h 8"/>
                  <a:gd name="T2" fmla="*/ 3 w 7"/>
                  <a:gd name="T3" fmla="*/ 8 h 8"/>
                  <a:gd name="T4" fmla="*/ 7 w 7"/>
                  <a:gd name="T5" fmla="*/ 6 h 8"/>
                  <a:gd name="T6" fmla="*/ 5 w 7"/>
                  <a:gd name="T7" fmla="*/ 1 h 8"/>
                  <a:gd name="T8" fmla="*/ 0 w 7"/>
                  <a:gd name="T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8">
                    <a:moveTo>
                      <a:pt x="0" y="4"/>
                    </a:moveTo>
                    <a:cubicBezTo>
                      <a:pt x="0" y="4"/>
                      <a:pt x="1" y="8"/>
                      <a:pt x="3" y="8"/>
                    </a:cubicBezTo>
                    <a:cubicBezTo>
                      <a:pt x="4" y="8"/>
                      <a:pt x="7" y="7"/>
                      <a:pt x="7" y="6"/>
                    </a:cubicBezTo>
                    <a:cubicBezTo>
                      <a:pt x="7" y="5"/>
                      <a:pt x="7" y="3"/>
                      <a:pt x="5" y="1"/>
                    </a:cubicBezTo>
                    <a:cubicBezTo>
                      <a:pt x="4" y="0"/>
                      <a:pt x="0" y="4"/>
                      <a:pt x="0" y="4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3" name="Freeform 74"/>
              <p:cNvSpPr/>
              <p:nvPr/>
            </p:nvSpPr>
            <p:spPr bwMode="auto">
              <a:xfrm>
                <a:off x="4310063" y="1525588"/>
                <a:ext cx="877887" cy="434975"/>
              </a:xfrm>
              <a:custGeom>
                <a:avLst/>
                <a:gdLst>
                  <a:gd name="T0" fmla="*/ 0 w 58"/>
                  <a:gd name="T1" fmla="*/ 26 h 29"/>
                  <a:gd name="T2" fmla="*/ 17 w 58"/>
                  <a:gd name="T3" fmla="*/ 29 h 29"/>
                  <a:gd name="T4" fmla="*/ 58 w 58"/>
                  <a:gd name="T5" fmla="*/ 27 h 29"/>
                  <a:gd name="T6" fmla="*/ 58 w 58"/>
                  <a:gd name="T7" fmla="*/ 27 h 29"/>
                  <a:gd name="T8" fmla="*/ 50 w 58"/>
                  <a:gd name="T9" fmla="*/ 1 h 29"/>
                  <a:gd name="T10" fmla="*/ 11 w 58"/>
                  <a:gd name="T11" fmla="*/ 0 h 29"/>
                  <a:gd name="T12" fmla="*/ 0 w 58"/>
                  <a:gd name="T13" fmla="*/ 2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29">
                    <a:moveTo>
                      <a:pt x="0" y="26"/>
                    </a:moveTo>
                    <a:cubicBezTo>
                      <a:pt x="0" y="26"/>
                      <a:pt x="6" y="29"/>
                      <a:pt x="17" y="29"/>
                    </a:cubicBezTo>
                    <a:cubicBezTo>
                      <a:pt x="29" y="29"/>
                      <a:pt x="58" y="27"/>
                      <a:pt x="58" y="27"/>
                    </a:cubicBezTo>
                    <a:cubicBezTo>
                      <a:pt x="58" y="28"/>
                      <a:pt x="58" y="27"/>
                      <a:pt x="58" y="27"/>
                    </a:cubicBezTo>
                    <a:cubicBezTo>
                      <a:pt x="50" y="1"/>
                      <a:pt x="50" y="1"/>
                      <a:pt x="50" y="1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0" y="21"/>
                      <a:pt x="0" y="2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4" name="Freeform 75"/>
              <p:cNvSpPr/>
              <p:nvPr/>
            </p:nvSpPr>
            <p:spPr bwMode="auto">
              <a:xfrm>
                <a:off x="4446588" y="1601788"/>
                <a:ext cx="635000" cy="1604963"/>
              </a:xfrm>
              <a:custGeom>
                <a:avLst/>
                <a:gdLst>
                  <a:gd name="T0" fmla="*/ 0 w 42"/>
                  <a:gd name="T1" fmla="*/ 8 h 107"/>
                  <a:gd name="T2" fmla="*/ 2 w 42"/>
                  <a:gd name="T3" fmla="*/ 32 h 107"/>
                  <a:gd name="T4" fmla="*/ 5 w 42"/>
                  <a:gd name="T5" fmla="*/ 44 h 107"/>
                  <a:gd name="T6" fmla="*/ 7 w 42"/>
                  <a:gd name="T7" fmla="*/ 71 h 107"/>
                  <a:gd name="T8" fmla="*/ 11 w 42"/>
                  <a:gd name="T9" fmla="*/ 101 h 107"/>
                  <a:gd name="T10" fmla="*/ 11 w 42"/>
                  <a:gd name="T11" fmla="*/ 107 h 107"/>
                  <a:gd name="T12" fmla="*/ 23 w 42"/>
                  <a:gd name="T13" fmla="*/ 107 h 107"/>
                  <a:gd name="T14" fmla="*/ 23 w 42"/>
                  <a:gd name="T15" fmla="*/ 103 h 107"/>
                  <a:gd name="T16" fmla="*/ 21 w 42"/>
                  <a:gd name="T17" fmla="*/ 99 h 107"/>
                  <a:gd name="T18" fmla="*/ 24 w 42"/>
                  <a:gd name="T19" fmla="*/ 93 h 107"/>
                  <a:gd name="T20" fmla="*/ 21 w 42"/>
                  <a:gd name="T21" fmla="*/ 38 h 107"/>
                  <a:gd name="T22" fmla="*/ 24 w 42"/>
                  <a:gd name="T23" fmla="*/ 50 h 107"/>
                  <a:gd name="T24" fmla="*/ 26 w 42"/>
                  <a:gd name="T25" fmla="*/ 63 h 107"/>
                  <a:gd name="T26" fmla="*/ 26 w 42"/>
                  <a:gd name="T27" fmla="*/ 87 h 107"/>
                  <a:gd name="T28" fmla="*/ 28 w 42"/>
                  <a:gd name="T29" fmla="*/ 96 h 107"/>
                  <a:gd name="T30" fmla="*/ 36 w 42"/>
                  <a:gd name="T31" fmla="*/ 97 h 107"/>
                  <a:gd name="T32" fmla="*/ 38 w 42"/>
                  <a:gd name="T33" fmla="*/ 91 h 107"/>
                  <a:gd name="T34" fmla="*/ 38 w 42"/>
                  <a:gd name="T35" fmla="*/ 85 h 107"/>
                  <a:gd name="T36" fmla="*/ 39 w 42"/>
                  <a:gd name="T37" fmla="*/ 60 h 107"/>
                  <a:gd name="T38" fmla="*/ 39 w 42"/>
                  <a:gd name="T39" fmla="*/ 52 h 107"/>
                  <a:gd name="T40" fmla="*/ 41 w 42"/>
                  <a:gd name="T41" fmla="*/ 20 h 107"/>
                  <a:gd name="T42" fmla="*/ 40 w 42"/>
                  <a:gd name="T43" fmla="*/ 2 h 107"/>
                  <a:gd name="T44" fmla="*/ 2 w 42"/>
                  <a:gd name="T45" fmla="*/ 0 h 107"/>
                  <a:gd name="T46" fmla="*/ 0 w 42"/>
                  <a:gd name="T47" fmla="*/ 8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2" h="107">
                    <a:moveTo>
                      <a:pt x="0" y="8"/>
                    </a:moveTo>
                    <a:cubicBezTo>
                      <a:pt x="0" y="8"/>
                      <a:pt x="1" y="28"/>
                      <a:pt x="2" y="32"/>
                    </a:cubicBezTo>
                    <a:cubicBezTo>
                      <a:pt x="4" y="35"/>
                      <a:pt x="5" y="43"/>
                      <a:pt x="5" y="44"/>
                    </a:cubicBezTo>
                    <a:cubicBezTo>
                      <a:pt x="5" y="45"/>
                      <a:pt x="4" y="65"/>
                      <a:pt x="7" y="71"/>
                    </a:cubicBezTo>
                    <a:cubicBezTo>
                      <a:pt x="7" y="71"/>
                      <a:pt x="9" y="100"/>
                      <a:pt x="11" y="101"/>
                    </a:cubicBezTo>
                    <a:cubicBezTo>
                      <a:pt x="11" y="101"/>
                      <a:pt x="8" y="106"/>
                      <a:pt x="11" y="107"/>
                    </a:cubicBezTo>
                    <a:cubicBezTo>
                      <a:pt x="11" y="107"/>
                      <a:pt x="21" y="106"/>
                      <a:pt x="23" y="107"/>
                    </a:cubicBezTo>
                    <a:cubicBezTo>
                      <a:pt x="23" y="107"/>
                      <a:pt x="24" y="104"/>
                      <a:pt x="23" y="103"/>
                    </a:cubicBezTo>
                    <a:cubicBezTo>
                      <a:pt x="22" y="102"/>
                      <a:pt x="21" y="99"/>
                      <a:pt x="21" y="99"/>
                    </a:cubicBezTo>
                    <a:cubicBezTo>
                      <a:pt x="21" y="99"/>
                      <a:pt x="25" y="94"/>
                      <a:pt x="24" y="93"/>
                    </a:cubicBezTo>
                    <a:cubicBezTo>
                      <a:pt x="23" y="91"/>
                      <a:pt x="19" y="43"/>
                      <a:pt x="21" y="38"/>
                    </a:cubicBezTo>
                    <a:cubicBezTo>
                      <a:pt x="21" y="38"/>
                      <a:pt x="23" y="50"/>
                      <a:pt x="24" y="50"/>
                    </a:cubicBezTo>
                    <a:cubicBezTo>
                      <a:pt x="24" y="50"/>
                      <a:pt x="25" y="62"/>
                      <a:pt x="26" y="63"/>
                    </a:cubicBezTo>
                    <a:cubicBezTo>
                      <a:pt x="26" y="63"/>
                      <a:pt x="30" y="84"/>
                      <a:pt x="26" y="87"/>
                    </a:cubicBezTo>
                    <a:cubicBezTo>
                      <a:pt x="26" y="87"/>
                      <a:pt x="25" y="95"/>
                      <a:pt x="28" y="96"/>
                    </a:cubicBezTo>
                    <a:cubicBezTo>
                      <a:pt x="36" y="97"/>
                      <a:pt x="36" y="97"/>
                      <a:pt x="36" y="97"/>
                    </a:cubicBezTo>
                    <a:cubicBezTo>
                      <a:pt x="36" y="97"/>
                      <a:pt x="38" y="92"/>
                      <a:pt x="38" y="91"/>
                    </a:cubicBezTo>
                    <a:cubicBezTo>
                      <a:pt x="39" y="89"/>
                      <a:pt x="39" y="87"/>
                      <a:pt x="38" y="85"/>
                    </a:cubicBezTo>
                    <a:cubicBezTo>
                      <a:pt x="38" y="84"/>
                      <a:pt x="37" y="61"/>
                      <a:pt x="39" y="60"/>
                    </a:cubicBezTo>
                    <a:cubicBezTo>
                      <a:pt x="41" y="58"/>
                      <a:pt x="42" y="55"/>
                      <a:pt x="39" y="52"/>
                    </a:cubicBezTo>
                    <a:cubicBezTo>
                      <a:pt x="39" y="52"/>
                      <a:pt x="42" y="24"/>
                      <a:pt x="41" y="20"/>
                    </a:cubicBezTo>
                    <a:cubicBezTo>
                      <a:pt x="40" y="17"/>
                      <a:pt x="40" y="2"/>
                      <a:pt x="40" y="2"/>
                    </a:cubicBezTo>
                    <a:cubicBezTo>
                      <a:pt x="2" y="0"/>
                      <a:pt x="2" y="0"/>
                      <a:pt x="2" y="0"/>
                    </a:cubicBez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1212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5" name="Freeform 76"/>
              <p:cNvSpPr/>
              <p:nvPr/>
            </p:nvSpPr>
            <p:spPr bwMode="auto">
              <a:xfrm>
                <a:off x="4446588" y="1601788"/>
                <a:ext cx="271462" cy="223838"/>
              </a:xfrm>
              <a:custGeom>
                <a:avLst/>
                <a:gdLst>
                  <a:gd name="T0" fmla="*/ 2 w 18"/>
                  <a:gd name="T1" fmla="*/ 2 h 15"/>
                  <a:gd name="T2" fmla="*/ 0 w 18"/>
                  <a:gd name="T3" fmla="*/ 8 h 15"/>
                  <a:gd name="T4" fmla="*/ 0 w 18"/>
                  <a:gd name="T5" fmla="*/ 15 h 15"/>
                  <a:gd name="T6" fmla="*/ 4 w 18"/>
                  <a:gd name="T7" fmla="*/ 11 h 15"/>
                  <a:gd name="T8" fmla="*/ 7 w 18"/>
                  <a:gd name="T9" fmla="*/ 7 h 15"/>
                  <a:gd name="T10" fmla="*/ 18 w 18"/>
                  <a:gd name="T11" fmla="*/ 10 h 15"/>
                  <a:gd name="T12" fmla="*/ 5 w 18"/>
                  <a:gd name="T13" fmla="*/ 0 h 15"/>
                  <a:gd name="T14" fmla="*/ 4 w 18"/>
                  <a:gd name="T15" fmla="*/ 0 h 15"/>
                  <a:gd name="T16" fmla="*/ 2 w 18"/>
                  <a:gd name="T17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5">
                    <a:moveTo>
                      <a:pt x="2" y="2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0" y="11"/>
                      <a:pt x="0" y="15"/>
                    </a:cubicBezTo>
                    <a:cubicBezTo>
                      <a:pt x="1" y="13"/>
                      <a:pt x="3" y="12"/>
                      <a:pt x="4" y="11"/>
                    </a:cubicBezTo>
                    <a:cubicBezTo>
                      <a:pt x="7" y="8"/>
                      <a:pt x="4" y="8"/>
                      <a:pt x="7" y="7"/>
                    </a:cubicBezTo>
                    <a:cubicBezTo>
                      <a:pt x="10" y="7"/>
                      <a:pt x="15" y="11"/>
                      <a:pt x="18" y="1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0"/>
                      <a:pt x="4" y="0"/>
                      <a:pt x="4" y="0"/>
                    </a:cubicBez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6" name="Freeform 77"/>
              <p:cNvSpPr/>
              <p:nvPr/>
            </p:nvSpPr>
            <p:spPr bwMode="auto">
              <a:xfrm>
                <a:off x="4551363" y="1616075"/>
                <a:ext cx="530225" cy="1590675"/>
              </a:xfrm>
              <a:custGeom>
                <a:avLst/>
                <a:gdLst>
                  <a:gd name="T0" fmla="*/ 27 w 35"/>
                  <a:gd name="T1" fmla="*/ 84 h 106"/>
                  <a:gd name="T2" fmla="*/ 25 w 35"/>
                  <a:gd name="T3" fmla="*/ 71 h 106"/>
                  <a:gd name="T4" fmla="*/ 19 w 35"/>
                  <a:gd name="T5" fmla="*/ 36 h 106"/>
                  <a:gd name="T6" fmla="*/ 17 w 35"/>
                  <a:gd name="T7" fmla="*/ 23 h 106"/>
                  <a:gd name="T8" fmla="*/ 29 w 35"/>
                  <a:gd name="T9" fmla="*/ 25 h 106"/>
                  <a:gd name="T10" fmla="*/ 33 w 35"/>
                  <a:gd name="T11" fmla="*/ 37 h 106"/>
                  <a:gd name="T12" fmla="*/ 34 w 35"/>
                  <a:gd name="T13" fmla="*/ 19 h 106"/>
                  <a:gd name="T14" fmla="*/ 33 w 35"/>
                  <a:gd name="T15" fmla="*/ 1 h 106"/>
                  <a:gd name="T16" fmla="*/ 8 w 35"/>
                  <a:gd name="T17" fmla="*/ 0 h 106"/>
                  <a:gd name="T18" fmla="*/ 0 w 35"/>
                  <a:gd name="T19" fmla="*/ 3 h 106"/>
                  <a:gd name="T20" fmla="*/ 12 w 35"/>
                  <a:gd name="T21" fmla="*/ 17 h 106"/>
                  <a:gd name="T22" fmla="*/ 0 w 35"/>
                  <a:gd name="T23" fmla="*/ 19 h 106"/>
                  <a:gd name="T24" fmla="*/ 4 w 35"/>
                  <a:gd name="T25" fmla="*/ 20 h 106"/>
                  <a:gd name="T26" fmla="*/ 7 w 35"/>
                  <a:gd name="T27" fmla="*/ 25 h 106"/>
                  <a:gd name="T28" fmla="*/ 0 w 35"/>
                  <a:gd name="T29" fmla="*/ 25 h 106"/>
                  <a:gd name="T30" fmla="*/ 9 w 35"/>
                  <a:gd name="T31" fmla="*/ 29 h 106"/>
                  <a:gd name="T32" fmla="*/ 0 w 35"/>
                  <a:gd name="T33" fmla="*/ 30 h 106"/>
                  <a:gd name="T34" fmla="*/ 7 w 35"/>
                  <a:gd name="T35" fmla="*/ 30 h 106"/>
                  <a:gd name="T36" fmla="*/ 9 w 35"/>
                  <a:gd name="T37" fmla="*/ 56 h 106"/>
                  <a:gd name="T38" fmla="*/ 13 w 35"/>
                  <a:gd name="T39" fmla="*/ 76 h 106"/>
                  <a:gd name="T40" fmla="*/ 11 w 35"/>
                  <a:gd name="T41" fmla="*/ 85 h 106"/>
                  <a:gd name="T42" fmla="*/ 4 w 35"/>
                  <a:gd name="T43" fmla="*/ 39 h 106"/>
                  <a:gd name="T44" fmla="*/ 9 w 35"/>
                  <a:gd name="T45" fmla="*/ 86 h 106"/>
                  <a:gd name="T46" fmla="*/ 12 w 35"/>
                  <a:gd name="T47" fmla="*/ 96 h 106"/>
                  <a:gd name="T48" fmla="*/ 12 w 35"/>
                  <a:gd name="T49" fmla="*/ 100 h 106"/>
                  <a:gd name="T50" fmla="*/ 2 w 35"/>
                  <a:gd name="T51" fmla="*/ 94 h 106"/>
                  <a:gd name="T52" fmla="*/ 4 w 35"/>
                  <a:gd name="T53" fmla="*/ 100 h 106"/>
                  <a:gd name="T54" fmla="*/ 4 w 35"/>
                  <a:gd name="T55" fmla="*/ 106 h 106"/>
                  <a:gd name="T56" fmla="*/ 16 w 35"/>
                  <a:gd name="T57" fmla="*/ 106 h 106"/>
                  <a:gd name="T58" fmla="*/ 17 w 35"/>
                  <a:gd name="T59" fmla="*/ 101 h 106"/>
                  <a:gd name="T60" fmla="*/ 17 w 35"/>
                  <a:gd name="T61" fmla="*/ 98 h 106"/>
                  <a:gd name="T62" fmla="*/ 17 w 35"/>
                  <a:gd name="T63" fmla="*/ 92 h 106"/>
                  <a:gd name="T64" fmla="*/ 14 w 35"/>
                  <a:gd name="T65" fmla="*/ 37 h 106"/>
                  <a:gd name="T66" fmla="*/ 16 w 35"/>
                  <a:gd name="T67" fmla="*/ 49 h 106"/>
                  <a:gd name="T68" fmla="*/ 19 w 35"/>
                  <a:gd name="T69" fmla="*/ 63 h 106"/>
                  <a:gd name="T70" fmla="*/ 19 w 35"/>
                  <a:gd name="T71" fmla="*/ 86 h 106"/>
                  <a:gd name="T72" fmla="*/ 21 w 35"/>
                  <a:gd name="T73" fmla="*/ 95 h 106"/>
                  <a:gd name="T74" fmla="*/ 29 w 35"/>
                  <a:gd name="T75" fmla="*/ 96 h 106"/>
                  <a:gd name="T76" fmla="*/ 31 w 35"/>
                  <a:gd name="T77" fmla="*/ 90 h 106"/>
                  <a:gd name="T78" fmla="*/ 31 w 35"/>
                  <a:gd name="T79" fmla="*/ 84 h 106"/>
                  <a:gd name="T80" fmla="*/ 31 w 35"/>
                  <a:gd name="T81" fmla="*/ 84 h 106"/>
                  <a:gd name="T82" fmla="*/ 27 w 35"/>
                  <a:gd name="T83" fmla="*/ 8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5" h="106">
                    <a:moveTo>
                      <a:pt x="27" y="84"/>
                    </a:moveTo>
                    <a:cubicBezTo>
                      <a:pt x="27" y="84"/>
                      <a:pt x="25" y="74"/>
                      <a:pt x="25" y="71"/>
                    </a:cubicBezTo>
                    <a:cubicBezTo>
                      <a:pt x="27" y="63"/>
                      <a:pt x="20" y="39"/>
                      <a:pt x="19" y="36"/>
                    </a:cubicBezTo>
                    <a:cubicBezTo>
                      <a:pt x="19" y="33"/>
                      <a:pt x="18" y="25"/>
                      <a:pt x="17" y="23"/>
                    </a:cubicBezTo>
                    <a:cubicBezTo>
                      <a:pt x="16" y="21"/>
                      <a:pt x="26" y="24"/>
                      <a:pt x="29" y="25"/>
                    </a:cubicBezTo>
                    <a:cubicBezTo>
                      <a:pt x="31" y="26"/>
                      <a:pt x="33" y="32"/>
                      <a:pt x="33" y="37"/>
                    </a:cubicBezTo>
                    <a:cubicBezTo>
                      <a:pt x="34" y="29"/>
                      <a:pt x="35" y="21"/>
                      <a:pt x="34" y="19"/>
                    </a:cubicBezTo>
                    <a:cubicBezTo>
                      <a:pt x="33" y="16"/>
                      <a:pt x="33" y="1"/>
                      <a:pt x="33" y="1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4" y="5"/>
                      <a:pt x="16" y="14"/>
                      <a:pt x="12" y="17"/>
                    </a:cubicBezTo>
                    <a:cubicBezTo>
                      <a:pt x="9" y="21"/>
                      <a:pt x="0" y="19"/>
                      <a:pt x="0" y="19"/>
                    </a:cubicBezTo>
                    <a:cubicBezTo>
                      <a:pt x="0" y="19"/>
                      <a:pt x="0" y="19"/>
                      <a:pt x="4" y="20"/>
                    </a:cubicBezTo>
                    <a:cubicBezTo>
                      <a:pt x="8" y="22"/>
                      <a:pt x="7" y="25"/>
                      <a:pt x="7" y="25"/>
                    </a:cubicBezTo>
                    <a:cubicBezTo>
                      <a:pt x="1" y="23"/>
                      <a:pt x="0" y="25"/>
                      <a:pt x="0" y="25"/>
                    </a:cubicBezTo>
                    <a:cubicBezTo>
                      <a:pt x="5" y="26"/>
                      <a:pt x="9" y="29"/>
                      <a:pt x="9" y="29"/>
                    </a:cubicBezTo>
                    <a:cubicBezTo>
                      <a:pt x="3" y="26"/>
                      <a:pt x="0" y="30"/>
                      <a:pt x="0" y="30"/>
                    </a:cubicBezTo>
                    <a:cubicBezTo>
                      <a:pt x="0" y="30"/>
                      <a:pt x="5" y="27"/>
                      <a:pt x="7" y="30"/>
                    </a:cubicBezTo>
                    <a:cubicBezTo>
                      <a:pt x="8" y="34"/>
                      <a:pt x="9" y="53"/>
                      <a:pt x="9" y="56"/>
                    </a:cubicBezTo>
                    <a:cubicBezTo>
                      <a:pt x="9" y="59"/>
                      <a:pt x="12" y="74"/>
                      <a:pt x="13" y="76"/>
                    </a:cubicBezTo>
                    <a:cubicBezTo>
                      <a:pt x="14" y="78"/>
                      <a:pt x="13" y="87"/>
                      <a:pt x="11" y="85"/>
                    </a:cubicBezTo>
                    <a:cubicBezTo>
                      <a:pt x="10" y="83"/>
                      <a:pt x="4" y="39"/>
                      <a:pt x="4" y="39"/>
                    </a:cubicBezTo>
                    <a:cubicBezTo>
                      <a:pt x="9" y="86"/>
                      <a:pt x="9" y="86"/>
                      <a:pt x="9" y="86"/>
                    </a:cubicBezTo>
                    <a:cubicBezTo>
                      <a:pt x="9" y="86"/>
                      <a:pt x="10" y="93"/>
                      <a:pt x="12" y="96"/>
                    </a:cubicBezTo>
                    <a:cubicBezTo>
                      <a:pt x="14" y="99"/>
                      <a:pt x="12" y="100"/>
                      <a:pt x="12" y="100"/>
                    </a:cubicBezTo>
                    <a:cubicBezTo>
                      <a:pt x="11" y="100"/>
                      <a:pt x="6" y="97"/>
                      <a:pt x="2" y="94"/>
                    </a:cubicBezTo>
                    <a:cubicBezTo>
                      <a:pt x="3" y="98"/>
                      <a:pt x="3" y="100"/>
                      <a:pt x="4" y="100"/>
                    </a:cubicBezTo>
                    <a:cubicBezTo>
                      <a:pt x="4" y="100"/>
                      <a:pt x="1" y="105"/>
                      <a:pt x="4" y="106"/>
                    </a:cubicBezTo>
                    <a:cubicBezTo>
                      <a:pt x="4" y="106"/>
                      <a:pt x="14" y="105"/>
                      <a:pt x="16" y="106"/>
                    </a:cubicBezTo>
                    <a:cubicBezTo>
                      <a:pt x="16" y="106"/>
                      <a:pt x="18" y="102"/>
                      <a:pt x="17" y="101"/>
                    </a:cubicBezTo>
                    <a:cubicBezTo>
                      <a:pt x="16" y="100"/>
                      <a:pt x="17" y="98"/>
                      <a:pt x="17" y="98"/>
                    </a:cubicBezTo>
                    <a:cubicBezTo>
                      <a:pt x="17" y="98"/>
                      <a:pt x="18" y="93"/>
                      <a:pt x="17" y="92"/>
                    </a:cubicBezTo>
                    <a:cubicBezTo>
                      <a:pt x="16" y="90"/>
                      <a:pt x="12" y="42"/>
                      <a:pt x="14" y="37"/>
                    </a:cubicBezTo>
                    <a:cubicBezTo>
                      <a:pt x="14" y="37"/>
                      <a:pt x="15" y="49"/>
                      <a:pt x="16" y="49"/>
                    </a:cubicBezTo>
                    <a:cubicBezTo>
                      <a:pt x="16" y="49"/>
                      <a:pt x="17" y="62"/>
                      <a:pt x="19" y="63"/>
                    </a:cubicBezTo>
                    <a:cubicBezTo>
                      <a:pt x="19" y="63"/>
                      <a:pt x="21" y="83"/>
                      <a:pt x="19" y="86"/>
                    </a:cubicBezTo>
                    <a:cubicBezTo>
                      <a:pt x="19" y="86"/>
                      <a:pt x="18" y="94"/>
                      <a:pt x="21" y="95"/>
                    </a:cubicBezTo>
                    <a:cubicBezTo>
                      <a:pt x="29" y="96"/>
                      <a:pt x="29" y="96"/>
                      <a:pt x="29" y="96"/>
                    </a:cubicBezTo>
                    <a:cubicBezTo>
                      <a:pt x="29" y="96"/>
                      <a:pt x="31" y="91"/>
                      <a:pt x="31" y="90"/>
                    </a:cubicBezTo>
                    <a:cubicBezTo>
                      <a:pt x="32" y="88"/>
                      <a:pt x="32" y="86"/>
                      <a:pt x="31" y="84"/>
                    </a:cubicBezTo>
                    <a:cubicBezTo>
                      <a:pt x="31" y="84"/>
                      <a:pt x="31" y="84"/>
                      <a:pt x="31" y="84"/>
                    </a:cubicBezTo>
                    <a:cubicBezTo>
                      <a:pt x="29" y="84"/>
                      <a:pt x="27" y="84"/>
                      <a:pt x="27" y="8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7" name="Freeform 78"/>
              <p:cNvSpPr/>
              <p:nvPr/>
            </p:nvSpPr>
            <p:spPr bwMode="auto">
              <a:xfrm>
                <a:off x="4657725" y="790575"/>
                <a:ext cx="136525" cy="165100"/>
              </a:xfrm>
              <a:custGeom>
                <a:avLst/>
                <a:gdLst>
                  <a:gd name="T0" fmla="*/ 0 w 9"/>
                  <a:gd name="T1" fmla="*/ 0 h 11"/>
                  <a:gd name="T2" fmla="*/ 0 w 9"/>
                  <a:gd name="T3" fmla="*/ 5 h 11"/>
                  <a:gd name="T4" fmla="*/ 4 w 9"/>
                  <a:gd name="T5" fmla="*/ 11 h 11"/>
                  <a:gd name="T6" fmla="*/ 5 w 9"/>
                  <a:gd name="T7" fmla="*/ 11 h 11"/>
                  <a:gd name="T8" fmla="*/ 6 w 9"/>
                  <a:gd name="T9" fmla="*/ 9 h 11"/>
                  <a:gd name="T10" fmla="*/ 6 w 9"/>
                  <a:gd name="T11" fmla="*/ 7 h 11"/>
                  <a:gd name="T12" fmla="*/ 8 w 9"/>
                  <a:gd name="T13" fmla="*/ 6 h 11"/>
                  <a:gd name="T14" fmla="*/ 9 w 9"/>
                  <a:gd name="T15" fmla="*/ 4 h 11"/>
                  <a:gd name="T16" fmla="*/ 2 w 9"/>
                  <a:gd name="T17" fmla="*/ 0 h 11"/>
                  <a:gd name="T18" fmla="*/ 0 w 9"/>
                  <a:gd name="T1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11">
                    <a:moveTo>
                      <a:pt x="0" y="0"/>
                    </a:moveTo>
                    <a:cubicBezTo>
                      <a:pt x="0" y="0"/>
                      <a:pt x="0" y="5"/>
                      <a:pt x="0" y="5"/>
                    </a:cubicBezTo>
                    <a:cubicBezTo>
                      <a:pt x="0" y="5"/>
                      <a:pt x="3" y="11"/>
                      <a:pt x="4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0"/>
                      <a:pt x="5" y="9"/>
                      <a:pt x="6" y="9"/>
                    </a:cubicBezTo>
                    <a:cubicBezTo>
                      <a:pt x="7" y="8"/>
                      <a:pt x="6" y="7"/>
                      <a:pt x="6" y="7"/>
                    </a:cubicBezTo>
                    <a:cubicBezTo>
                      <a:pt x="6" y="7"/>
                      <a:pt x="8" y="7"/>
                      <a:pt x="8" y="6"/>
                    </a:cubicBezTo>
                    <a:cubicBezTo>
                      <a:pt x="8" y="5"/>
                      <a:pt x="9" y="4"/>
                      <a:pt x="9" y="4"/>
                    </a:cubicBezTo>
                    <a:cubicBezTo>
                      <a:pt x="9" y="4"/>
                      <a:pt x="5" y="2"/>
                      <a:pt x="2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D081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8" name="Freeform 79"/>
              <p:cNvSpPr/>
              <p:nvPr/>
            </p:nvSpPr>
            <p:spPr bwMode="auto">
              <a:xfrm>
                <a:off x="4446588" y="865188"/>
                <a:ext cx="635000" cy="901700"/>
              </a:xfrm>
              <a:custGeom>
                <a:avLst/>
                <a:gdLst>
                  <a:gd name="T0" fmla="*/ 0 w 42"/>
                  <a:gd name="T1" fmla="*/ 49 h 60"/>
                  <a:gd name="T2" fmla="*/ 21 w 42"/>
                  <a:gd name="T3" fmla="*/ 59 h 60"/>
                  <a:gd name="T4" fmla="*/ 41 w 42"/>
                  <a:gd name="T5" fmla="*/ 49 h 60"/>
                  <a:gd name="T6" fmla="*/ 35 w 42"/>
                  <a:gd name="T7" fmla="*/ 12 h 60"/>
                  <a:gd name="T8" fmla="*/ 26 w 42"/>
                  <a:gd name="T9" fmla="*/ 0 h 60"/>
                  <a:gd name="T10" fmla="*/ 21 w 42"/>
                  <a:gd name="T11" fmla="*/ 4 h 60"/>
                  <a:gd name="T12" fmla="*/ 18 w 42"/>
                  <a:gd name="T13" fmla="*/ 3 h 60"/>
                  <a:gd name="T14" fmla="*/ 15 w 42"/>
                  <a:gd name="T15" fmla="*/ 0 h 60"/>
                  <a:gd name="T16" fmla="*/ 13 w 42"/>
                  <a:gd name="T17" fmla="*/ 0 h 60"/>
                  <a:gd name="T18" fmla="*/ 5 w 42"/>
                  <a:gd name="T19" fmla="*/ 20 h 60"/>
                  <a:gd name="T20" fmla="*/ 0 w 42"/>
                  <a:gd name="T21" fmla="*/ 49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2" h="60">
                    <a:moveTo>
                      <a:pt x="0" y="49"/>
                    </a:moveTo>
                    <a:cubicBezTo>
                      <a:pt x="0" y="49"/>
                      <a:pt x="13" y="60"/>
                      <a:pt x="21" y="59"/>
                    </a:cubicBezTo>
                    <a:cubicBezTo>
                      <a:pt x="28" y="59"/>
                      <a:pt x="41" y="53"/>
                      <a:pt x="41" y="49"/>
                    </a:cubicBezTo>
                    <a:cubicBezTo>
                      <a:pt x="42" y="45"/>
                      <a:pt x="35" y="12"/>
                      <a:pt x="35" y="12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5" y="20"/>
                      <a:pt x="5" y="20"/>
                      <a:pt x="5" y="20"/>
                    </a:cubicBez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F2F2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99" name="Freeform 80"/>
              <p:cNvSpPr/>
              <p:nvPr/>
            </p:nvSpPr>
            <p:spPr bwMode="auto">
              <a:xfrm>
                <a:off x="4446588" y="881063"/>
                <a:ext cx="241300" cy="749300"/>
              </a:xfrm>
              <a:custGeom>
                <a:avLst/>
                <a:gdLst>
                  <a:gd name="T0" fmla="*/ 9 w 16"/>
                  <a:gd name="T1" fmla="*/ 47 h 50"/>
                  <a:gd name="T2" fmla="*/ 7 w 16"/>
                  <a:gd name="T3" fmla="*/ 40 h 50"/>
                  <a:gd name="T4" fmla="*/ 11 w 16"/>
                  <a:gd name="T5" fmla="*/ 46 h 50"/>
                  <a:gd name="T6" fmla="*/ 7 w 16"/>
                  <a:gd name="T7" fmla="*/ 30 h 50"/>
                  <a:gd name="T8" fmla="*/ 13 w 16"/>
                  <a:gd name="T9" fmla="*/ 43 h 50"/>
                  <a:gd name="T10" fmla="*/ 11 w 16"/>
                  <a:gd name="T11" fmla="*/ 32 h 50"/>
                  <a:gd name="T12" fmla="*/ 14 w 16"/>
                  <a:gd name="T13" fmla="*/ 33 h 50"/>
                  <a:gd name="T14" fmla="*/ 11 w 16"/>
                  <a:gd name="T15" fmla="*/ 24 h 50"/>
                  <a:gd name="T16" fmla="*/ 12 w 16"/>
                  <a:gd name="T17" fmla="*/ 3 h 50"/>
                  <a:gd name="T18" fmla="*/ 16 w 16"/>
                  <a:gd name="T19" fmla="*/ 6 h 50"/>
                  <a:gd name="T20" fmla="*/ 12 w 16"/>
                  <a:gd name="T21" fmla="*/ 0 h 50"/>
                  <a:gd name="T22" fmla="*/ 7 w 16"/>
                  <a:gd name="T23" fmla="*/ 13 h 50"/>
                  <a:gd name="T24" fmla="*/ 4 w 16"/>
                  <a:gd name="T25" fmla="*/ 23 h 50"/>
                  <a:gd name="T26" fmla="*/ 0 w 16"/>
                  <a:gd name="T27" fmla="*/ 48 h 50"/>
                  <a:gd name="T28" fmla="*/ 3 w 16"/>
                  <a:gd name="T29" fmla="*/ 50 h 50"/>
                  <a:gd name="T30" fmla="*/ 9 w 16"/>
                  <a:gd name="T31" fmla="*/ 4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" h="50">
                    <a:moveTo>
                      <a:pt x="9" y="47"/>
                    </a:moveTo>
                    <a:cubicBezTo>
                      <a:pt x="9" y="47"/>
                      <a:pt x="5" y="46"/>
                      <a:pt x="7" y="40"/>
                    </a:cubicBezTo>
                    <a:cubicBezTo>
                      <a:pt x="7" y="40"/>
                      <a:pt x="7" y="45"/>
                      <a:pt x="11" y="46"/>
                    </a:cubicBezTo>
                    <a:cubicBezTo>
                      <a:pt x="11" y="46"/>
                      <a:pt x="6" y="42"/>
                      <a:pt x="7" y="30"/>
                    </a:cubicBezTo>
                    <a:cubicBezTo>
                      <a:pt x="7" y="30"/>
                      <a:pt x="8" y="41"/>
                      <a:pt x="13" y="43"/>
                    </a:cubicBezTo>
                    <a:cubicBezTo>
                      <a:pt x="13" y="43"/>
                      <a:pt x="7" y="36"/>
                      <a:pt x="11" y="32"/>
                    </a:cubicBezTo>
                    <a:cubicBezTo>
                      <a:pt x="11" y="32"/>
                      <a:pt x="11" y="35"/>
                      <a:pt x="14" y="33"/>
                    </a:cubicBezTo>
                    <a:cubicBezTo>
                      <a:pt x="14" y="33"/>
                      <a:pt x="9" y="32"/>
                      <a:pt x="11" y="24"/>
                    </a:cubicBezTo>
                    <a:cubicBezTo>
                      <a:pt x="12" y="16"/>
                      <a:pt x="12" y="3"/>
                      <a:pt x="12" y="3"/>
                    </a:cubicBezTo>
                    <a:cubicBezTo>
                      <a:pt x="12" y="3"/>
                      <a:pt x="14" y="6"/>
                      <a:pt x="16" y="6"/>
                    </a:cubicBezTo>
                    <a:cubicBezTo>
                      <a:pt x="16" y="6"/>
                      <a:pt x="12" y="5"/>
                      <a:pt x="12" y="0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6" y="16"/>
                      <a:pt x="5" y="19"/>
                      <a:pt x="4" y="23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8"/>
                      <a:pt x="1" y="49"/>
                      <a:pt x="3" y="50"/>
                    </a:cubicBezTo>
                    <a:cubicBezTo>
                      <a:pt x="4" y="49"/>
                      <a:pt x="6" y="46"/>
                      <a:pt x="9" y="47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0" name="Freeform 81"/>
              <p:cNvSpPr/>
              <p:nvPr/>
            </p:nvSpPr>
            <p:spPr bwMode="auto">
              <a:xfrm>
                <a:off x="4794250" y="895350"/>
                <a:ext cx="76200" cy="74613"/>
              </a:xfrm>
              <a:custGeom>
                <a:avLst/>
                <a:gdLst>
                  <a:gd name="T0" fmla="*/ 5 w 5"/>
                  <a:gd name="T1" fmla="*/ 0 h 5"/>
                  <a:gd name="T2" fmla="*/ 0 w 5"/>
                  <a:gd name="T3" fmla="*/ 5 h 5"/>
                  <a:gd name="T4" fmla="*/ 5 w 5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5">
                    <a:moveTo>
                      <a:pt x="5" y="0"/>
                    </a:moveTo>
                    <a:cubicBezTo>
                      <a:pt x="3" y="2"/>
                      <a:pt x="2" y="4"/>
                      <a:pt x="0" y="5"/>
                    </a:cubicBezTo>
                    <a:cubicBezTo>
                      <a:pt x="0" y="5"/>
                      <a:pt x="2" y="4"/>
                      <a:pt x="5" y="0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1" name="Freeform 82"/>
              <p:cNvSpPr/>
              <p:nvPr/>
            </p:nvSpPr>
            <p:spPr bwMode="auto">
              <a:xfrm>
                <a:off x="4840288" y="925513"/>
                <a:ext cx="241300" cy="750888"/>
              </a:xfrm>
              <a:custGeom>
                <a:avLst/>
                <a:gdLst>
                  <a:gd name="T0" fmla="*/ 15 w 16"/>
                  <a:gd name="T1" fmla="*/ 45 h 50"/>
                  <a:gd name="T2" fmla="*/ 9 w 16"/>
                  <a:gd name="T3" fmla="*/ 8 h 50"/>
                  <a:gd name="T4" fmla="*/ 4 w 16"/>
                  <a:gd name="T5" fmla="*/ 0 h 50"/>
                  <a:gd name="T6" fmla="*/ 0 w 16"/>
                  <a:gd name="T7" fmla="*/ 10 h 50"/>
                  <a:gd name="T8" fmla="*/ 4 w 16"/>
                  <a:gd name="T9" fmla="*/ 6 h 50"/>
                  <a:gd name="T10" fmla="*/ 4 w 16"/>
                  <a:gd name="T11" fmla="*/ 28 h 50"/>
                  <a:gd name="T12" fmla="*/ 9 w 16"/>
                  <a:gd name="T13" fmla="*/ 22 h 50"/>
                  <a:gd name="T14" fmla="*/ 6 w 16"/>
                  <a:gd name="T15" fmla="*/ 36 h 50"/>
                  <a:gd name="T16" fmla="*/ 6 w 16"/>
                  <a:gd name="T17" fmla="*/ 49 h 50"/>
                  <a:gd name="T18" fmla="*/ 9 w 16"/>
                  <a:gd name="T19" fmla="*/ 45 h 50"/>
                  <a:gd name="T20" fmla="*/ 10 w 16"/>
                  <a:gd name="T21" fmla="*/ 50 h 50"/>
                  <a:gd name="T22" fmla="*/ 15 w 16"/>
                  <a:gd name="T23" fmla="*/ 4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50">
                    <a:moveTo>
                      <a:pt x="15" y="45"/>
                    </a:moveTo>
                    <a:cubicBezTo>
                      <a:pt x="16" y="41"/>
                      <a:pt x="9" y="8"/>
                      <a:pt x="9" y="8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4"/>
                      <a:pt x="3" y="8"/>
                      <a:pt x="0" y="10"/>
                    </a:cubicBezTo>
                    <a:cubicBezTo>
                      <a:pt x="1" y="9"/>
                      <a:pt x="3" y="8"/>
                      <a:pt x="4" y="6"/>
                    </a:cubicBezTo>
                    <a:cubicBezTo>
                      <a:pt x="4" y="6"/>
                      <a:pt x="7" y="20"/>
                      <a:pt x="4" y="28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9" y="22"/>
                      <a:pt x="11" y="34"/>
                      <a:pt x="6" y="36"/>
                    </a:cubicBezTo>
                    <a:cubicBezTo>
                      <a:pt x="6" y="36"/>
                      <a:pt x="7" y="46"/>
                      <a:pt x="6" y="49"/>
                    </a:cubicBezTo>
                    <a:cubicBezTo>
                      <a:pt x="6" y="49"/>
                      <a:pt x="8" y="43"/>
                      <a:pt x="9" y="45"/>
                    </a:cubicBezTo>
                    <a:cubicBezTo>
                      <a:pt x="10" y="46"/>
                      <a:pt x="11" y="48"/>
                      <a:pt x="10" y="50"/>
                    </a:cubicBezTo>
                    <a:cubicBezTo>
                      <a:pt x="13" y="48"/>
                      <a:pt x="15" y="47"/>
                      <a:pt x="15" y="4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2" name="Freeform 83"/>
              <p:cNvSpPr/>
              <p:nvPr/>
            </p:nvSpPr>
            <p:spPr bwMode="auto">
              <a:xfrm>
                <a:off x="5445125" y="955675"/>
                <a:ext cx="106362" cy="150813"/>
              </a:xfrm>
              <a:custGeom>
                <a:avLst/>
                <a:gdLst>
                  <a:gd name="T0" fmla="*/ 0 w 7"/>
                  <a:gd name="T1" fmla="*/ 1 h 10"/>
                  <a:gd name="T2" fmla="*/ 1 w 7"/>
                  <a:gd name="T3" fmla="*/ 3 h 10"/>
                  <a:gd name="T4" fmla="*/ 7 w 7"/>
                  <a:gd name="T5" fmla="*/ 10 h 10"/>
                  <a:gd name="T6" fmla="*/ 7 w 7"/>
                  <a:gd name="T7" fmla="*/ 9 h 10"/>
                  <a:gd name="T8" fmla="*/ 7 w 7"/>
                  <a:gd name="T9" fmla="*/ 8 h 10"/>
                  <a:gd name="T10" fmla="*/ 7 w 7"/>
                  <a:gd name="T11" fmla="*/ 7 h 10"/>
                  <a:gd name="T12" fmla="*/ 5 w 7"/>
                  <a:gd name="T13" fmla="*/ 4 h 10"/>
                  <a:gd name="T14" fmla="*/ 4 w 7"/>
                  <a:gd name="T15" fmla="*/ 2 h 10"/>
                  <a:gd name="T16" fmla="*/ 3 w 7"/>
                  <a:gd name="T17" fmla="*/ 1 h 10"/>
                  <a:gd name="T18" fmla="*/ 0 w 7"/>
                  <a:gd name="T19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10">
                    <a:moveTo>
                      <a:pt x="0" y="1"/>
                    </a:moveTo>
                    <a:cubicBezTo>
                      <a:pt x="1" y="2"/>
                      <a:pt x="1" y="3"/>
                      <a:pt x="1" y="3"/>
                    </a:cubicBezTo>
                    <a:cubicBezTo>
                      <a:pt x="2" y="5"/>
                      <a:pt x="7" y="10"/>
                      <a:pt x="7" y="10"/>
                    </a:cubicBezTo>
                    <a:cubicBezTo>
                      <a:pt x="7" y="10"/>
                      <a:pt x="7" y="9"/>
                      <a:pt x="7" y="9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8"/>
                      <a:pt x="7" y="7"/>
                      <a:pt x="7" y="7"/>
                    </a:cubicBezTo>
                    <a:cubicBezTo>
                      <a:pt x="7" y="6"/>
                      <a:pt x="6" y="4"/>
                      <a:pt x="5" y="4"/>
                    </a:cubicBezTo>
                    <a:cubicBezTo>
                      <a:pt x="5" y="4"/>
                      <a:pt x="5" y="2"/>
                      <a:pt x="4" y="2"/>
                    </a:cubicBezTo>
                    <a:cubicBezTo>
                      <a:pt x="4" y="2"/>
                      <a:pt x="4" y="0"/>
                      <a:pt x="3" y="1"/>
                    </a:cubicBezTo>
                    <a:cubicBezTo>
                      <a:pt x="2" y="2"/>
                      <a:pt x="1" y="1"/>
                      <a:pt x="0" y="1"/>
                    </a:cubicBezTo>
                    <a:close/>
                  </a:path>
                </a:pathLst>
              </a:custGeom>
              <a:solidFill>
                <a:srgbClr val="D081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3" name="Freeform 84"/>
              <p:cNvSpPr/>
              <p:nvPr/>
            </p:nvSpPr>
            <p:spPr bwMode="auto">
              <a:xfrm>
                <a:off x="4597400" y="504825"/>
                <a:ext cx="303212" cy="376238"/>
              </a:xfrm>
              <a:custGeom>
                <a:avLst/>
                <a:gdLst>
                  <a:gd name="T0" fmla="*/ 10 w 20"/>
                  <a:gd name="T1" fmla="*/ 25 h 25"/>
                  <a:gd name="T2" fmla="*/ 13 w 20"/>
                  <a:gd name="T3" fmla="*/ 24 h 25"/>
                  <a:gd name="T4" fmla="*/ 16 w 20"/>
                  <a:gd name="T5" fmla="*/ 20 h 25"/>
                  <a:gd name="T6" fmla="*/ 17 w 20"/>
                  <a:gd name="T7" fmla="*/ 16 h 25"/>
                  <a:gd name="T8" fmla="*/ 19 w 20"/>
                  <a:gd name="T9" fmla="*/ 15 h 25"/>
                  <a:gd name="T10" fmla="*/ 19 w 20"/>
                  <a:gd name="T11" fmla="*/ 10 h 25"/>
                  <a:gd name="T12" fmla="*/ 16 w 20"/>
                  <a:gd name="T13" fmla="*/ 2 h 25"/>
                  <a:gd name="T14" fmla="*/ 7 w 20"/>
                  <a:gd name="T15" fmla="*/ 1 h 25"/>
                  <a:gd name="T16" fmla="*/ 2 w 20"/>
                  <a:gd name="T17" fmla="*/ 8 h 25"/>
                  <a:gd name="T18" fmla="*/ 2 w 20"/>
                  <a:gd name="T19" fmla="*/ 11 h 25"/>
                  <a:gd name="T20" fmla="*/ 0 w 20"/>
                  <a:gd name="T21" fmla="*/ 11 h 25"/>
                  <a:gd name="T22" fmla="*/ 2 w 20"/>
                  <a:gd name="T23" fmla="*/ 16 h 25"/>
                  <a:gd name="T24" fmla="*/ 3 w 20"/>
                  <a:gd name="T25" fmla="*/ 16 h 25"/>
                  <a:gd name="T26" fmla="*/ 4 w 20"/>
                  <a:gd name="T27" fmla="*/ 20 h 25"/>
                  <a:gd name="T28" fmla="*/ 10 w 20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" h="25">
                    <a:moveTo>
                      <a:pt x="10" y="25"/>
                    </a:moveTo>
                    <a:cubicBezTo>
                      <a:pt x="11" y="24"/>
                      <a:pt x="13" y="24"/>
                      <a:pt x="13" y="24"/>
                    </a:cubicBezTo>
                    <a:cubicBezTo>
                      <a:pt x="13" y="23"/>
                      <a:pt x="16" y="21"/>
                      <a:pt x="16" y="20"/>
                    </a:cubicBezTo>
                    <a:cubicBezTo>
                      <a:pt x="17" y="20"/>
                      <a:pt x="17" y="16"/>
                      <a:pt x="17" y="16"/>
                    </a:cubicBezTo>
                    <a:cubicBezTo>
                      <a:pt x="17" y="16"/>
                      <a:pt x="18" y="16"/>
                      <a:pt x="19" y="15"/>
                    </a:cubicBezTo>
                    <a:cubicBezTo>
                      <a:pt x="19" y="15"/>
                      <a:pt x="20" y="11"/>
                      <a:pt x="19" y="10"/>
                    </a:cubicBezTo>
                    <a:cubicBezTo>
                      <a:pt x="18" y="9"/>
                      <a:pt x="18" y="3"/>
                      <a:pt x="16" y="2"/>
                    </a:cubicBezTo>
                    <a:cubicBezTo>
                      <a:pt x="14" y="1"/>
                      <a:pt x="8" y="0"/>
                      <a:pt x="7" y="1"/>
                    </a:cubicBezTo>
                    <a:cubicBezTo>
                      <a:pt x="5" y="2"/>
                      <a:pt x="2" y="7"/>
                      <a:pt x="2" y="8"/>
                    </a:cubicBezTo>
                    <a:cubicBezTo>
                      <a:pt x="2" y="9"/>
                      <a:pt x="2" y="11"/>
                      <a:pt x="2" y="11"/>
                    </a:cubicBezTo>
                    <a:cubicBezTo>
                      <a:pt x="2" y="11"/>
                      <a:pt x="0" y="11"/>
                      <a:pt x="0" y="11"/>
                    </a:cubicBezTo>
                    <a:cubicBezTo>
                      <a:pt x="0" y="11"/>
                      <a:pt x="1" y="16"/>
                      <a:pt x="2" y="16"/>
                    </a:cubicBezTo>
                    <a:cubicBezTo>
                      <a:pt x="2" y="16"/>
                      <a:pt x="2" y="16"/>
                      <a:pt x="3" y="16"/>
                    </a:cubicBezTo>
                    <a:cubicBezTo>
                      <a:pt x="3" y="16"/>
                      <a:pt x="3" y="19"/>
                      <a:pt x="4" y="20"/>
                    </a:cubicBezTo>
                    <a:cubicBezTo>
                      <a:pt x="5" y="21"/>
                      <a:pt x="7" y="25"/>
                      <a:pt x="10" y="25"/>
                    </a:cubicBezTo>
                    <a:close/>
                  </a:path>
                </a:pathLst>
              </a:custGeom>
              <a:solidFill>
                <a:srgbClr val="F1B1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4" name="Freeform 85"/>
              <p:cNvSpPr/>
              <p:nvPr/>
            </p:nvSpPr>
            <p:spPr bwMode="auto">
              <a:xfrm>
                <a:off x="5430838" y="865188"/>
                <a:ext cx="196850" cy="211138"/>
              </a:xfrm>
              <a:custGeom>
                <a:avLst/>
                <a:gdLst>
                  <a:gd name="T0" fmla="*/ 0 w 13"/>
                  <a:gd name="T1" fmla="*/ 4 h 14"/>
                  <a:gd name="T2" fmla="*/ 0 w 13"/>
                  <a:gd name="T3" fmla="*/ 4 h 14"/>
                  <a:gd name="T4" fmla="*/ 0 w 13"/>
                  <a:gd name="T5" fmla="*/ 4 h 14"/>
                  <a:gd name="T6" fmla="*/ 0 w 13"/>
                  <a:gd name="T7" fmla="*/ 4 h 14"/>
                  <a:gd name="T8" fmla="*/ 0 w 13"/>
                  <a:gd name="T9" fmla="*/ 5 h 14"/>
                  <a:gd name="T10" fmla="*/ 1 w 13"/>
                  <a:gd name="T11" fmla="*/ 5 h 14"/>
                  <a:gd name="T12" fmla="*/ 1 w 13"/>
                  <a:gd name="T13" fmla="*/ 7 h 14"/>
                  <a:gd name="T14" fmla="*/ 1 w 13"/>
                  <a:gd name="T15" fmla="*/ 7 h 14"/>
                  <a:gd name="T16" fmla="*/ 4 w 13"/>
                  <a:gd name="T17" fmla="*/ 7 h 14"/>
                  <a:gd name="T18" fmla="*/ 5 w 13"/>
                  <a:gd name="T19" fmla="*/ 8 h 14"/>
                  <a:gd name="T20" fmla="*/ 6 w 13"/>
                  <a:gd name="T21" fmla="*/ 10 h 14"/>
                  <a:gd name="T22" fmla="*/ 8 w 13"/>
                  <a:gd name="T23" fmla="*/ 13 h 14"/>
                  <a:gd name="T24" fmla="*/ 8 w 13"/>
                  <a:gd name="T25" fmla="*/ 14 h 14"/>
                  <a:gd name="T26" fmla="*/ 8 w 13"/>
                  <a:gd name="T27" fmla="*/ 14 h 14"/>
                  <a:gd name="T28" fmla="*/ 9 w 13"/>
                  <a:gd name="T29" fmla="*/ 14 h 14"/>
                  <a:gd name="T30" fmla="*/ 9 w 13"/>
                  <a:gd name="T31" fmla="*/ 14 h 14"/>
                  <a:gd name="T32" fmla="*/ 9 w 13"/>
                  <a:gd name="T33" fmla="*/ 14 h 14"/>
                  <a:gd name="T34" fmla="*/ 9 w 13"/>
                  <a:gd name="T35" fmla="*/ 14 h 14"/>
                  <a:gd name="T36" fmla="*/ 10 w 13"/>
                  <a:gd name="T37" fmla="*/ 13 h 14"/>
                  <a:gd name="T38" fmla="*/ 11 w 13"/>
                  <a:gd name="T39" fmla="*/ 12 h 14"/>
                  <a:gd name="T40" fmla="*/ 11 w 13"/>
                  <a:gd name="T41" fmla="*/ 12 h 14"/>
                  <a:gd name="T42" fmla="*/ 11 w 13"/>
                  <a:gd name="T43" fmla="*/ 12 h 14"/>
                  <a:gd name="T44" fmla="*/ 11 w 13"/>
                  <a:gd name="T45" fmla="*/ 12 h 14"/>
                  <a:gd name="T46" fmla="*/ 11 w 13"/>
                  <a:gd name="T47" fmla="*/ 12 h 14"/>
                  <a:gd name="T48" fmla="*/ 11 w 13"/>
                  <a:gd name="T49" fmla="*/ 12 h 14"/>
                  <a:gd name="T50" fmla="*/ 11 w 13"/>
                  <a:gd name="T51" fmla="*/ 12 h 14"/>
                  <a:gd name="T52" fmla="*/ 11 w 13"/>
                  <a:gd name="T53" fmla="*/ 11 h 14"/>
                  <a:gd name="T54" fmla="*/ 12 w 13"/>
                  <a:gd name="T55" fmla="*/ 11 h 14"/>
                  <a:gd name="T56" fmla="*/ 12 w 13"/>
                  <a:gd name="T57" fmla="*/ 11 h 14"/>
                  <a:gd name="T58" fmla="*/ 12 w 13"/>
                  <a:gd name="T59" fmla="*/ 11 h 14"/>
                  <a:gd name="T60" fmla="*/ 12 w 13"/>
                  <a:gd name="T61" fmla="*/ 10 h 14"/>
                  <a:gd name="T62" fmla="*/ 12 w 13"/>
                  <a:gd name="T63" fmla="*/ 10 h 14"/>
                  <a:gd name="T64" fmla="*/ 12 w 13"/>
                  <a:gd name="T65" fmla="*/ 8 h 14"/>
                  <a:gd name="T66" fmla="*/ 12 w 13"/>
                  <a:gd name="T67" fmla="*/ 8 h 14"/>
                  <a:gd name="T68" fmla="*/ 13 w 13"/>
                  <a:gd name="T69" fmla="*/ 8 h 14"/>
                  <a:gd name="T70" fmla="*/ 13 w 13"/>
                  <a:gd name="T71" fmla="*/ 7 h 14"/>
                  <a:gd name="T72" fmla="*/ 13 w 13"/>
                  <a:gd name="T73" fmla="*/ 7 h 14"/>
                  <a:gd name="T74" fmla="*/ 13 w 13"/>
                  <a:gd name="T75" fmla="*/ 7 h 14"/>
                  <a:gd name="T76" fmla="*/ 12 w 13"/>
                  <a:gd name="T77" fmla="*/ 5 h 14"/>
                  <a:gd name="T78" fmla="*/ 12 w 13"/>
                  <a:gd name="T79" fmla="*/ 4 h 14"/>
                  <a:gd name="T80" fmla="*/ 11 w 13"/>
                  <a:gd name="T81" fmla="*/ 3 h 14"/>
                  <a:gd name="T82" fmla="*/ 11 w 13"/>
                  <a:gd name="T83" fmla="*/ 2 h 14"/>
                  <a:gd name="T84" fmla="*/ 9 w 13"/>
                  <a:gd name="T85" fmla="*/ 2 h 14"/>
                  <a:gd name="T86" fmla="*/ 9 w 13"/>
                  <a:gd name="T87" fmla="*/ 1 h 14"/>
                  <a:gd name="T88" fmla="*/ 5 w 13"/>
                  <a:gd name="T89" fmla="*/ 1 h 14"/>
                  <a:gd name="T90" fmla="*/ 4 w 13"/>
                  <a:gd name="T91" fmla="*/ 1 h 14"/>
                  <a:gd name="T92" fmla="*/ 4 w 13"/>
                  <a:gd name="T93" fmla="*/ 1 h 14"/>
                  <a:gd name="T94" fmla="*/ 4 w 13"/>
                  <a:gd name="T95" fmla="*/ 1 h 14"/>
                  <a:gd name="T96" fmla="*/ 4 w 13"/>
                  <a:gd name="T97" fmla="*/ 1 h 14"/>
                  <a:gd name="T98" fmla="*/ 4 w 13"/>
                  <a:gd name="T99" fmla="*/ 1 h 14"/>
                  <a:gd name="T100" fmla="*/ 4 w 13"/>
                  <a:gd name="T101" fmla="*/ 1 h 14"/>
                  <a:gd name="T102" fmla="*/ 4 w 13"/>
                  <a:gd name="T103" fmla="*/ 2 h 14"/>
                  <a:gd name="T104" fmla="*/ 4 w 13"/>
                  <a:gd name="T105" fmla="*/ 2 h 14"/>
                  <a:gd name="T106" fmla="*/ 4 w 13"/>
                  <a:gd name="T107" fmla="*/ 2 h 14"/>
                  <a:gd name="T108" fmla="*/ 4 w 13"/>
                  <a:gd name="T109" fmla="*/ 2 h 14"/>
                  <a:gd name="T110" fmla="*/ 4 w 13"/>
                  <a:gd name="T111" fmla="*/ 2 h 14"/>
                  <a:gd name="T112" fmla="*/ 3 w 13"/>
                  <a:gd name="T113" fmla="*/ 2 h 14"/>
                  <a:gd name="T114" fmla="*/ 1 w 13"/>
                  <a:gd name="T115" fmla="*/ 3 h 14"/>
                  <a:gd name="T116" fmla="*/ 1 w 13"/>
                  <a:gd name="T117" fmla="*/ 3 h 14"/>
                  <a:gd name="T118" fmla="*/ 0 w 13"/>
                  <a:gd name="T119" fmla="*/ 3 h 14"/>
                  <a:gd name="T120" fmla="*/ 0 w 13"/>
                  <a:gd name="T121" fmla="*/ 3 h 14"/>
                  <a:gd name="T122" fmla="*/ 0 w 13"/>
                  <a:gd name="T123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3" h="14">
                    <a:moveTo>
                      <a:pt x="0" y="4"/>
                    </a:move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4"/>
                      <a:pt x="0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6"/>
                      <a:pt x="1" y="6"/>
                      <a:pt x="1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2" y="7"/>
                      <a:pt x="3" y="8"/>
                      <a:pt x="4" y="7"/>
                    </a:cubicBezTo>
                    <a:cubicBezTo>
                      <a:pt x="5" y="6"/>
                      <a:pt x="5" y="8"/>
                      <a:pt x="5" y="8"/>
                    </a:cubicBezTo>
                    <a:cubicBezTo>
                      <a:pt x="6" y="8"/>
                      <a:pt x="6" y="10"/>
                      <a:pt x="6" y="10"/>
                    </a:cubicBezTo>
                    <a:cubicBezTo>
                      <a:pt x="7" y="10"/>
                      <a:pt x="8" y="12"/>
                      <a:pt x="8" y="13"/>
                    </a:cubicBezTo>
                    <a:cubicBezTo>
                      <a:pt x="8" y="13"/>
                      <a:pt x="8" y="14"/>
                      <a:pt x="8" y="14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8" y="14"/>
                      <a:pt x="8" y="14"/>
                      <a:pt x="9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3"/>
                      <a:pt x="9" y="13"/>
                      <a:pt x="10" y="13"/>
                    </a:cubicBezTo>
                    <a:cubicBezTo>
                      <a:pt x="10" y="13"/>
                      <a:pt x="10" y="13"/>
                      <a:pt x="11" y="12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9"/>
                      <a:pt x="12" y="9"/>
                      <a:pt x="12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2" y="8"/>
                      <a:pt x="13" y="8"/>
                      <a:pt x="13" y="8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3" y="6"/>
                      <a:pt x="12" y="5"/>
                      <a:pt x="12" y="5"/>
                    </a:cubicBezTo>
                    <a:cubicBezTo>
                      <a:pt x="12" y="5"/>
                      <a:pt x="12" y="4"/>
                      <a:pt x="12" y="4"/>
                    </a:cubicBezTo>
                    <a:cubicBezTo>
                      <a:pt x="12" y="4"/>
                      <a:pt x="11" y="3"/>
                      <a:pt x="11" y="3"/>
                    </a:cubicBezTo>
                    <a:cubicBezTo>
                      <a:pt x="11" y="3"/>
                      <a:pt x="11" y="2"/>
                      <a:pt x="11" y="2"/>
                    </a:cubicBezTo>
                    <a:cubicBezTo>
                      <a:pt x="10" y="2"/>
                      <a:pt x="9" y="2"/>
                      <a:pt x="9" y="2"/>
                    </a:cubicBezTo>
                    <a:cubicBezTo>
                      <a:pt x="9" y="2"/>
                      <a:pt x="9" y="2"/>
                      <a:pt x="9" y="1"/>
                    </a:cubicBezTo>
                    <a:cubicBezTo>
                      <a:pt x="9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1" y="2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4"/>
                      <a:pt x="0" y="4"/>
                    </a:cubicBezTo>
                    <a:close/>
                  </a:path>
                </a:pathLst>
              </a:custGeom>
              <a:solidFill>
                <a:srgbClr val="F1B1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5" name="Freeform 86"/>
              <p:cNvSpPr/>
              <p:nvPr/>
            </p:nvSpPr>
            <p:spPr bwMode="auto">
              <a:xfrm>
                <a:off x="5430838" y="881063"/>
                <a:ext cx="196850" cy="195263"/>
              </a:xfrm>
              <a:custGeom>
                <a:avLst/>
                <a:gdLst>
                  <a:gd name="T0" fmla="*/ 0 w 13"/>
                  <a:gd name="T1" fmla="*/ 3 h 13"/>
                  <a:gd name="T2" fmla="*/ 0 w 13"/>
                  <a:gd name="T3" fmla="*/ 3 h 13"/>
                  <a:gd name="T4" fmla="*/ 0 w 13"/>
                  <a:gd name="T5" fmla="*/ 3 h 13"/>
                  <a:gd name="T6" fmla="*/ 0 w 13"/>
                  <a:gd name="T7" fmla="*/ 3 h 13"/>
                  <a:gd name="T8" fmla="*/ 0 w 13"/>
                  <a:gd name="T9" fmla="*/ 4 h 13"/>
                  <a:gd name="T10" fmla="*/ 1 w 13"/>
                  <a:gd name="T11" fmla="*/ 4 h 13"/>
                  <a:gd name="T12" fmla="*/ 1 w 13"/>
                  <a:gd name="T13" fmla="*/ 6 h 13"/>
                  <a:gd name="T14" fmla="*/ 1 w 13"/>
                  <a:gd name="T15" fmla="*/ 6 h 13"/>
                  <a:gd name="T16" fmla="*/ 4 w 13"/>
                  <a:gd name="T17" fmla="*/ 6 h 13"/>
                  <a:gd name="T18" fmla="*/ 5 w 13"/>
                  <a:gd name="T19" fmla="*/ 7 h 13"/>
                  <a:gd name="T20" fmla="*/ 6 w 13"/>
                  <a:gd name="T21" fmla="*/ 9 h 13"/>
                  <a:gd name="T22" fmla="*/ 8 w 13"/>
                  <a:gd name="T23" fmla="*/ 12 h 13"/>
                  <a:gd name="T24" fmla="*/ 8 w 13"/>
                  <a:gd name="T25" fmla="*/ 13 h 13"/>
                  <a:gd name="T26" fmla="*/ 8 w 13"/>
                  <a:gd name="T27" fmla="*/ 13 h 13"/>
                  <a:gd name="T28" fmla="*/ 9 w 13"/>
                  <a:gd name="T29" fmla="*/ 13 h 13"/>
                  <a:gd name="T30" fmla="*/ 9 w 13"/>
                  <a:gd name="T31" fmla="*/ 13 h 13"/>
                  <a:gd name="T32" fmla="*/ 9 w 13"/>
                  <a:gd name="T33" fmla="*/ 13 h 13"/>
                  <a:gd name="T34" fmla="*/ 9 w 13"/>
                  <a:gd name="T35" fmla="*/ 13 h 13"/>
                  <a:gd name="T36" fmla="*/ 10 w 13"/>
                  <a:gd name="T37" fmla="*/ 12 h 13"/>
                  <a:gd name="T38" fmla="*/ 11 w 13"/>
                  <a:gd name="T39" fmla="*/ 11 h 13"/>
                  <a:gd name="T40" fmla="*/ 11 w 13"/>
                  <a:gd name="T41" fmla="*/ 11 h 13"/>
                  <a:gd name="T42" fmla="*/ 11 w 13"/>
                  <a:gd name="T43" fmla="*/ 11 h 13"/>
                  <a:gd name="T44" fmla="*/ 11 w 13"/>
                  <a:gd name="T45" fmla="*/ 11 h 13"/>
                  <a:gd name="T46" fmla="*/ 11 w 13"/>
                  <a:gd name="T47" fmla="*/ 11 h 13"/>
                  <a:gd name="T48" fmla="*/ 11 w 13"/>
                  <a:gd name="T49" fmla="*/ 11 h 13"/>
                  <a:gd name="T50" fmla="*/ 11 w 13"/>
                  <a:gd name="T51" fmla="*/ 11 h 13"/>
                  <a:gd name="T52" fmla="*/ 11 w 13"/>
                  <a:gd name="T53" fmla="*/ 10 h 13"/>
                  <a:gd name="T54" fmla="*/ 12 w 13"/>
                  <a:gd name="T55" fmla="*/ 10 h 13"/>
                  <a:gd name="T56" fmla="*/ 12 w 13"/>
                  <a:gd name="T57" fmla="*/ 10 h 13"/>
                  <a:gd name="T58" fmla="*/ 12 w 13"/>
                  <a:gd name="T59" fmla="*/ 10 h 13"/>
                  <a:gd name="T60" fmla="*/ 12 w 13"/>
                  <a:gd name="T61" fmla="*/ 9 h 13"/>
                  <a:gd name="T62" fmla="*/ 12 w 13"/>
                  <a:gd name="T63" fmla="*/ 9 h 13"/>
                  <a:gd name="T64" fmla="*/ 12 w 13"/>
                  <a:gd name="T65" fmla="*/ 7 h 13"/>
                  <a:gd name="T66" fmla="*/ 12 w 13"/>
                  <a:gd name="T67" fmla="*/ 7 h 13"/>
                  <a:gd name="T68" fmla="*/ 13 w 13"/>
                  <a:gd name="T69" fmla="*/ 7 h 13"/>
                  <a:gd name="T70" fmla="*/ 13 w 13"/>
                  <a:gd name="T71" fmla="*/ 6 h 13"/>
                  <a:gd name="T72" fmla="*/ 13 w 13"/>
                  <a:gd name="T73" fmla="*/ 6 h 13"/>
                  <a:gd name="T74" fmla="*/ 10 w 13"/>
                  <a:gd name="T75" fmla="*/ 6 h 13"/>
                  <a:gd name="T76" fmla="*/ 9 w 13"/>
                  <a:gd name="T77" fmla="*/ 5 h 13"/>
                  <a:gd name="T78" fmla="*/ 11 w 13"/>
                  <a:gd name="T79" fmla="*/ 4 h 13"/>
                  <a:gd name="T80" fmla="*/ 8 w 13"/>
                  <a:gd name="T81" fmla="*/ 4 h 13"/>
                  <a:gd name="T82" fmla="*/ 7 w 13"/>
                  <a:gd name="T83" fmla="*/ 3 h 13"/>
                  <a:gd name="T84" fmla="*/ 10 w 13"/>
                  <a:gd name="T85" fmla="*/ 2 h 13"/>
                  <a:gd name="T86" fmla="*/ 7 w 13"/>
                  <a:gd name="T87" fmla="*/ 2 h 13"/>
                  <a:gd name="T88" fmla="*/ 6 w 13"/>
                  <a:gd name="T89" fmla="*/ 1 h 13"/>
                  <a:gd name="T90" fmla="*/ 4 w 13"/>
                  <a:gd name="T91" fmla="*/ 0 h 13"/>
                  <a:gd name="T92" fmla="*/ 4 w 13"/>
                  <a:gd name="T93" fmla="*/ 0 h 13"/>
                  <a:gd name="T94" fmla="*/ 4 w 13"/>
                  <a:gd name="T95" fmla="*/ 0 h 13"/>
                  <a:gd name="T96" fmla="*/ 4 w 13"/>
                  <a:gd name="T97" fmla="*/ 0 h 13"/>
                  <a:gd name="T98" fmla="*/ 4 w 13"/>
                  <a:gd name="T99" fmla="*/ 0 h 13"/>
                  <a:gd name="T100" fmla="*/ 4 w 13"/>
                  <a:gd name="T101" fmla="*/ 0 h 13"/>
                  <a:gd name="T102" fmla="*/ 4 w 13"/>
                  <a:gd name="T103" fmla="*/ 1 h 13"/>
                  <a:gd name="T104" fmla="*/ 4 w 13"/>
                  <a:gd name="T105" fmla="*/ 1 h 13"/>
                  <a:gd name="T106" fmla="*/ 4 w 13"/>
                  <a:gd name="T107" fmla="*/ 1 h 13"/>
                  <a:gd name="T108" fmla="*/ 4 w 13"/>
                  <a:gd name="T109" fmla="*/ 1 h 13"/>
                  <a:gd name="T110" fmla="*/ 4 w 13"/>
                  <a:gd name="T111" fmla="*/ 1 h 13"/>
                  <a:gd name="T112" fmla="*/ 4 w 13"/>
                  <a:gd name="T113" fmla="*/ 1 h 13"/>
                  <a:gd name="T114" fmla="*/ 3 w 13"/>
                  <a:gd name="T115" fmla="*/ 2 h 13"/>
                  <a:gd name="T116" fmla="*/ 1 w 13"/>
                  <a:gd name="T117" fmla="*/ 2 h 13"/>
                  <a:gd name="T118" fmla="*/ 1 w 13"/>
                  <a:gd name="T119" fmla="*/ 2 h 13"/>
                  <a:gd name="T120" fmla="*/ 0 w 13"/>
                  <a:gd name="T121" fmla="*/ 2 h 13"/>
                  <a:gd name="T122" fmla="*/ 0 w 13"/>
                  <a:gd name="T123" fmla="*/ 2 h 13"/>
                  <a:gd name="T124" fmla="*/ 0 w 13"/>
                  <a:gd name="T12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3" h="13">
                    <a:moveTo>
                      <a:pt x="0" y="3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5"/>
                      <a:pt x="1" y="5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2" y="6"/>
                      <a:pt x="3" y="7"/>
                      <a:pt x="4" y="6"/>
                    </a:cubicBezTo>
                    <a:cubicBezTo>
                      <a:pt x="5" y="5"/>
                      <a:pt x="5" y="7"/>
                      <a:pt x="5" y="7"/>
                    </a:cubicBezTo>
                    <a:cubicBezTo>
                      <a:pt x="6" y="7"/>
                      <a:pt x="6" y="9"/>
                      <a:pt x="6" y="9"/>
                    </a:cubicBezTo>
                    <a:cubicBezTo>
                      <a:pt x="7" y="9"/>
                      <a:pt x="8" y="11"/>
                      <a:pt x="8" y="12"/>
                    </a:cubicBezTo>
                    <a:cubicBezTo>
                      <a:pt x="8" y="12"/>
                      <a:pt x="8" y="13"/>
                      <a:pt x="8" y="13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13"/>
                      <a:pt x="8" y="13"/>
                      <a:pt x="9" y="13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9" y="12"/>
                      <a:pt x="9" y="12"/>
                      <a:pt x="10" y="12"/>
                    </a:cubicBezTo>
                    <a:cubicBezTo>
                      <a:pt x="10" y="12"/>
                      <a:pt x="10" y="12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2" y="8"/>
                      <a:pt x="12" y="8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7"/>
                      <a:pt x="13" y="7"/>
                      <a:pt x="13" y="7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6"/>
                      <a:pt x="10" y="6"/>
                      <a:pt x="10" y="6"/>
                    </a:cubicBezTo>
                    <a:cubicBezTo>
                      <a:pt x="9" y="6"/>
                      <a:pt x="9" y="5"/>
                      <a:pt x="9" y="5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11" y="4"/>
                      <a:pt x="9" y="5"/>
                      <a:pt x="8" y="4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2"/>
                      <a:pt x="8" y="3"/>
                      <a:pt x="7" y="2"/>
                    </a:cubicBezTo>
                    <a:cubicBezTo>
                      <a:pt x="6" y="2"/>
                      <a:pt x="6" y="1"/>
                      <a:pt x="6" y="1"/>
                    </a:cubicBezTo>
                    <a:cubicBezTo>
                      <a:pt x="5" y="1"/>
                      <a:pt x="5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2"/>
                      <a:pt x="4" y="2"/>
                      <a:pt x="3" y="2"/>
                    </a:cubicBezTo>
                    <a:cubicBezTo>
                      <a:pt x="3" y="3"/>
                      <a:pt x="2" y="3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3"/>
                      <a:pt x="0" y="3"/>
                    </a:cubicBezTo>
                    <a:close/>
                  </a:path>
                </a:pathLst>
              </a:custGeom>
              <a:solidFill>
                <a:srgbClr val="E99D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6" name="Freeform 87"/>
              <p:cNvSpPr/>
              <p:nvPr/>
            </p:nvSpPr>
            <p:spPr bwMode="auto">
              <a:xfrm>
                <a:off x="4597400" y="520700"/>
                <a:ext cx="303212" cy="360363"/>
              </a:xfrm>
              <a:custGeom>
                <a:avLst/>
                <a:gdLst>
                  <a:gd name="T0" fmla="*/ 16 w 20"/>
                  <a:gd name="T1" fmla="*/ 1 h 24"/>
                  <a:gd name="T2" fmla="*/ 13 w 20"/>
                  <a:gd name="T3" fmla="*/ 0 h 24"/>
                  <a:gd name="T4" fmla="*/ 15 w 20"/>
                  <a:gd name="T5" fmla="*/ 5 h 24"/>
                  <a:gd name="T6" fmla="*/ 16 w 20"/>
                  <a:gd name="T7" fmla="*/ 9 h 24"/>
                  <a:gd name="T8" fmla="*/ 17 w 20"/>
                  <a:gd name="T9" fmla="*/ 11 h 24"/>
                  <a:gd name="T10" fmla="*/ 16 w 20"/>
                  <a:gd name="T11" fmla="*/ 14 h 24"/>
                  <a:gd name="T12" fmla="*/ 16 w 20"/>
                  <a:gd name="T13" fmla="*/ 16 h 24"/>
                  <a:gd name="T14" fmla="*/ 16 w 20"/>
                  <a:gd name="T15" fmla="*/ 19 h 24"/>
                  <a:gd name="T16" fmla="*/ 13 w 20"/>
                  <a:gd name="T17" fmla="*/ 22 h 24"/>
                  <a:gd name="T18" fmla="*/ 9 w 20"/>
                  <a:gd name="T19" fmla="*/ 23 h 24"/>
                  <a:gd name="T20" fmla="*/ 8 w 20"/>
                  <a:gd name="T21" fmla="*/ 21 h 24"/>
                  <a:gd name="T22" fmla="*/ 5 w 20"/>
                  <a:gd name="T23" fmla="*/ 18 h 24"/>
                  <a:gd name="T24" fmla="*/ 5 w 20"/>
                  <a:gd name="T25" fmla="*/ 15 h 24"/>
                  <a:gd name="T26" fmla="*/ 6 w 20"/>
                  <a:gd name="T27" fmla="*/ 13 h 24"/>
                  <a:gd name="T28" fmla="*/ 6 w 20"/>
                  <a:gd name="T29" fmla="*/ 12 h 24"/>
                  <a:gd name="T30" fmla="*/ 4 w 20"/>
                  <a:gd name="T31" fmla="*/ 10 h 24"/>
                  <a:gd name="T32" fmla="*/ 6 w 20"/>
                  <a:gd name="T33" fmla="*/ 8 h 24"/>
                  <a:gd name="T34" fmla="*/ 7 w 20"/>
                  <a:gd name="T35" fmla="*/ 6 h 24"/>
                  <a:gd name="T36" fmla="*/ 8 w 20"/>
                  <a:gd name="T37" fmla="*/ 1 h 24"/>
                  <a:gd name="T38" fmla="*/ 7 w 20"/>
                  <a:gd name="T39" fmla="*/ 0 h 24"/>
                  <a:gd name="T40" fmla="*/ 7 w 20"/>
                  <a:gd name="T41" fmla="*/ 0 h 24"/>
                  <a:gd name="T42" fmla="*/ 2 w 20"/>
                  <a:gd name="T43" fmla="*/ 7 h 24"/>
                  <a:gd name="T44" fmla="*/ 2 w 20"/>
                  <a:gd name="T45" fmla="*/ 10 h 24"/>
                  <a:gd name="T46" fmla="*/ 0 w 20"/>
                  <a:gd name="T47" fmla="*/ 10 h 24"/>
                  <a:gd name="T48" fmla="*/ 1 w 20"/>
                  <a:gd name="T49" fmla="*/ 15 h 24"/>
                  <a:gd name="T50" fmla="*/ 3 w 20"/>
                  <a:gd name="T51" fmla="*/ 15 h 24"/>
                  <a:gd name="T52" fmla="*/ 4 w 20"/>
                  <a:gd name="T53" fmla="*/ 19 h 24"/>
                  <a:gd name="T54" fmla="*/ 10 w 20"/>
                  <a:gd name="T55" fmla="*/ 24 h 24"/>
                  <a:gd name="T56" fmla="*/ 13 w 20"/>
                  <a:gd name="T57" fmla="*/ 23 h 24"/>
                  <a:gd name="T58" fmla="*/ 16 w 20"/>
                  <a:gd name="T59" fmla="*/ 19 h 24"/>
                  <a:gd name="T60" fmla="*/ 17 w 20"/>
                  <a:gd name="T61" fmla="*/ 15 h 24"/>
                  <a:gd name="T62" fmla="*/ 19 w 20"/>
                  <a:gd name="T63" fmla="*/ 14 h 24"/>
                  <a:gd name="T64" fmla="*/ 19 w 20"/>
                  <a:gd name="T65" fmla="*/ 9 h 24"/>
                  <a:gd name="T66" fmla="*/ 16 w 20"/>
                  <a:gd name="T67" fmla="*/ 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0" h="24">
                    <a:moveTo>
                      <a:pt x="16" y="1"/>
                    </a:moveTo>
                    <a:cubicBezTo>
                      <a:pt x="15" y="1"/>
                      <a:pt x="14" y="1"/>
                      <a:pt x="13" y="0"/>
                    </a:cubicBezTo>
                    <a:cubicBezTo>
                      <a:pt x="13" y="1"/>
                      <a:pt x="14" y="4"/>
                      <a:pt x="15" y="5"/>
                    </a:cubicBezTo>
                    <a:cubicBezTo>
                      <a:pt x="16" y="6"/>
                      <a:pt x="16" y="9"/>
                      <a:pt x="16" y="9"/>
                    </a:cubicBezTo>
                    <a:cubicBezTo>
                      <a:pt x="16" y="9"/>
                      <a:pt x="17" y="10"/>
                      <a:pt x="17" y="11"/>
                    </a:cubicBezTo>
                    <a:cubicBezTo>
                      <a:pt x="17" y="11"/>
                      <a:pt x="17" y="13"/>
                      <a:pt x="16" y="14"/>
                    </a:cubicBezTo>
                    <a:cubicBezTo>
                      <a:pt x="15" y="16"/>
                      <a:pt x="16" y="16"/>
                      <a:pt x="16" y="16"/>
                    </a:cubicBezTo>
                    <a:cubicBezTo>
                      <a:pt x="16" y="16"/>
                      <a:pt x="16" y="18"/>
                      <a:pt x="16" y="19"/>
                    </a:cubicBezTo>
                    <a:cubicBezTo>
                      <a:pt x="15" y="19"/>
                      <a:pt x="13" y="21"/>
                      <a:pt x="13" y="22"/>
                    </a:cubicBezTo>
                    <a:cubicBezTo>
                      <a:pt x="13" y="22"/>
                      <a:pt x="11" y="23"/>
                      <a:pt x="9" y="23"/>
                    </a:cubicBezTo>
                    <a:cubicBezTo>
                      <a:pt x="8" y="22"/>
                      <a:pt x="8" y="22"/>
                      <a:pt x="8" y="21"/>
                    </a:cubicBezTo>
                    <a:cubicBezTo>
                      <a:pt x="8" y="20"/>
                      <a:pt x="6" y="20"/>
                      <a:pt x="5" y="18"/>
                    </a:cubicBezTo>
                    <a:cubicBezTo>
                      <a:pt x="5" y="17"/>
                      <a:pt x="6" y="16"/>
                      <a:pt x="5" y="15"/>
                    </a:cubicBezTo>
                    <a:cubicBezTo>
                      <a:pt x="5" y="14"/>
                      <a:pt x="6" y="13"/>
                      <a:pt x="6" y="13"/>
                    </a:cubicBezTo>
                    <a:cubicBezTo>
                      <a:pt x="6" y="13"/>
                      <a:pt x="6" y="12"/>
                      <a:pt x="6" y="12"/>
                    </a:cubicBezTo>
                    <a:cubicBezTo>
                      <a:pt x="6" y="12"/>
                      <a:pt x="4" y="11"/>
                      <a:pt x="4" y="10"/>
                    </a:cubicBezTo>
                    <a:cubicBezTo>
                      <a:pt x="4" y="9"/>
                      <a:pt x="7" y="8"/>
                      <a:pt x="6" y="8"/>
                    </a:cubicBezTo>
                    <a:cubicBezTo>
                      <a:pt x="6" y="8"/>
                      <a:pt x="8" y="7"/>
                      <a:pt x="7" y="6"/>
                    </a:cubicBezTo>
                    <a:cubicBezTo>
                      <a:pt x="7" y="5"/>
                      <a:pt x="8" y="1"/>
                      <a:pt x="8" y="1"/>
                    </a:cubicBezTo>
                    <a:cubicBezTo>
                      <a:pt x="8" y="1"/>
                      <a:pt x="8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1"/>
                      <a:pt x="2" y="6"/>
                      <a:pt x="2" y="7"/>
                    </a:cubicBezTo>
                    <a:cubicBezTo>
                      <a:pt x="2" y="8"/>
                      <a:pt x="2" y="10"/>
                      <a:pt x="2" y="10"/>
                    </a:cubicBezTo>
                    <a:cubicBezTo>
                      <a:pt x="2" y="10"/>
                      <a:pt x="0" y="10"/>
                      <a:pt x="0" y="10"/>
                    </a:cubicBezTo>
                    <a:cubicBezTo>
                      <a:pt x="0" y="10"/>
                      <a:pt x="1" y="14"/>
                      <a:pt x="1" y="15"/>
                    </a:cubicBezTo>
                    <a:cubicBezTo>
                      <a:pt x="2" y="15"/>
                      <a:pt x="2" y="15"/>
                      <a:pt x="3" y="15"/>
                    </a:cubicBezTo>
                    <a:cubicBezTo>
                      <a:pt x="3" y="15"/>
                      <a:pt x="3" y="18"/>
                      <a:pt x="4" y="19"/>
                    </a:cubicBezTo>
                    <a:cubicBezTo>
                      <a:pt x="5" y="20"/>
                      <a:pt x="7" y="24"/>
                      <a:pt x="10" y="24"/>
                    </a:cubicBezTo>
                    <a:cubicBezTo>
                      <a:pt x="11" y="23"/>
                      <a:pt x="13" y="23"/>
                      <a:pt x="13" y="23"/>
                    </a:cubicBezTo>
                    <a:cubicBezTo>
                      <a:pt x="13" y="22"/>
                      <a:pt x="16" y="20"/>
                      <a:pt x="16" y="19"/>
                    </a:cubicBezTo>
                    <a:cubicBezTo>
                      <a:pt x="17" y="19"/>
                      <a:pt x="17" y="15"/>
                      <a:pt x="17" y="15"/>
                    </a:cubicBezTo>
                    <a:cubicBezTo>
                      <a:pt x="17" y="15"/>
                      <a:pt x="18" y="15"/>
                      <a:pt x="19" y="14"/>
                    </a:cubicBezTo>
                    <a:cubicBezTo>
                      <a:pt x="19" y="14"/>
                      <a:pt x="20" y="10"/>
                      <a:pt x="19" y="9"/>
                    </a:cubicBezTo>
                    <a:cubicBezTo>
                      <a:pt x="18" y="8"/>
                      <a:pt x="18" y="2"/>
                      <a:pt x="16" y="1"/>
                    </a:cubicBezTo>
                    <a:close/>
                  </a:path>
                </a:pathLst>
              </a:custGeom>
              <a:solidFill>
                <a:srgbClr val="E99D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7" name="Freeform 88"/>
              <p:cNvSpPr/>
              <p:nvPr/>
            </p:nvSpPr>
            <p:spPr bwMode="auto">
              <a:xfrm>
                <a:off x="3825875" y="881063"/>
                <a:ext cx="104775" cy="149225"/>
              </a:xfrm>
              <a:custGeom>
                <a:avLst/>
                <a:gdLst>
                  <a:gd name="T0" fmla="*/ 7 w 7"/>
                  <a:gd name="T1" fmla="*/ 1 h 10"/>
                  <a:gd name="T2" fmla="*/ 7 w 7"/>
                  <a:gd name="T3" fmla="*/ 3 h 10"/>
                  <a:gd name="T4" fmla="*/ 1 w 7"/>
                  <a:gd name="T5" fmla="*/ 10 h 10"/>
                  <a:gd name="T6" fmla="*/ 0 w 7"/>
                  <a:gd name="T7" fmla="*/ 9 h 10"/>
                  <a:gd name="T8" fmla="*/ 0 w 7"/>
                  <a:gd name="T9" fmla="*/ 9 h 10"/>
                  <a:gd name="T10" fmla="*/ 1 w 7"/>
                  <a:gd name="T11" fmla="*/ 7 h 10"/>
                  <a:gd name="T12" fmla="*/ 2 w 7"/>
                  <a:gd name="T13" fmla="*/ 5 h 10"/>
                  <a:gd name="T14" fmla="*/ 3 w 7"/>
                  <a:gd name="T15" fmla="*/ 2 h 10"/>
                  <a:gd name="T16" fmla="*/ 5 w 7"/>
                  <a:gd name="T17" fmla="*/ 1 h 10"/>
                  <a:gd name="T18" fmla="*/ 7 w 7"/>
                  <a:gd name="T19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10">
                    <a:moveTo>
                      <a:pt x="7" y="1"/>
                    </a:moveTo>
                    <a:cubicBezTo>
                      <a:pt x="7" y="2"/>
                      <a:pt x="7" y="3"/>
                      <a:pt x="7" y="3"/>
                    </a:cubicBezTo>
                    <a:cubicBezTo>
                      <a:pt x="6" y="6"/>
                      <a:pt x="1" y="10"/>
                      <a:pt x="1" y="10"/>
                    </a:cubicBezTo>
                    <a:cubicBezTo>
                      <a:pt x="1" y="10"/>
                      <a:pt x="1" y="9"/>
                      <a:pt x="0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1" y="8"/>
                      <a:pt x="1" y="8"/>
                      <a:pt x="1" y="7"/>
                    </a:cubicBezTo>
                    <a:cubicBezTo>
                      <a:pt x="1" y="7"/>
                      <a:pt x="2" y="5"/>
                      <a:pt x="2" y="5"/>
                    </a:cubicBezTo>
                    <a:cubicBezTo>
                      <a:pt x="3" y="5"/>
                      <a:pt x="3" y="3"/>
                      <a:pt x="3" y="2"/>
                    </a:cubicBezTo>
                    <a:cubicBezTo>
                      <a:pt x="4" y="2"/>
                      <a:pt x="4" y="0"/>
                      <a:pt x="5" y="1"/>
                    </a:cubicBezTo>
                    <a:cubicBezTo>
                      <a:pt x="6" y="2"/>
                      <a:pt x="7" y="2"/>
                      <a:pt x="7" y="1"/>
                    </a:cubicBezTo>
                    <a:close/>
                  </a:path>
                </a:pathLst>
              </a:custGeom>
              <a:solidFill>
                <a:srgbClr val="D081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8" name="Freeform 89"/>
              <p:cNvSpPr/>
              <p:nvPr/>
            </p:nvSpPr>
            <p:spPr bwMode="auto">
              <a:xfrm>
                <a:off x="3763963" y="806450"/>
                <a:ext cx="182562" cy="209550"/>
              </a:xfrm>
              <a:custGeom>
                <a:avLst/>
                <a:gdLst>
                  <a:gd name="T0" fmla="*/ 12 w 12"/>
                  <a:gd name="T1" fmla="*/ 3 h 14"/>
                  <a:gd name="T2" fmla="*/ 12 w 12"/>
                  <a:gd name="T3" fmla="*/ 3 h 14"/>
                  <a:gd name="T4" fmla="*/ 12 w 12"/>
                  <a:gd name="T5" fmla="*/ 3 h 14"/>
                  <a:gd name="T6" fmla="*/ 12 w 12"/>
                  <a:gd name="T7" fmla="*/ 4 h 14"/>
                  <a:gd name="T8" fmla="*/ 12 w 12"/>
                  <a:gd name="T9" fmla="*/ 4 h 14"/>
                  <a:gd name="T10" fmla="*/ 12 w 12"/>
                  <a:gd name="T11" fmla="*/ 4 h 14"/>
                  <a:gd name="T12" fmla="*/ 11 w 12"/>
                  <a:gd name="T13" fmla="*/ 6 h 14"/>
                  <a:gd name="T14" fmla="*/ 11 w 12"/>
                  <a:gd name="T15" fmla="*/ 6 h 14"/>
                  <a:gd name="T16" fmla="*/ 9 w 12"/>
                  <a:gd name="T17" fmla="*/ 6 h 14"/>
                  <a:gd name="T18" fmla="*/ 7 w 12"/>
                  <a:gd name="T19" fmla="*/ 7 h 14"/>
                  <a:gd name="T20" fmla="*/ 6 w 12"/>
                  <a:gd name="T21" fmla="*/ 10 h 14"/>
                  <a:gd name="T22" fmla="*/ 5 w 12"/>
                  <a:gd name="T23" fmla="*/ 12 h 14"/>
                  <a:gd name="T24" fmla="*/ 4 w 12"/>
                  <a:gd name="T25" fmla="*/ 14 h 14"/>
                  <a:gd name="T26" fmla="*/ 4 w 12"/>
                  <a:gd name="T27" fmla="*/ 14 h 14"/>
                  <a:gd name="T28" fmla="*/ 4 w 12"/>
                  <a:gd name="T29" fmla="*/ 14 h 14"/>
                  <a:gd name="T30" fmla="*/ 4 w 12"/>
                  <a:gd name="T31" fmla="*/ 13 h 14"/>
                  <a:gd name="T32" fmla="*/ 4 w 12"/>
                  <a:gd name="T33" fmla="*/ 13 h 14"/>
                  <a:gd name="T34" fmla="*/ 3 w 12"/>
                  <a:gd name="T35" fmla="*/ 13 h 14"/>
                  <a:gd name="T36" fmla="*/ 3 w 12"/>
                  <a:gd name="T37" fmla="*/ 13 h 14"/>
                  <a:gd name="T38" fmla="*/ 2 w 12"/>
                  <a:gd name="T39" fmla="*/ 12 h 14"/>
                  <a:gd name="T40" fmla="*/ 2 w 12"/>
                  <a:gd name="T41" fmla="*/ 11 h 14"/>
                  <a:gd name="T42" fmla="*/ 2 w 12"/>
                  <a:gd name="T43" fmla="*/ 11 h 14"/>
                  <a:gd name="T44" fmla="*/ 2 w 12"/>
                  <a:gd name="T45" fmla="*/ 11 h 14"/>
                  <a:gd name="T46" fmla="*/ 2 w 12"/>
                  <a:gd name="T47" fmla="*/ 11 h 14"/>
                  <a:gd name="T48" fmla="*/ 1 w 12"/>
                  <a:gd name="T49" fmla="*/ 11 h 14"/>
                  <a:gd name="T50" fmla="*/ 1 w 12"/>
                  <a:gd name="T51" fmla="*/ 11 h 14"/>
                  <a:gd name="T52" fmla="*/ 1 w 12"/>
                  <a:gd name="T53" fmla="*/ 11 h 14"/>
                  <a:gd name="T54" fmla="*/ 1 w 12"/>
                  <a:gd name="T55" fmla="*/ 10 h 14"/>
                  <a:gd name="T56" fmla="*/ 1 w 12"/>
                  <a:gd name="T57" fmla="*/ 10 h 14"/>
                  <a:gd name="T58" fmla="*/ 1 w 12"/>
                  <a:gd name="T59" fmla="*/ 10 h 14"/>
                  <a:gd name="T60" fmla="*/ 1 w 12"/>
                  <a:gd name="T61" fmla="*/ 9 h 14"/>
                  <a:gd name="T62" fmla="*/ 1 w 12"/>
                  <a:gd name="T63" fmla="*/ 9 h 14"/>
                  <a:gd name="T64" fmla="*/ 0 w 12"/>
                  <a:gd name="T65" fmla="*/ 8 h 14"/>
                  <a:gd name="T66" fmla="*/ 0 w 12"/>
                  <a:gd name="T67" fmla="*/ 8 h 14"/>
                  <a:gd name="T68" fmla="*/ 0 w 12"/>
                  <a:gd name="T69" fmla="*/ 7 h 14"/>
                  <a:gd name="T70" fmla="*/ 0 w 12"/>
                  <a:gd name="T71" fmla="*/ 7 h 14"/>
                  <a:gd name="T72" fmla="*/ 0 w 12"/>
                  <a:gd name="T73" fmla="*/ 6 h 14"/>
                  <a:gd name="T74" fmla="*/ 0 w 12"/>
                  <a:gd name="T75" fmla="*/ 6 h 14"/>
                  <a:gd name="T76" fmla="*/ 1 w 12"/>
                  <a:gd name="T77" fmla="*/ 5 h 14"/>
                  <a:gd name="T78" fmla="*/ 1 w 12"/>
                  <a:gd name="T79" fmla="*/ 4 h 14"/>
                  <a:gd name="T80" fmla="*/ 2 w 12"/>
                  <a:gd name="T81" fmla="*/ 3 h 14"/>
                  <a:gd name="T82" fmla="*/ 2 w 12"/>
                  <a:gd name="T83" fmla="*/ 1 h 14"/>
                  <a:gd name="T84" fmla="*/ 4 w 12"/>
                  <a:gd name="T85" fmla="*/ 1 h 14"/>
                  <a:gd name="T86" fmla="*/ 4 w 12"/>
                  <a:gd name="T87" fmla="*/ 0 h 14"/>
                  <a:gd name="T88" fmla="*/ 8 w 12"/>
                  <a:gd name="T89" fmla="*/ 0 h 14"/>
                  <a:gd name="T90" fmla="*/ 8 w 12"/>
                  <a:gd name="T91" fmla="*/ 0 h 14"/>
                  <a:gd name="T92" fmla="*/ 9 w 12"/>
                  <a:gd name="T93" fmla="*/ 0 h 14"/>
                  <a:gd name="T94" fmla="*/ 9 w 12"/>
                  <a:gd name="T95" fmla="*/ 1 h 14"/>
                  <a:gd name="T96" fmla="*/ 9 w 12"/>
                  <a:gd name="T97" fmla="*/ 1 h 14"/>
                  <a:gd name="T98" fmla="*/ 9 w 12"/>
                  <a:gd name="T99" fmla="*/ 1 h 14"/>
                  <a:gd name="T100" fmla="*/ 9 w 12"/>
                  <a:gd name="T101" fmla="*/ 1 h 14"/>
                  <a:gd name="T102" fmla="*/ 9 w 12"/>
                  <a:gd name="T103" fmla="*/ 1 h 14"/>
                  <a:gd name="T104" fmla="*/ 9 w 12"/>
                  <a:gd name="T105" fmla="*/ 1 h 14"/>
                  <a:gd name="T106" fmla="*/ 9 w 12"/>
                  <a:gd name="T107" fmla="*/ 1 h 14"/>
                  <a:gd name="T108" fmla="*/ 9 w 12"/>
                  <a:gd name="T109" fmla="*/ 1 h 14"/>
                  <a:gd name="T110" fmla="*/ 9 w 12"/>
                  <a:gd name="T111" fmla="*/ 1 h 14"/>
                  <a:gd name="T112" fmla="*/ 10 w 12"/>
                  <a:gd name="T113" fmla="*/ 1 h 14"/>
                  <a:gd name="T114" fmla="*/ 12 w 12"/>
                  <a:gd name="T115" fmla="*/ 2 h 14"/>
                  <a:gd name="T116" fmla="*/ 12 w 12"/>
                  <a:gd name="T117" fmla="*/ 2 h 14"/>
                  <a:gd name="T118" fmla="*/ 12 w 12"/>
                  <a:gd name="T119" fmla="*/ 2 h 14"/>
                  <a:gd name="T120" fmla="*/ 12 w 12"/>
                  <a:gd name="T121" fmla="*/ 3 h 14"/>
                  <a:gd name="T122" fmla="*/ 12 w 12"/>
                  <a:gd name="T123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2" h="14">
                    <a:moveTo>
                      <a:pt x="12" y="3"/>
                    </a:move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5"/>
                      <a:pt x="12" y="6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7"/>
                      <a:pt x="10" y="7"/>
                      <a:pt x="9" y="6"/>
                    </a:cubicBezTo>
                    <a:cubicBezTo>
                      <a:pt x="8" y="5"/>
                      <a:pt x="8" y="7"/>
                      <a:pt x="7" y="7"/>
                    </a:cubicBezTo>
                    <a:cubicBezTo>
                      <a:pt x="7" y="8"/>
                      <a:pt x="7" y="10"/>
                      <a:pt x="6" y="10"/>
                    </a:cubicBezTo>
                    <a:cubicBezTo>
                      <a:pt x="6" y="10"/>
                      <a:pt x="5" y="12"/>
                      <a:pt x="5" y="12"/>
                    </a:cubicBezTo>
                    <a:cubicBezTo>
                      <a:pt x="5" y="13"/>
                      <a:pt x="5" y="13"/>
                      <a:pt x="4" y="14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14"/>
                      <a:pt x="4" y="14"/>
                      <a:pt x="4" y="13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3"/>
                      <a:pt x="4" y="13"/>
                      <a:pt x="3" y="13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3" y="12"/>
                      <a:pt x="3" y="12"/>
                      <a:pt x="2" y="12"/>
                    </a:cubicBezTo>
                    <a:cubicBezTo>
                      <a:pt x="2" y="12"/>
                      <a:pt x="2" y="11"/>
                      <a:pt x="2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2" y="11"/>
                      <a:pt x="1" y="11"/>
                      <a:pt x="1" y="11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1"/>
                      <a:pt x="1" y="10"/>
                      <a:pt x="1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0"/>
                      <a:pt x="1" y="10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5"/>
                      <a:pt x="1" y="5"/>
                      <a:pt x="1" y="5"/>
                    </a:cubicBezTo>
                    <a:cubicBezTo>
                      <a:pt x="1" y="5"/>
                      <a:pt x="1" y="4"/>
                      <a:pt x="1" y="4"/>
                    </a:cubicBezTo>
                    <a:cubicBezTo>
                      <a:pt x="1" y="4"/>
                      <a:pt x="2" y="3"/>
                      <a:pt x="2" y="3"/>
                    </a:cubicBezTo>
                    <a:cubicBezTo>
                      <a:pt x="2" y="3"/>
                      <a:pt x="2" y="2"/>
                      <a:pt x="2" y="1"/>
                    </a:cubicBezTo>
                    <a:cubicBezTo>
                      <a:pt x="2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4" y="0"/>
                    </a:cubicBezTo>
                    <a:cubicBezTo>
                      <a:pt x="4" y="0"/>
                      <a:pt x="7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1"/>
                      <a:pt x="11" y="2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2" y="2"/>
                      <a:pt x="12" y="3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lose/>
                  </a:path>
                </a:pathLst>
              </a:custGeom>
              <a:solidFill>
                <a:srgbClr val="F1B1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09" name="Freeform 90"/>
              <p:cNvSpPr/>
              <p:nvPr/>
            </p:nvSpPr>
            <p:spPr bwMode="auto">
              <a:xfrm>
                <a:off x="3763963" y="806450"/>
                <a:ext cx="182562" cy="209550"/>
              </a:xfrm>
              <a:custGeom>
                <a:avLst/>
                <a:gdLst>
                  <a:gd name="T0" fmla="*/ 12 w 12"/>
                  <a:gd name="T1" fmla="*/ 3 h 14"/>
                  <a:gd name="T2" fmla="*/ 12 w 12"/>
                  <a:gd name="T3" fmla="*/ 3 h 14"/>
                  <a:gd name="T4" fmla="*/ 12 w 12"/>
                  <a:gd name="T5" fmla="*/ 3 h 14"/>
                  <a:gd name="T6" fmla="*/ 12 w 12"/>
                  <a:gd name="T7" fmla="*/ 4 h 14"/>
                  <a:gd name="T8" fmla="*/ 12 w 12"/>
                  <a:gd name="T9" fmla="*/ 4 h 14"/>
                  <a:gd name="T10" fmla="*/ 12 w 12"/>
                  <a:gd name="T11" fmla="*/ 4 h 14"/>
                  <a:gd name="T12" fmla="*/ 11 w 12"/>
                  <a:gd name="T13" fmla="*/ 6 h 14"/>
                  <a:gd name="T14" fmla="*/ 11 w 12"/>
                  <a:gd name="T15" fmla="*/ 6 h 14"/>
                  <a:gd name="T16" fmla="*/ 9 w 12"/>
                  <a:gd name="T17" fmla="*/ 6 h 14"/>
                  <a:gd name="T18" fmla="*/ 7 w 12"/>
                  <a:gd name="T19" fmla="*/ 7 h 14"/>
                  <a:gd name="T20" fmla="*/ 6 w 12"/>
                  <a:gd name="T21" fmla="*/ 10 h 14"/>
                  <a:gd name="T22" fmla="*/ 5 w 12"/>
                  <a:gd name="T23" fmla="*/ 12 h 14"/>
                  <a:gd name="T24" fmla="*/ 4 w 12"/>
                  <a:gd name="T25" fmla="*/ 14 h 14"/>
                  <a:gd name="T26" fmla="*/ 4 w 12"/>
                  <a:gd name="T27" fmla="*/ 14 h 14"/>
                  <a:gd name="T28" fmla="*/ 4 w 12"/>
                  <a:gd name="T29" fmla="*/ 14 h 14"/>
                  <a:gd name="T30" fmla="*/ 4 w 12"/>
                  <a:gd name="T31" fmla="*/ 13 h 14"/>
                  <a:gd name="T32" fmla="*/ 4 w 12"/>
                  <a:gd name="T33" fmla="*/ 13 h 14"/>
                  <a:gd name="T34" fmla="*/ 3 w 12"/>
                  <a:gd name="T35" fmla="*/ 13 h 14"/>
                  <a:gd name="T36" fmla="*/ 3 w 12"/>
                  <a:gd name="T37" fmla="*/ 13 h 14"/>
                  <a:gd name="T38" fmla="*/ 2 w 12"/>
                  <a:gd name="T39" fmla="*/ 12 h 14"/>
                  <a:gd name="T40" fmla="*/ 2 w 12"/>
                  <a:gd name="T41" fmla="*/ 11 h 14"/>
                  <a:gd name="T42" fmla="*/ 2 w 12"/>
                  <a:gd name="T43" fmla="*/ 11 h 14"/>
                  <a:gd name="T44" fmla="*/ 2 w 12"/>
                  <a:gd name="T45" fmla="*/ 11 h 14"/>
                  <a:gd name="T46" fmla="*/ 2 w 12"/>
                  <a:gd name="T47" fmla="*/ 11 h 14"/>
                  <a:gd name="T48" fmla="*/ 1 w 12"/>
                  <a:gd name="T49" fmla="*/ 11 h 14"/>
                  <a:gd name="T50" fmla="*/ 1 w 12"/>
                  <a:gd name="T51" fmla="*/ 11 h 14"/>
                  <a:gd name="T52" fmla="*/ 1 w 12"/>
                  <a:gd name="T53" fmla="*/ 11 h 14"/>
                  <a:gd name="T54" fmla="*/ 1 w 12"/>
                  <a:gd name="T55" fmla="*/ 10 h 14"/>
                  <a:gd name="T56" fmla="*/ 1 w 12"/>
                  <a:gd name="T57" fmla="*/ 10 h 14"/>
                  <a:gd name="T58" fmla="*/ 1 w 12"/>
                  <a:gd name="T59" fmla="*/ 10 h 14"/>
                  <a:gd name="T60" fmla="*/ 1 w 12"/>
                  <a:gd name="T61" fmla="*/ 9 h 14"/>
                  <a:gd name="T62" fmla="*/ 1 w 12"/>
                  <a:gd name="T63" fmla="*/ 9 h 14"/>
                  <a:gd name="T64" fmla="*/ 0 w 12"/>
                  <a:gd name="T65" fmla="*/ 8 h 14"/>
                  <a:gd name="T66" fmla="*/ 0 w 12"/>
                  <a:gd name="T67" fmla="*/ 8 h 14"/>
                  <a:gd name="T68" fmla="*/ 0 w 12"/>
                  <a:gd name="T69" fmla="*/ 7 h 14"/>
                  <a:gd name="T70" fmla="*/ 0 w 12"/>
                  <a:gd name="T71" fmla="*/ 7 h 14"/>
                  <a:gd name="T72" fmla="*/ 0 w 12"/>
                  <a:gd name="T73" fmla="*/ 6 h 14"/>
                  <a:gd name="T74" fmla="*/ 3 w 12"/>
                  <a:gd name="T75" fmla="*/ 6 h 14"/>
                  <a:gd name="T76" fmla="*/ 4 w 12"/>
                  <a:gd name="T77" fmla="*/ 6 h 14"/>
                  <a:gd name="T78" fmla="*/ 2 w 12"/>
                  <a:gd name="T79" fmla="*/ 5 h 14"/>
                  <a:gd name="T80" fmla="*/ 5 w 12"/>
                  <a:gd name="T81" fmla="*/ 5 h 14"/>
                  <a:gd name="T82" fmla="*/ 6 w 12"/>
                  <a:gd name="T83" fmla="*/ 4 h 14"/>
                  <a:gd name="T84" fmla="*/ 3 w 12"/>
                  <a:gd name="T85" fmla="*/ 3 h 14"/>
                  <a:gd name="T86" fmla="*/ 6 w 12"/>
                  <a:gd name="T87" fmla="*/ 3 h 14"/>
                  <a:gd name="T88" fmla="*/ 7 w 12"/>
                  <a:gd name="T89" fmla="*/ 1 h 14"/>
                  <a:gd name="T90" fmla="*/ 8 w 12"/>
                  <a:gd name="T91" fmla="*/ 0 h 14"/>
                  <a:gd name="T92" fmla="*/ 9 w 12"/>
                  <a:gd name="T93" fmla="*/ 0 h 14"/>
                  <a:gd name="T94" fmla="*/ 9 w 12"/>
                  <a:gd name="T95" fmla="*/ 1 h 14"/>
                  <a:gd name="T96" fmla="*/ 9 w 12"/>
                  <a:gd name="T97" fmla="*/ 1 h 14"/>
                  <a:gd name="T98" fmla="*/ 9 w 12"/>
                  <a:gd name="T99" fmla="*/ 1 h 14"/>
                  <a:gd name="T100" fmla="*/ 9 w 12"/>
                  <a:gd name="T101" fmla="*/ 1 h 14"/>
                  <a:gd name="T102" fmla="*/ 9 w 12"/>
                  <a:gd name="T103" fmla="*/ 1 h 14"/>
                  <a:gd name="T104" fmla="*/ 9 w 12"/>
                  <a:gd name="T105" fmla="*/ 1 h 14"/>
                  <a:gd name="T106" fmla="*/ 9 w 12"/>
                  <a:gd name="T107" fmla="*/ 1 h 14"/>
                  <a:gd name="T108" fmla="*/ 9 w 12"/>
                  <a:gd name="T109" fmla="*/ 1 h 14"/>
                  <a:gd name="T110" fmla="*/ 9 w 12"/>
                  <a:gd name="T111" fmla="*/ 1 h 14"/>
                  <a:gd name="T112" fmla="*/ 9 w 12"/>
                  <a:gd name="T113" fmla="*/ 1 h 14"/>
                  <a:gd name="T114" fmla="*/ 9 w 12"/>
                  <a:gd name="T115" fmla="*/ 3 h 14"/>
                  <a:gd name="T116" fmla="*/ 12 w 12"/>
                  <a:gd name="T117" fmla="*/ 2 h 14"/>
                  <a:gd name="T118" fmla="*/ 12 w 12"/>
                  <a:gd name="T119" fmla="*/ 2 h 14"/>
                  <a:gd name="T120" fmla="*/ 12 w 12"/>
                  <a:gd name="T121" fmla="*/ 2 h 14"/>
                  <a:gd name="T122" fmla="*/ 12 w 12"/>
                  <a:gd name="T123" fmla="*/ 3 h 14"/>
                  <a:gd name="T124" fmla="*/ 12 w 12"/>
                  <a:gd name="T125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" h="14">
                    <a:moveTo>
                      <a:pt x="12" y="3"/>
                    </a:move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5"/>
                      <a:pt x="12" y="6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1" y="7"/>
                      <a:pt x="10" y="7"/>
                      <a:pt x="9" y="6"/>
                    </a:cubicBezTo>
                    <a:cubicBezTo>
                      <a:pt x="8" y="5"/>
                      <a:pt x="8" y="7"/>
                      <a:pt x="7" y="7"/>
                    </a:cubicBezTo>
                    <a:cubicBezTo>
                      <a:pt x="7" y="8"/>
                      <a:pt x="7" y="10"/>
                      <a:pt x="6" y="10"/>
                    </a:cubicBezTo>
                    <a:cubicBezTo>
                      <a:pt x="6" y="10"/>
                      <a:pt x="5" y="12"/>
                      <a:pt x="5" y="12"/>
                    </a:cubicBezTo>
                    <a:cubicBezTo>
                      <a:pt x="5" y="13"/>
                      <a:pt x="5" y="13"/>
                      <a:pt x="4" y="14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14"/>
                      <a:pt x="4" y="14"/>
                      <a:pt x="4" y="13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4" y="13"/>
                      <a:pt x="4" y="13"/>
                      <a:pt x="3" y="13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3" y="12"/>
                      <a:pt x="3" y="12"/>
                      <a:pt x="2" y="12"/>
                    </a:cubicBezTo>
                    <a:cubicBezTo>
                      <a:pt x="2" y="12"/>
                      <a:pt x="2" y="11"/>
                      <a:pt x="2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2" y="11"/>
                      <a:pt x="1" y="11"/>
                      <a:pt x="1" y="11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1" y="11"/>
                      <a:pt x="1" y="10"/>
                      <a:pt x="1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0"/>
                      <a:pt x="1" y="10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8"/>
                      <a:pt x="0" y="8"/>
                      <a:pt x="0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7"/>
                      <a:pt x="0" y="6"/>
                      <a:pt x="0" y="6"/>
                    </a:cubicBezTo>
                    <a:cubicBezTo>
                      <a:pt x="1" y="6"/>
                      <a:pt x="3" y="6"/>
                      <a:pt x="3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5"/>
                      <a:pt x="4" y="5"/>
                      <a:pt x="5" y="5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5" y="3"/>
                      <a:pt x="6" y="3"/>
                    </a:cubicBezTo>
                    <a:cubicBezTo>
                      <a:pt x="7" y="2"/>
                      <a:pt x="6" y="1"/>
                      <a:pt x="7" y="1"/>
                    </a:cubicBezTo>
                    <a:cubicBezTo>
                      <a:pt x="8" y="1"/>
                      <a:pt x="8" y="1"/>
                      <a:pt x="8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2"/>
                      <a:pt x="9" y="2"/>
                      <a:pt x="9" y="3"/>
                    </a:cubicBezTo>
                    <a:cubicBezTo>
                      <a:pt x="10" y="3"/>
                      <a:pt x="11" y="3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2" y="2"/>
                      <a:pt x="12" y="3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lose/>
                  </a:path>
                </a:pathLst>
              </a:custGeom>
              <a:solidFill>
                <a:srgbClr val="E99D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Freeform 91"/>
              <p:cNvSpPr/>
              <p:nvPr/>
            </p:nvSpPr>
            <p:spPr bwMode="auto">
              <a:xfrm>
                <a:off x="3763963" y="865188"/>
                <a:ext cx="879475" cy="1141413"/>
              </a:xfrm>
              <a:custGeom>
                <a:avLst/>
                <a:gdLst>
                  <a:gd name="T0" fmla="*/ 35 w 58"/>
                  <a:gd name="T1" fmla="*/ 76 h 76"/>
                  <a:gd name="T2" fmla="*/ 51 w 58"/>
                  <a:gd name="T3" fmla="*/ 47 h 76"/>
                  <a:gd name="T4" fmla="*/ 58 w 58"/>
                  <a:gd name="T5" fmla="*/ 0 h 76"/>
                  <a:gd name="T6" fmla="*/ 52 w 58"/>
                  <a:gd name="T7" fmla="*/ 3 h 76"/>
                  <a:gd name="T8" fmla="*/ 42 w 58"/>
                  <a:gd name="T9" fmla="*/ 4 h 76"/>
                  <a:gd name="T10" fmla="*/ 33 w 58"/>
                  <a:gd name="T11" fmla="*/ 12 h 76"/>
                  <a:gd name="T12" fmla="*/ 21 w 58"/>
                  <a:gd name="T13" fmla="*/ 16 h 76"/>
                  <a:gd name="T14" fmla="*/ 11 w 58"/>
                  <a:gd name="T15" fmla="*/ 4 h 76"/>
                  <a:gd name="T16" fmla="*/ 3 w 58"/>
                  <a:gd name="T17" fmla="*/ 11 h 76"/>
                  <a:gd name="T18" fmla="*/ 3 w 58"/>
                  <a:gd name="T19" fmla="*/ 8 h 76"/>
                  <a:gd name="T20" fmla="*/ 1 w 58"/>
                  <a:gd name="T21" fmla="*/ 12 h 76"/>
                  <a:gd name="T22" fmla="*/ 17 w 58"/>
                  <a:gd name="T23" fmla="*/ 28 h 76"/>
                  <a:gd name="T24" fmla="*/ 41 w 58"/>
                  <a:gd name="T25" fmla="*/ 23 h 76"/>
                  <a:gd name="T26" fmla="*/ 39 w 58"/>
                  <a:gd name="T27" fmla="*/ 48 h 76"/>
                  <a:gd name="T28" fmla="*/ 35 w 58"/>
                  <a:gd name="T29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8" h="76">
                    <a:moveTo>
                      <a:pt x="35" y="76"/>
                    </a:moveTo>
                    <a:cubicBezTo>
                      <a:pt x="35" y="76"/>
                      <a:pt x="50" y="58"/>
                      <a:pt x="51" y="47"/>
                    </a:cubicBezTo>
                    <a:cubicBezTo>
                      <a:pt x="53" y="37"/>
                      <a:pt x="56" y="4"/>
                      <a:pt x="58" y="0"/>
                    </a:cubicBezTo>
                    <a:cubicBezTo>
                      <a:pt x="52" y="3"/>
                      <a:pt x="52" y="3"/>
                      <a:pt x="52" y="3"/>
                    </a:cubicBezTo>
                    <a:cubicBezTo>
                      <a:pt x="42" y="4"/>
                      <a:pt x="42" y="4"/>
                      <a:pt x="42" y="4"/>
                    </a:cubicBezTo>
                    <a:cubicBezTo>
                      <a:pt x="42" y="4"/>
                      <a:pt x="34" y="12"/>
                      <a:pt x="33" y="12"/>
                    </a:cubicBezTo>
                    <a:cubicBezTo>
                      <a:pt x="32" y="13"/>
                      <a:pt x="21" y="16"/>
                      <a:pt x="21" y="16"/>
                    </a:cubicBezTo>
                    <a:cubicBezTo>
                      <a:pt x="21" y="16"/>
                      <a:pt x="14" y="14"/>
                      <a:pt x="11" y="4"/>
                    </a:cubicBezTo>
                    <a:cubicBezTo>
                      <a:pt x="11" y="4"/>
                      <a:pt x="5" y="13"/>
                      <a:pt x="3" y="11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0" y="11"/>
                      <a:pt x="1" y="12"/>
                    </a:cubicBezTo>
                    <a:cubicBezTo>
                      <a:pt x="1" y="12"/>
                      <a:pt x="14" y="29"/>
                      <a:pt x="17" y="28"/>
                    </a:cubicBezTo>
                    <a:cubicBezTo>
                      <a:pt x="19" y="28"/>
                      <a:pt x="33" y="29"/>
                      <a:pt x="41" y="23"/>
                    </a:cubicBezTo>
                    <a:cubicBezTo>
                      <a:pt x="41" y="23"/>
                      <a:pt x="40" y="43"/>
                      <a:pt x="39" y="48"/>
                    </a:cubicBezTo>
                    <a:cubicBezTo>
                      <a:pt x="38" y="54"/>
                      <a:pt x="33" y="71"/>
                      <a:pt x="35" y="76"/>
                    </a:cubicBezTo>
                    <a:close/>
                  </a:path>
                </a:pathLst>
              </a:custGeom>
              <a:solidFill>
                <a:srgbClr val="1212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1" name="Freeform 92"/>
              <p:cNvSpPr/>
              <p:nvPr/>
            </p:nvSpPr>
            <p:spPr bwMode="auto">
              <a:xfrm>
                <a:off x="4840288" y="865188"/>
                <a:ext cx="787400" cy="1125538"/>
              </a:xfrm>
              <a:custGeom>
                <a:avLst/>
                <a:gdLst>
                  <a:gd name="T0" fmla="*/ 0 w 52"/>
                  <a:gd name="T1" fmla="*/ 0 h 75"/>
                  <a:gd name="T2" fmla="*/ 9 w 52"/>
                  <a:gd name="T3" fmla="*/ 37 h 75"/>
                  <a:gd name="T4" fmla="*/ 20 w 52"/>
                  <a:gd name="T5" fmla="*/ 73 h 75"/>
                  <a:gd name="T6" fmla="*/ 23 w 52"/>
                  <a:gd name="T7" fmla="*/ 75 h 75"/>
                  <a:gd name="T8" fmla="*/ 20 w 52"/>
                  <a:gd name="T9" fmla="*/ 46 h 75"/>
                  <a:gd name="T10" fmla="*/ 19 w 52"/>
                  <a:gd name="T11" fmla="*/ 24 h 75"/>
                  <a:gd name="T12" fmla="*/ 19 w 52"/>
                  <a:gd name="T13" fmla="*/ 23 h 75"/>
                  <a:gd name="T14" fmla="*/ 39 w 52"/>
                  <a:gd name="T15" fmla="*/ 27 h 75"/>
                  <a:gd name="T16" fmla="*/ 52 w 52"/>
                  <a:gd name="T17" fmla="*/ 16 h 75"/>
                  <a:gd name="T18" fmla="*/ 50 w 52"/>
                  <a:gd name="T19" fmla="*/ 12 h 75"/>
                  <a:gd name="T20" fmla="*/ 49 w 52"/>
                  <a:gd name="T21" fmla="*/ 17 h 75"/>
                  <a:gd name="T22" fmla="*/ 41 w 52"/>
                  <a:gd name="T23" fmla="*/ 9 h 75"/>
                  <a:gd name="T24" fmla="*/ 35 w 52"/>
                  <a:gd name="T25" fmla="*/ 15 h 75"/>
                  <a:gd name="T26" fmla="*/ 28 w 52"/>
                  <a:gd name="T27" fmla="*/ 12 h 75"/>
                  <a:gd name="T28" fmla="*/ 24 w 52"/>
                  <a:gd name="T29" fmla="*/ 11 h 75"/>
                  <a:gd name="T30" fmla="*/ 18 w 52"/>
                  <a:gd name="T31" fmla="*/ 6 h 75"/>
                  <a:gd name="T32" fmla="*/ 19 w 52"/>
                  <a:gd name="T33" fmla="*/ 6 h 75"/>
                  <a:gd name="T34" fmla="*/ 16 w 52"/>
                  <a:gd name="T35" fmla="*/ 4 h 75"/>
                  <a:gd name="T36" fmla="*/ 8 w 52"/>
                  <a:gd name="T37" fmla="*/ 3 h 75"/>
                  <a:gd name="T38" fmla="*/ 4 w 52"/>
                  <a:gd name="T39" fmla="*/ 2 h 75"/>
                  <a:gd name="T40" fmla="*/ 0 w 52"/>
                  <a:gd name="T41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2" h="75">
                    <a:moveTo>
                      <a:pt x="0" y="0"/>
                    </a:moveTo>
                    <a:cubicBezTo>
                      <a:pt x="0" y="0"/>
                      <a:pt x="7" y="33"/>
                      <a:pt x="9" y="37"/>
                    </a:cubicBezTo>
                    <a:cubicBezTo>
                      <a:pt x="11" y="41"/>
                      <a:pt x="20" y="71"/>
                      <a:pt x="20" y="73"/>
                    </a:cubicBezTo>
                    <a:cubicBezTo>
                      <a:pt x="20" y="73"/>
                      <a:pt x="22" y="75"/>
                      <a:pt x="23" y="75"/>
                    </a:cubicBezTo>
                    <a:cubicBezTo>
                      <a:pt x="23" y="75"/>
                      <a:pt x="20" y="50"/>
                      <a:pt x="20" y="46"/>
                    </a:cubicBezTo>
                    <a:cubicBezTo>
                      <a:pt x="20" y="43"/>
                      <a:pt x="17" y="28"/>
                      <a:pt x="19" y="24"/>
                    </a:cubicBezTo>
                    <a:cubicBezTo>
                      <a:pt x="20" y="21"/>
                      <a:pt x="19" y="23"/>
                      <a:pt x="19" y="23"/>
                    </a:cubicBezTo>
                    <a:cubicBezTo>
                      <a:pt x="19" y="23"/>
                      <a:pt x="31" y="30"/>
                      <a:pt x="39" y="27"/>
                    </a:cubicBezTo>
                    <a:cubicBezTo>
                      <a:pt x="47" y="24"/>
                      <a:pt x="52" y="16"/>
                      <a:pt x="52" y="16"/>
                    </a:cubicBezTo>
                    <a:cubicBezTo>
                      <a:pt x="50" y="12"/>
                      <a:pt x="50" y="12"/>
                      <a:pt x="50" y="12"/>
                    </a:cubicBezTo>
                    <a:cubicBezTo>
                      <a:pt x="50" y="12"/>
                      <a:pt x="51" y="17"/>
                      <a:pt x="49" y="17"/>
                    </a:cubicBezTo>
                    <a:cubicBezTo>
                      <a:pt x="49" y="17"/>
                      <a:pt x="42" y="9"/>
                      <a:pt x="41" y="9"/>
                    </a:cubicBezTo>
                    <a:cubicBezTo>
                      <a:pt x="41" y="9"/>
                      <a:pt x="36" y="14"/>
                      <a:pt x="35" y="15"/>
                    </a:cubicBezTo>
                    <a:cubicBezTo>
                      <a:pt x="35" y="15"/>
                      <a:pt x="30" y="12"/>
                      <a:pt x="28" y="12"/>
                    </a:cubicBezTo>
                    <a:cubicBezTo>
                      <a:pt x="28" y="12"/>
                      <a:pt x="25" y="10"/>
                      <a:pt x="24" y="11"/>
                    </a:cubicBezTo>
                    <a:cubicBezTo>
                      <a:pt x="24" y="11"/>
                      <a:pt x="19" y="6"/>
                      <a:pt x="18" y="6"/>
                    </a:cubicBezTo>
                    <a:cubicBezTo>
                      <a:pt x="16" y="6"/>
                      <a:pt x="19" y="6"/>
                      <a:pt x="19" y="6"/>
                    </a:cubicBezTo>
                    <a:cubicBezTo>
                      <a:pt x="19" y="6"/>
                      <a:pt x="18" y="6"/>
                      <a:pt x="16" y="4"/>
                    </a:cubicBezTo>
                    <a:cubicBezTo>
                      <a:pt x="14" y="3"/>
                      <a:pt x="9" y="4"/>
                      <a:pt x="8" y="3"/>
                    </a:cubicBezTo>
                    <a:cubicBezTo>
                      <a:pt x="7" y="3"/>
                      <a:pt x="4" y="2"/>
                      <a:pt x="4" y="2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212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Freeform 93"/>
              <p:cNvSpPr/>
              <p:nvPr/>
            </p:nvSpPr>
            <p:spPr bwMode="auto">
              <a:xfrm>
                <a:off x="4930775" y="969963"/>
                <a:ext cx="696912" cy="1020763"/>
              </a:xfrm>
              <a:custGeom>
                <a:avLst/>
                <a:gdLst>
                  <a:gd name="T0" fmla="*/ 43 w 46"/>
                  <a:gd name="T1" fmla="*/ 10 h 68"/>
                  <a:gd name="T2" fmla="*/ 38 w 46"/>
                  <a:gd name="T3" fmla="*/ 4 h 68"/>
                  <a:gd name="T4" fmla="*/ 31 w 46"/>
                  <a:gd name="T5" fmla="*/ 13 h 68"/>
                  <a:gd name="T6" fmla="*/ 22 w 46"/>
                  <a:gd name="T7" fmla="*/ 16 h 68"/>
                  <a:gd name="T8" fmla="*/ 26 w 46"/>
                  <a:gd name="T9" fmla="*/ 12 h 68"/>
                  <a:gd name="T10" fmla="*/ 20 w 46"/>
                  <a:gd name="T11" fmla="*/ 12 h 68"/>
                  <a:gd name="T12" fmla="*/ 14 w 46"/>
                  <a:gd name="T13" fmla="*/ 11 h 68"/>
                  <a:gd name="T14" fmla="*/ 12 w 46"/>
                  <a:gd name="T15" fmla="*/ 6 h 68"/>
                  <a:gd name="T16" fmla="*/ 9 w 46"/>
                  <a:gd name="T17" fmla="*/ 0 h 68"/>
                  <a:gd name="T18" fmla="*/ 11 w 46"/>
                  <a:gd name="T19" fmla="*/ 9 h 68"/>
                  <a:gd name="T20" fmla="*/ 9 w 46"/>
                  <a:gd name="T21" fmla="*/ 4 h 68"/>
                  <a:gd name="T22" fmla="*/ 9 w 46"/>
                  <a:gd name="T23" fmla="*/ 17 h 68"/>
                  <a:gd name="T24" fmla="*/ 8 w 46"/>
                  <a:gd name="T25" fmla="*/ 34 h 68"/>
                  <a:gd name="T26" fmla="*/ 3 w 46"/>
                  <a:gd name="T27" fmla="*/ 21 h 68"/>
                  <a:gd name="T28" fmla="*/ 3 w 46"/>
                  <a:gd name="T29" fmla="*/ 1 h 68"/>
                  <a:gd name="T30" fmla="*/ 0 w 46"/>
                  <a:gd name="T31" fmla="*/ 22 h 68"/>
                  <a:gd name="T32" fmla="*/ 3 w 46"/>
                  <a:gd name="T33" fmla="*/ 30 h 68"/>
                  <a:gd name="T34" fmla="*/ 14 w 46"/>
                  <a:gd name="T35" fmla="*/ 66 h 68"/>
                  <a:gd name="T36" fmla="*/ 17 w 46"/>
                  <a:gd name="T37" fmla="*/ 68 h 68"/>
                  <a:gd name="T38" fmla="*/ 14 w 46"/>
                  <a:gd name="T39" fmla="*/ 39 h 68"/>
                  <a:gd name="T40" fmla="*/ 13 w 46"/>
                  <a:gd name="T41" fmla="*/ 17 h 68"/>
                  <a:gd name="T42" fmla="*/ 13 w 46"/>
                  <a:gd name="T43" fmla="*/ 16 h 68"/>
                  <a:gd name="T44" fmla="*/ 33 w 46"/>
                  <a:gd name="T45" fmla="*/ 20 h 68"/>
                  <a:gd name="T46" fmla="*/ 46 w 46"/>
                  <a:gd name="T47" fmla="*/ 9 h 68"/>
                  <a:gd name="T48" fmla="*/ 44 w 46"/>
                  <a:gd name="T49" fmla="*/ 5 h 68"/>
                  <a:gd name="T50" fmla="*/ 43 w 46"/>
                  <a:gd name="T51" fmla="*/ 1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6" h="68">
                    <a:moveTo>
                      <a:pt x="43" y="10"/>
                    </a:moveTo>
                    <a:cubicBezTo>
                      <a:pt x="43" y="10"/>
                      <a:pt x="40" y="6"/>
                      <a:pt x="38" y="4"/>
                    </a:cubicBezTo>
                    <a:cubicBezTo>
                      <a:pt x="35" y="7"/>
                      <a:pt x="33" y="12"/>
                      <a:pt x="31" y="13"/>
                    </a:cubicBezTo>
                    <a:cubicBezTo>
                      <a:pt x="28" y="15"/>
                      <a:pt x="25" y="15"/>
                      <a:pt x="22" y="16"/>
                    </a:cubicBezTo>
                    <a:cubicBezTo>
                      <a:pt x="20" y="16"/>
                      <a:pt x="25" y="14"/>
                      <a:pt x="26" y="12"/>
                    </a:cubicBezTo>
                    <a:cubicBezTo>
                      <a:pt x="26" y="12"/>
                      <a:pt x="22" y="13"/>
                      <a:pt x="20" y="12"/>
                    </a:cubicBezTo>
                    <a:cubicBezTo>
                      <a:pt x="18" y="11"/>
                      <a:pt x="15" y="10"/>
                      <a:pt x="14" y="11"/>
                    </a:cubicBezTo>
                    <a:cubicBezTo>
                      <a:pt x="14" y="11"/>
                      <a:pt x="13" y="7"/>
                      <a:pt x="12" y="6"/>
                    </a:cubicBezTo>
                    <a:cubicBezTo>
                      <a:pt x="11" y="4"/>
                      <a:pt x="9" y="0"/>
                      <a:pt x="9" y="0"/>
                    </a:cubicBezTo>
                    <a:cubicBezTo>
                      <a:pt x="9" y="0"/>
                      <a:pt x="13" y="7"/>
                      <a:pt x="11" y="9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4"/>
                      <a:pt x="7" y="14"/>
                      <a:pt x="9" y="17"/>
                    </a:cubicBezTo>
                    <a:cubicBezTo>
                      <a:pt x="10" y="21"/>
                      <a:pt x="10" y="33"/>
                      <a:pt x="8" y="34"/>
                    </a:cubicBezTo>
                    <a:cubicBezTo>
                      <a:pt x="8" y="34"/>
                      <a:pt x="4" y="24"/>
                      <a:pt x="3" y="21"/>
                    </a:cubicBezTo>
                    <a:cubicBezTo>
                      <a:pt x="3" y="21"/>
                      <a:pt x="3" y="3"/>
                      <a:pt x="3" y="1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26"/>
                      <a:pt x="2" y="29"/>
                      <a:pt x="3" y="30"/>
                    </a:cubicBezTo>
                    <a:cubicBezTo>
                      <a:pt x="5" y="34"/>
                      <a:pt x="14" y="64"/>
                      <a:pt x="14" y="66"/>
                    </a:cubicBezTo>
                    <a:cubicBezTo>
                      <a:pt x="14" y="66"/>
                      <a:pt x="16" y="68"/>
                      <a:pt x="17" y="68"/>
                    </a:cubicBezTo>
                    <a:cubicBezTo>
                      <a:pt x="17" y="68"/>
                      <a:pt x="14" y="43"/>
                      <a:pt x="14" y="39"/>
                    </a:cubicBezTo>
                    <a:cubicBezTo>
                      <a:pt x="14" y="36"/>
                      <a:pt x="11" y="21"/>
                      <a:pt x="13" y="17"/>
                    </a:cubicBezTo>
                    <a:cubicBezTo>
                      <a:pt x="13" y="17"/>
                      <a:pt x="13" y="16"/>
                      <a:pt x="13" y="16"/>
                    </a:cubicBezTo>
                    <a:cubicBezTo>
                      <a:pt x="15" y="17"/>
                      <a:pt x="26" y="22"/>
                      <a:pt x="33" y="20"/>
                    </a:cubicBezTo>
                    <a:cubicBezTo>
                      <a:pt x="41" y="17"/>
                      <a:pt x="46" y="9"/>
                      <a:pt x="46" y="9"/>
                    </a:cubicBezTo>
                    <a:cubicBezTo>
                      <a:pt x="44" y="5"/>
                      <a:pt x="44" y="5"/>
                      <a:pt x="44" y="5"/>
                    </a:cubicBezTo>
                    <a:cubicBezTo>
                      <a:pt x="44" y="5"/>
                      <a:pt x="45" y="10"/>
                      <a:pt x="43" y="1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3" name="Freeform 94"/>
              <p:cNvSpPr/>
              <p:nvPr/>
            </p:nvSpPr>
            <p:spPr bwMode="auto">
              <a:xfrm>
                <a:off x="4460875" y="985838"/>
                <a:ext cx="152400" cy="495300"/>
              </a:xfrm>
              <a:custGeom>
                <a:avLst/>
                <a:gdLst>
                  <a:gd name="T0" fmla="*/ 7 w 10"/>
                  <a:gd name="T1" fmla="*/ 24 h 33"/>
                  <a:gd name="T2" fmla="*/ 10 w 10"/>
                  <a:gd name="T3" fmla="*/ 4 h 33"/>
                  <a:gd name="T4" fmla="*/ 6 w 10"/>
                  <a:gd name="T5" fmla="*/ 12 h 33"/>
                  <a:gd name="T6" fmla="*/ 5 w 10"/>
                  <a:gd name="T7" fmla="*/ 0 h 33"/>
                  <a:gd name="T8" fmla="*/ 4 w 10"/>
                  <a:gd name="T9" fmla="*/ 12 h 33"/>
                  <a:gd name="T10" fmla="*/ 2 w 10"/>
                  <a:gd name="T11" fmla="*/ 33 h 33"/>
                  <a:gd name="T12" fmla="*/ 5 w 10"/>
                  <a:gd name="T13" fmla="*/ 16 h 33"/>
                  <a:gd name="T14" fmla="*/ 7 w 10"/>
                  <a:gd name="T15" fmla="*/ 2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33">
                    <a:moveTo>
                      <a:pt x="7" y="24"/>
                    </a:moveTo>
                    <a:cubicBezTo>
                      <a:pt x="8" y="18"/>
                      <a:pt x="9" y="10"/>
                      <a:pt x="10" y="4"/>
                    </a:cubicBezTo>
                    <a:cubicBezTo>
                      <a:pt x="7" y="7"/>
                      <a:pt x="6" y="12"/>
                      <a:pt x="6" y="12"/>
                    </a:cubicBezTo>
                    <a:cubicBezTo>
                      <a:pt x="4" y="9"/>
                      <a:pt x="5" y="0"/>
                      <a:pt x="5" y="0"/>
                    </a:cubicBezTo>
                    <a:cubicBezTo>
                      <a:pt x="4" y="2"/>
                      <a:pt x="4" y="12"/>
                      <a:pt x="4" y="12"/>
                    </a:cubicBezTo>
                    <a:cubicBezTo>
                      <a:pt x="0" y="16"/>
                      <a:pt x="2" y="33"/>
                      <a:pt x="2" y="33"/>
                    </a:cubicBezTo>
                    <a:cubicBezTo>
                      <a:pt x="1" y="27"/>
                      <a:pt x="5" y="16"/>
                      <a:pt x="5" y="16"/>
                    </a:cubicBezTo>
                    <a:cubicBezTo>
                      <a:pt x="5" y="19"/>
                      <a:pt x="6" y="22"/>
                      <a:pt x="7" y="2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Freeform 95"/>
              <p:cNvSpPr/>
              <p:nvPr/>
            </p:nvSpPr>
            <p:spPr bwMode="auto">
              <a:xfrm>
                <a:off x="3763963" y="955675"/>
                <a:ext cx="636587" cy="344488"/>
              </a:xfrm>
              <a:custGeom>
                <a:avLst/>
                <a:gdLst>
                  <a:gd name="T0" fmla="*/ 42 w 42"/>
                  <a:gd name="T1" fmla="*/ 0 h 23"/>
                  <a:gd name="T2" fmla="*/ 39 w 42"/>
                  <a:gd name="T3" fmla="*/ 8 h 23"/>
                  <a:gd name="T4" fmla="*/ 34 w 42"/>
                  <a:gd name="T5" fmla="*/ 6 h 23"/>
                  <a:gd name="T6" fmla="*/ 34 w 42"/>
                  <a:gd name="T7" fmla="*/ 6 h 23"/>
                  <a:gd name="T8" fmla="*/ 37 w 42"/>
                  <a:gd name="T9" fmla="*/ 9 h 23"/>
                  <a:gd name="T10" fmla="*/ 32 w 42"/>
                  <a:gd name="T11" fmla="*/ 14 h 23"/>
                  <a:gd name="T12" fmla="*/ 25 w 42"/>
                  <a:gd name="T13" fmla="*/ 11 h 23"/>
                  <a:gd name="T14" fmla="*/ 27 w 42"/>
                  <a:gd name="T15" fmla="*/ 16 h 23"/>
                  <a:gd name="T16" fmla="*/ 17 w 42"/>
                  <a:gd name="T17" fmla="*/ 8 h 23"/>
                  <a:gd name="T18" fmla="*/ 16 w 42"/>
                  <a:gd name="T19" fmla="*/ 7 h 23"/>
                  <a:gd name="T20" fmla="*/ 16 w 42"/>
                  <a:gd name="T21" fmla="*/ 7 h 23"/>
                  <a:gd name="T22" fmla="*/ 21 w 42"/>
                  <a:gd name="T23" fmla="*/ 18 h 23"/>
                  <a:gd name="T24" fmla="*/ 17 w 42"/>
                  <a:gd name="T25" fmla="*/ 12 h 23"/>
                  <a:gd name="T26" fmla="*/ 15 w 42"/>
                  <a:gd name="T27" fmla="*/ 14 h 23"/>
                  <a:gd name="T28" fmla="*/ 9 w 42"/>
                  <a:gd name="T29" fmla="*/ 1 h 23"/>
                  <a:gd name="T30" fmla="*/ 2 w 42"/>
                  <a:gd name="T31" fmla="*/ 5 h 23"/>
                  <a:gd name="T32" fmla="*/ 3 w 42"/>
                  <a:gd name="T33" fmla="*/ 2 h 23"/>
                  <a:gd name="T34" fmla="*/ 1 w 42"/>
                  <a:gd name="T35" fmla="*/ 6 h 23"/>
                  <a:gd name="T36" fmla="*/ 17 w 42"/>
                  <a:gd name="T37" fmla="*/ 22 h 23"/>
                  <a:gd name="T38" fmla="*/ 41 w 42"/>
                  <a:gd name="T39" fmla="*/ 17 h 23"/>
                  <a:gd name="T40" fmla="*/ 42 w 42"/>
                  <a:gd name="T41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2" h="23">
                    <a:moveTo>
                      <a:pt x="42" y="0"/>
                    </a:moveTo>
                    <a:cubicBezTo>
                      <a:pt x="41" y="2"/>
                      <a:pt x="39" y="8"/>
                      <a:pt x="39" y="8"/>
                    </a:cubicBezTo>
                    <a:cubicBezTo>
                      <a:pt x="37" y="8"/>
                      <a:pt x="34" y="6"/>
                      <a:pt x="34" y="6"/>
                    </a:cubicBezTo>
                    <a:cubicBezTo>
                      <a:pt x="34" y="6"/>
                      <a:pt x="34" y="6"/>
                      <a:pt x="34" y="6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35" y="10"/>
                      <a:pt x="37" y="13"/>
                      <a:pt x="32" y="14"/>
                    </a:cubicBezTo>
                    <a:cubicBezTo>
                      <a:pt x="27" y="15"/>
                      <a:pt x="25" y="11"/>
                      <a:pt x="25" y="11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7" y="8"/>
                      <a:pt x="16" y="7"/>
                      <a:pt x="16" y="7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22" y="14"/>
                      <a:pt x="21" y="18"/>
                      <a:pt x="21" y="18"/>
                    </a:cubicBezTo>
                    <a:cubicBezTo>
                      <a:pt x="21" y="16"/>
                      <a:pt x="17" y="12"/>
                      <a:pt x="17" y="12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13" y="13"/>
                      <a:pt x="10" y="6"/>
                      <a:pt x="9" y="1"/>
                    </a:cubicBezTo>
                    <a:cubicBezTo>
                      <a:pt x="7" y="3"/>
                      <a:pt x="4" y="7"/>
                      <a:pt x="2" y="5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0" y="5"/>
                      <a:pt x="1" y="6"/>
                    </a:cubicBezTo>
                    <a:cubicBezTo>
                      <a:pt x="1" y="6"/>
                      <a:pt x="14" y="23"/>
                      <a:pt x="17" y="22"/>
                    </a:cubicBezTo>
                    <a:cubicBezTo>
                      <a:pt x="19" y="22"/>
                      <a:pt x="33" y="23"/>
                      <a:pt x="41" y="17"/>
                    </a:cubicBezTo>
                    <a:cubicBezTo>
                      <a:pt x="41" y="13"/>
                      <a:pt x="42" y="0"/>
                      <a:pt x="42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5" name="Freeform 96"/>
              <p:cNvSpPr/>
              <p:nvPr/>
            </p:nvSpPr>
            <p:spPr bwMode="auto">
              <a:xfrm>
                <a:off x="4687888" y="911225"/>
                <a:ext cx="152400" cy="795338"/>
              </a:xfrm>
              <a:custGeom>
                <a:avLst/>
                <a:gdLst>
                  <a:gd name="T0" fmla="*/ 0 w 96"/>
                  <a:gd name="T1" fmla="*/ 37 h 501"/>
                  <a:gd name="T2" fmla="*/ 29 w 96"/>
                  <a:gd name="T3" fmla="*/ 66 h 501"/>
                  <a:gd name="T4" fmla="*/ 10 w 96"/>
                  <a:gd name="T5" fmla="*/ 113 h 501"/>
                  <a:gd name="T6" fmla="*/ 10 w 96"/>
                  <a:gd name="T7" fmla="*/ 463 h 501"/>
                  <a:gd name="T8" fmla="*/ 48 w 96"/>
                  <a:gd name="T9" fmla="*/ 501 h 501"/>
                  <a:gd name="T10" fmla="*/ 96 w 96"/>
                  <a:gd name="T11" fmla="*/ 463 h 501"/>
                  <a:gd name="T12" fmla="*/ 77 w 96"/>
                  <a:gd name="T13" fmla="*/ 113 h 501"/>
                  <a:gd name="T14" fmla="*/ 48 w 96"/>
                  <a:gd name="T15" fmla="*/ 66 h 501"/>
                  <a:gd name="T16" fmla="*/ 67 w 96"/>
                  <a:gd name="T17" fmla="*/ 37 h 501"/>
                  <a:gd name="T18" fmla="*/ 48 w 96"/>
                  <a:gd name="T19" fmla="*/ 9 h 501"/>
                  <a:gd name="T20" fmla="*/ 19 w 96"/>
                  <a:gd name="T21" fmla="*/ 0 h 501"/>
                  <a:gd name="T22" fmla="*/ 0 w 96"/>
                  <a:gd name="T23" fmla="*/ 37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6" h="501">
                    <a:moveTo>
                      <a:pt x="0" y="37"/>
                    </a:moveTo>
                    <a:lnTo>
                      <a:pt x="29" y="66"/>
                    </a:lnTo>
                    <a:lnTo>
                      <a:pt x="10" y="113"/>
                    </a:lnTo>
                    <a:lnTo>
                      <a:pt x="10" y="463"/>
                    </a:lnTo>
                    <a:lnTo>
                      <a:pt x="48" y="501"/>
                    </a:lnTo>
                    <a:lnTo>
                      <a:pt x="96" y="463"/>
                    </a:lnTo>
                    <a:lnTo>
                      <a:pt x="77" y="113"/>
                    </a:lnTo>
                    <a:lnTo>
                      <a:pt x="48" y="66"/>
                    </a:lnTo>
                    <a:lnTo>
                      <a:pt x="67" y="37"/>
                    </a:lnTo>
                    <a:lnTo>
                      <a:pt x="48" y="9"/>
                    </a:lnTo>
                    <a:lnTo>
                      <a:pt x="19" y="0"/>
                    </a:lnTo>
                    <a:lnTo>
                      <a:pt x="0" y="37"/>
                    </a:lnTo>
                    <a:close/>
                  </a:path>
                </a:pathLst>
              </a:custGeom>
              <a:solidFill>
                <a:srgbClr val="1212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6" name="Freeform 97"/>
              <p:cNvSpPr/>
              <p:nvPr/>
            </p:nvSpPr>
            <p:spPr bwMode="auto">
              <a:xfrm>
                <a:off x="4613275" y="3146425"/>
                <a:ext cx="196850" cy="211138"/>
              </a:xfrm>
              <a:custGeom>
                <a:avLst/>
                <a:gdLst>
                  <a:gd name="T0" fmla="*/ 2 w 13"/>
                  <a:gd name="T1" fmla="*/ 2 h 14"/>
                  <a:gd name="T2" fmla="*/ 2 w 13"/>
                  <a:gd name="T3" fmla="*/ 8 h 14"/>
                  <a:gd name="T4" fmla="*/ 0 w 13"/>
                  <a:gd name="T5" fmla="*/ 13 h 14"/>
                  <a:gd name="T6" fmla="*/ 8 w 13"/>
                  <a:gd name="T7" fmla="*/ 14 h 14"/>
                  <a:gd name="T8" fmla="*/ 12 w 13"/>
                  <a:gd name="T9" fmla="*/ 11 h 14"/>
                  <a:gd name="T10" fmla="*/ 12 w 13"/>
                  <a:gd name="T11" fmla="*/ 2 h 14"/>
                  <a:gd name="T12" fmla="*/ 2 w 13"/>
                  <a:gd name="T13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4">
                    <a:moveTo>
                      <a:pt x="2" y="2"/>
                    </a:moveTo>
                    <a:cubicBezTo>
                      <a:pt x="2" y="2"/>
                      <a:pt x="3" y="7"/>
                      <a:pt x="2" y="8"/>
                    </a:cubicBezTo>
                    <a:cubicBezTo>
                      <a:pt x="1" y="8"/>
                      <a:pt x="0" y="11"/>
                      <a:pt x="0" y="13"/>
                    </a:cubicBezTo>
                    <a:cubicBezTo>
                      <a:pt x="0" y="13"/>
                      <a:pt x="5" y="14"/>
                      <a:pt x="8" y="14"/>
                    </a:cubicBezTo>
                    <a:cubicBezTo>
                      <a:pt x="11" y="13"/>
                      <a:pt x="13" y="13"/>
                      <a:pt x="12" y="11"/>
                    </a:cubicBezTo>
                    <a:cubicBezTo>
                      <a:pt x="11" y="8"/>
                      <a:pt x="11" y="5"/>
                      <a:pt x="12" y="2"/>
                    </a:cubicBezTo>
                    <a:cubicBezTo>
                      <a:pt x="13" y="0"/>
                      <a:pt x="3" y="2"/>
                      <a:pt x="2" y="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Freeform 98"/>
              <p:cNvSpPr/>
              <p:nvPr/>
            </p:nvSpPr>
            <p:spPr bwMode="auto">
              <a:xfrm>
                <a:off x="4840288" y="2981325"/>
                <a:ext cx="211137" cy="269875"/>
              </a:xfrm>
              <a:custGeom>
                <a:avLst/>
                <a:gdLst>
                  <a:gd name="T0" fmla="*/ 3 w 14"/>
                  <a:gd name="T1" fmla="*/ 2 h 18"/>
                  <a:gd name="T2" fmla="*/ 2 w 14"/>
                  <a:gd name="T3" fmla="*/ 8 h 18"/>
                  <a:gd name="T4" fmla="*/ 2 w 14"/>
                  <a:gd name="T5" fmla="*/ 15 h 18"/>
                  <a:gd name="T6" fmla="*/ 12 w 14"/>
                  <a:gd name="T7" fmla="*/ 17 h 18"/>
                  <a:gd name="T8" fmla="*/ 12 w 14"/>
                  <a:gd name="T9" fmla="*/ 7 h 18"/>
                  <a:gd name="T10" fmla="*/ 9 w 14"/>
                  <a:gd name="T11" fmla="*/ 1 h 18"/>
                  <a:gd name="T12" fmla="*/ 3 w 14"/>
                  <a:gd name="T13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18">
                    <a:moveTo>
                      <a:pt x="3" y="2"/>
                    </a:moveTo>
                    <a:cubicBezTo>
                      <a:pt x="3" y="2"/>
                      <a:pt x="2" y="7"/>
                      <a:pt x="2" y="8"/>
                    </a:cubicBezTo>
                    <a:cubicBezTo>
                      <a:pt x="2" y="9"/>
                      <a:pt x="0" y="13"/>
                      <a:pt x="2" y="15"/>
                    </a:cubicBezTo>
                    <a:cubicBezTo>
                      <a:pt x="5" y="17"/>
                      <a:pt x="10" y="18"/>
                      <a:pt x="12" y="17"/>
                    </a:cubicBezTo>
                    <a:cubicBezTo>
                      <a:pt x="12" y="17"/>
                      <a:pt x="14" y="9"/>
                      <a:pt x="12" y="7"/>
                    </a:cubicBezTo>
                    <a:cubicBezTo>
                      <a:pt x="11" y="6"/>
                      <a:pt x="9" y="1"/>
                      <a:pt x="9" y="1"/>
                    </a:cubicBezTo>
                    <a:cubicBezTo>
                      <a:pt x="10" y="0"/>
                      <a:pt x="3" y="2"/>
                      <a:pt x="3" y="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118" name="Freeform 99"/>
              <p:cNvSpPr/>
              <p:nvPr/>
            </p:nvSpPr>
            <p:spPr bwMode="auto">
              <a:xfrm>
                <a:off x="4597400" y="460375"/>
                <a:ext cx="303212" cy="269875"/>
              </a:xfrm>
              <a:custGeom>
                <a:avLst/>
                <a:gdLst>
                  <a:gd name="T0" fmla="*/ 3 w 20"/>
                  <a:gd name="T1" fmla="*/ 18 h 18"/>
                  <a:gd name="T2" fmla="*/ 3 w 20"/>
                  <a:gd name="T3" fmla="*/ 12 h 18"/>
                  <a:gd name="T4" fmla="*/ 4 w 20"/>
                  <a:gd name="T5" fmla="*/ 8 h 18"/>
                  <a:gd name="T6" fmla="*/ 11 w 20"/>
                  <a:gd name="T7" fmla="*/ 6 h 18"/>
                  <a:gd name="T8" fmla="*/ 16 w 20"/>
                  <a:gd name="T9" fmla="*/ 8 h 18"/>
                  <a:gd name="T10" fmla="*/ 17 w 20"/>
                  <a:gd name="T11" fmla="*/ 13 h 18"/>
                  <a:gd name="T12" fmla="*/ 17 w 20"/>
                  <a:gd name="T13" fmla="*/ 18 h 18"/>
                  <a:gd name="T14" fmla="*/ 18 w 20"/>
                  <a:gd name="T15" fmla="*/ 18 h 18"/>
                  <a:gd name="T16" fmla="*/ 19 w 20"/>
                  <a:gd name="T17" fmla="*/ 14 h 18"/>
                  <a:gd name="T18" fmla="*/ 20 w 20"/>
                  <a:gd name="T19" fmla="*/ 10 h 18"/>
                  <a:gd name="T20" fmla="*/ 16 w 20"/>
                  <a:gd name="T21" fmla="*/ 4 h 18"/>
                  <a:gd name="T22" fmla="*/ 11 w 20"/>
                  <a:gd name="T23" fmla="*/ 0 h 18"/>
                  <a:gd name="T24" fmla="*/ 4 w 20"/>
                  <a:gd name="T25" fmla="*/ 3 h 18"/>
                  <a:gd name="T26" fmla="*/ 0 w 20"/>
                  <a:gd name="T27" fmla="*/ 9 h 18"/>
                  <a:gd name="T28" fmla="*/ 1 w 20"/>
                  <a:gd name="T29" fmla="*/ 14 h 18"/>
                  <a:gd name="T30" fmla="*/ 2 w 20"/>
                  <a:gd name="T31" fmla="*/ 18 h 18"/>
                  <a:gd name="T32" fmla="*/ 3 w 20"/>
                  <a:gd name="T3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0" h="18">
                    <a:moveTo>
                      <a:pt x="3" y="18"/>
                    </a:moveTo>
                    <a:cubicBezTo>
                      <a:pt x="3" y="18"/>
                      <a:pt x="3" y="13"/>
                      <a:pt x="3" y="12"/>
                    </a:cubicBezTo>
                    <a:cubicBezTo>
                      <a:pt x="3" y="11"/>
                      <a:pt x="3" y="9"/>
                      <a:pt x="4" y="8"/>
                    </a:cubicBezTo>
                    <a:cubicBezTo>
                      <a:pt x="5" y="7"/>
                      <a:pt x="7" y="6"/>
                      <a:pt x="11" y="6"/>
                    </a:cubicBezTo>
                    <a:cubicBezTo>
                      <a:pt x="11" y="6"/>
                      <a:pt x="15" y="6"/>
                      <a:pt x="16" y="8"/>
                    </a:cubicBezTo>
                    <a:cubicBezTo>
                      <a:pt x="16" y="8"/>
                      <a:pt x="17" y="12"/>
                      <a:pt x="17" y="13"/>
                    </a:cubicBezTo>
                    <a:cubicBezTo>
                      <a:pt x="17" y="13"/>
                      <a:pt x="18" y="17"/>
                      <a:pt x="17" y="18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18" y="17"/>
                      <a:pt x="19" y="14"/>
                      <a:pt x="19" y="14"/>
                    </a:cubicBezTo>
                    <a:cubicBezTo>
                      <a:pt x="20" y="13"/>
                      <a:pt x="20" y="11"/>
                      <a:pt x="20" y="10"/>
                    </a:cubicBezTo>
                    <a:cubicBezTo>
                      <a:pt x="20" y="9"/>
                      <a:pt x="19" y="4"/>
                      <a:pt x="16" y="4"/>
                    </a:cubicBezTo>
                    <a:cubicBezTo>
                      <a:pt x="16" y="4"/>
                      <a:pt x="15" y="1"/>
                      <a:pt x="11" y="0"/>
                    </a:cubicBezTo>
                    <a:cubicBezTo>
                      <a:pt x="8" y="0"/>
                      <a:pt x="5" y="2"/>
                      <a:pt x="4" y="3"/>
                    </a:cubicBezTo>
                    <a:cubicBezTo>
                      <a:pt x="2" y="4"/>
                      <a:pt x="1" y="8"/>
                      <a:pt x="0" y="9"/>
                    </a:cubicBezTo>
                    <a:cubicBezTo>
                      <a:pt x="0" y="10"/>
                      <a:pt x="1" y="13"/>
                      <a:pt x="1" y="14"/>
                    </a:cubicBezTo>
                    <a:cubicBezTo>
                      <a:pt x="1" y="14"/>
                      <a:pt x="2" y="14"/>
                      <a:pt x="2" y="18"/>
                    </a:cubicBezTo>
                    <a:lnTo>
                      <a:pt x="3" y="18"/>
                    </a:lnTo>
                    <a:close/>
                  </a:path>
                </a:pathLst>
              </a:custGeom>
              <a:solidFill>
                <a:srgbClr val="12121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7" name="组合 16"/>
            <p:cNvGrpSpPr/>
            <p:nvPr/>
          </p:nvGrpSpPr>
          <p:grpSpPr>
            <a:xfrm>
              <a:off x="5815024" y="1620624"/>
              <a:ext cx="720080" cy="1733640"/>
              <a:chOff x="-221170" y="555042"/>
              <a:chExt cx="2224088" cy="5354636"/>
            </a:xfrm>
          </p:grpSpPr>
          <p:sp>
            <p:nvSpPr>
              <p:cNvPr id="60" name="Freeform 214"/>
              <p:cNvSpPr/>
              <p:nvPr/>
            </p:nvSpPr>
            <p:spPr bwMode="auto">
              <a:xfrm>
                <a:off x="410655" y="1026529"/>
                <a:ext cx="360362" cy="528637"/>
              </a:xfrm>
              <a:custGeom>
                <a:avLst/>
                <a:gdLst>
                  <a:gd name="T0" fmla="*/ 0 w 12"/>
                  <a:gd name="T1" fmla="*/ 8 h 18"/>
                  <a:gd name="T2" fmla="*/ 0 w 12"/>
                  <a:gd name="T3" fmla="*/ 1 h 18"/>
                  <a:gd name="T4" fmla="*/ 8 w 12"/>
                  <a:gd name="T5" fmla="*/ 4 h 18"/>
                  <a:gd name="T6" fmla="*/ 11 w 12"/>
                  <a:gd name="T7" fmla="*/ 12 h 18"/>
                  <a:gd name="T8" fmla="*/ 6 w 12"/>
                  <a:gd name="T9" fmla="*/ 18 h 18"/>
                  <a:gd name="T10" fmla="*/ 0 w 12"/>
                  <a:gd name="T11" fmla="*/ 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8">
                    <a:moveTo>
                      <a:pt x="0" y="8"/>
                    </a:moveTo>
                    <a:cubicBezTo>
                      <a:pt x="0" y="8"/>
                      <a:pt x="0" y="2"/>
                      <a:pt x="0" y="1"/>
                    </a:cubicBezTo>
                    <a:cubicBezTo>
                      <a:pt x="0" y="0"/>
                      <a:pt x="8" y="4"/>
                      <a:pt x="8" y="4"/>
                    </a:cubicBezTo>
                    <a:cubicBezTo>
                      <a:pt x="8" y="4"/>
                      <a:pt x="11" y="10"/>
                      <a:pt x="11" y="12"/>
                    </a:cubicBezTo>
                    <a:cubicBezTo>
                      <a:pt x="12" y="15"/>
                      <a:pt x="6" y="18"/>
                      <a:pt x="6" y="18"/>
                    </a:cubicBez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D69B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1" name="Freeform 215"/>
              <p:cNvSpPr/>
              <p:nvPr/>
            </p:nvSpPr>
            <p:spPr bwMode="auto">
              <a:xfrm>
                <a:off x="140780" y="5438191"/>
                <a:ext cx="539750" cy="471487"/>
              </a:xfrm>
              <a:custGeom>
                <a:avLst/>
                <a:gdLst>
                  <a:gd name="T0" fmla="*/ 3 w 18"/>
                  <a:gd name="T1" fmla="*/ 1 h 16"/>
                  <a:gd name="T2" fmla="*/ 2 w 18"/>
                  <a:gd name="T3" fmla="*/ 9 h 16"/>
                  <a:gd name="T4" fmla="*/ 1 w 18"/>
                  <a:gd name="T5" fmla="*/ 11 h 16"/>
                  <a:gd name="T6" fmla="*/ 4 w 18"/>
                  <a:gd name="T7" fmla="*/ 11 h 16"/>
                  <a:gd name="T8" fmla="*/ 12 w 18"/>
                  <a:gd name="T9" fmla="*/ 16 h 16"/>
                  <a:gd name="T10" fmla="*/ 18 w 18"/>
                  <a:gd name="T11" fmla="*/ 14 h 16"/>
                  <a:gd name="T12" fmla="*/ 15 w 18"/>
                  <a:gd name="T13" fmla="*/ 8 h 16"/>
                  <a:gd name="T14" fmla="*/ 11 w 18"/>
                  <a:gd name="T15" fmla="*/ 1 h 16"/>
                  <a:gd name="T16" fmla="*/ 3 w 18"/>
                  <a:gd name="T17" fmla="*/ 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6">
                    <a:moveTo>
                      <a:pt x="3" y="1"/>
                    </a:moveTo>
                    <a:cubicBezTo>
                      <a:pt x="3" y="1"/>
                      <a:pt x="0" y="7"/>
                      <a:pt x="2" y="9"/>
                    </a:cubicBezTo>
                    <a:cubicBezTo>
                      <a:pt x="1" y="11"/>
                      <a:pt x="1" y="11"/>
                      <a:pt x="1" y="11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4" y="11"/>
                      <a:pt x="5" y="16"/>
                      <a:pt x="12" y="16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8" y="14"/>
                      <a:pt x="16" y="9"/>
                      <a:pt x="15" y="8"/>
                    </a:cubicBezTo>
                    <a:cubicBezTo>
                      <a:pt x="15" y="8"/>
                      <a:pt x="12" y="3"/>
                      <a:pt x="11" y="1"/>
                    </a:cubicBezTo>
                    <a:cubicBezTo>
                      <a:pt x="11" y="0"/>
                      <a:pt x="3" y="1"/>
                      <a:pt x="3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2" name="Freeform 216"/>
              <p:cNvSpPr/>
              <p:nvPr/>
            </p:nvSpPr>
            <p:spPr bwMode="auto">
              <a:xfrm>
                <a:off x="1552068" y="1937754"/>
                <a:ext cx="450850" cy="295275"/>
              </a:xfrm>
              <a:custGeom>
                <a:avLst/>
                <a:gdLst>
                  <a:gd name="T0" fmla="*/ 3 w 15"/>
                  <a:gd name="T1" fmla="*/ 9 h 10"/>
                  <a:gd name="T2" fmla="*/ 8 w 15"/>
                  <a:gd name="T3" fmla="*/ 9 h 10"/>
                  <a:gd name="T4" fmla="*/ 15 w 15"/>
                  <a:gd name="T5" fmla="*/ 5 h 10"/>
                  <a:gd name="T6" fmla="*/ 15 w 15"/>
                  <a:gd name="T7" fmla="*/ 3 h 10"/>
                  <a:gd name="T8" fmla="*/ 11 w 15"/>
                  <a:gd name="T9" fmla="*/ 3 h 10"/>
                  <a:gd name="T10" fmla="*/ 6 w 15"/>
                  <a:gd name="T11" fmla="*/ 4 h 10"/>
                  <a:gd name="T12" fmla="*/ 4 w 15"/>
                  <a:gd name="T13" fmla="*/ 3 h 10"/>
                  <a:gd name="T14" fmla="*/ 5 w 15"/>
                  <a:gd name="T15" fmla="*/ 0 h 10"/>
                  <a:gd name="T16" fmla="*/ 3 w 15"/>
                  <a:gd name="T17" fmla="*/ 4 h 10"/>
                  <a:gd name="T18" fmla="*/ 0 w 15"/>
                  <a:gd name="T19" fmla="*/ 6 h 10"/>
                  <a:gd name="T20" fmla="*/ 3 w 15"/>
                  <a:gd name="T21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" h="10">
                    <a:moveTo>
                      <a:pt x="3" y="9"/>
                    </a:moveTo>
                    <a:cubicBezTo>
                      <a:pt x="3" y="9"/>
                      <a:pt x="7" y="10"/>
                      <a:pt x="8" y="9"/>
                    </a:cubicBezTo>
                    <a:cubicBezTo>
                      <a:pt x="9" y="9"/>
                      <a:pt x="15" y="5"/>
                      <a:pt x="15" y="5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5" y="3"/>
                      <a:pt x="12" y="2"/>
                      <a:pt x="11" y="3"/>
                    </a:cubicBezTo>
                    <a:cubicBezTo>
                      <a:pt x="11" y="3"/>
                      <a:pt x="6" y="4"/>
                      <a:pt x="6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6" y="1"/>
                      <a:pt x="5" y="0"/>
                    </a:cubicBezTo>
                    <a:cubicBezTo>
                      <a:pt x="4" y="0"/>
                      <a:pt x="3" y="4"/>
                      <a:pt x="3" y="4"/>
                    </a:cubicBezTo>
                    <a:cubicBezTo>
                      <a:pt x="0" y="6"/>
                      <a:pt x="0" y="6"/>
                      <a:pt x="0" y="6"/>
                    </a:cubicBezTo>
                    <a:lnTo>
                      <a:pt x="3" y="9"/>
                    </a:lnTo>
                    <a:close/>
                  </a:path>
                </a:pathLst>
              </a:custGeom>
              <a:solidFill>
                <a:srgbClr val="F2C2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3" name="Freeform 217"/>
              <p:cNvSpPr/>
              <p:nvPr/>
            </p:nvSpPr>
            <p:spPr bwMode="auto">
              <a:xfrm>
                <a:off x="440818" y="5320716"/>
                <a:ext cx="660400" cy="352425"/>
              </a:xfrm>
              <a:custGeom>
                <a:avLst/>
                <a:gdLst>
                  <a:gd name="T0" fmla="*/ 1 w 22"/>
                  <a:gd name="T1" fmla="*/ 10 h 12"/>
                  <a:gd name="T2" fmla="*/ 10 w 22"/>
                  <a:gd name="T3" fmla="*/ 12 h 12"/>
                  <a:gd name="T4" fmla="*/ 20 w 22"/>
                  <a:gd name="T5" fmla="*/ 12 h 12"/>
                  <a:gd name="T6" fmla="*/ 18 w 22"/>
                  <a:gd name="T7" fmla="*/ 10 h 12"/>
                  <a:gd name="T8" fmla="*/ 11 w 22"/>
                  <a:gd name="T9" fmla="*/ 7 h 12"/>
                  <a:gd name="T10" fmla="*/ 5 w 22"/>
                  <a:gd name="T11" fmla="*/ 0 h 12"/>
                  <a:gd name="T12" fmla="*/ 0 w 22"/>
                  <a:gd name="T13" fmla="*/ 1 h 12"/>
                  <a:gd name="T14" fmla="*/ 1 w 22"/>
                  <a:gd name="T15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12">
                    <a:moveTo>
                      <a:pt x="1" y="10"/>
                    </a:moveTo>
                    <a:cubicBezTo>
                      <a:pt x="1" y="10"/>
                      <a:pt x="6" y="12"/>
                      <a:pt x="10" y="12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0" y="12"/>
                      <a:pt x="22" y="10"/>
                      <a:pt x="18" y="10"/>
                    </a:cubicBezTo>
                    <a:cubicBezTo>
                      <a:pt x="18" y="10"/>
                      <a:pt x="15" y="10"/>
                      <a:pt x="11" y="7"/>
                    </a:cubicBezTo>
                    <a:cubicBezTo>
                      <a:pt x="7" y="5"/>
                      <a:pt x="5" y="0"/>
                      <a:pt x="5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7"/>
                      <a:pt x="1" y="1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Freeform 218"/>
              <p:cNvSpPr/>
              <p:nvPr/>
            </p:nvSpPr>
            <p:spPr bwMode="auto">
              <a:xfrm>
                <a:off x="350330" y="2850566"/>
                <a:ext cx="631825" cy="2587625"/>
              </a:xfrm>
              <a:custGeom>
                <a:avLst/>
                <a:gdLst>
                  <a:gd name="T0" fmla="*/ 2 w 21"/>
                  <a:gd name="T1" fmla="*/ 88 h 88"/>
                  <a:gd name="T2" fmla="*/ 8 w 21"/>
                  <a:gd name="T3" fmla="*/ 86 h 88"/>
                  <a:gd name="T4" fmla="*/ 8 w 21"/>
                  <a:gd name="T5" fmla="*/ 83 h 88"/>
                  <a:gd name="T6" fmla="*/ 7 w 21"/>
                  <a:gd name="T7" fmla="*/ 80 h 88"/>
                  <a:gd name="T8" fmla="*/ 8 w 21"/>
                  <a:gd name="T9" fmla="*/ 77 h 88"/>
                  <a:gd name="T10" fmla="*/ 7 w 21"/>
                  <a:gd name="T11" fmla="*/ 75 h 88"/>
                  <a:gd name="T12" fmla="*/ 9 w 21"/>
                  <a:gd name="T13" fmla="*/ 73 h 88"/>
                  <a:gd name="T14" fmla="*/ 8 w 21"/>
                  <a:gd name="T15" fmla="*/ 69 h 88"/>
                  <a:gd name="T16" fmla="*/ 9 w 21"/>
                  <a:gd name="T17" fmla="*/ 61 h 88"/>
                  <a:gd name="T18" fmla="*/ 10 w 21"/>
                  <a:gd name="T19" fmla="*/ 56 h 88"/>
                  <a:gd name="T20" fmla="*/ 9 w 21"/>
                  <a:gd name="T21" fmla="*/ 56 h 88"/>
                  <a:gd name="T22" fmla="*/ 12 w 21"/>
                  <a:gd name="T23" fmla="*/ 53 h 88"/>
                  <a:gd name="T24" fmla="*/ 11 w 21"/>
                  <a:gd name="T25" fmla="*/ 50 h 88"/>
                  <a:gd name="T26" fmla="*/ 13 w 21"/>
                  <a:gd name="T27" fmla="*/ 46 h 88"/>
                  <a:gd name="T28" fmla="*/ 20 w 21"/>
                  <a:gd name="T29" fmla="*/ 14 h 88"/>
                  <a:gd name="T30" fmla="*/ 20 w 21"/>
                  <a:gd name="T31" fmla="*/ 0 h 88"/>
                  <a:gd name="T32" fmla="*/ 13 w 21"/>
                  <a:gd name="T33" fmla="*/ 2 h 88"/>
                  <a:gd name="T34" fmla="*/ 9 w 21"/>
                  <a:gd name="T35" fmla="*/ 6 h 88"/>
                  <a:gd name="T36" fmla="*/ 3 w 21"/>
                  <a:gd name="T37" fmla="*/ 26 h 88"/>
                  <a:gd name="T38" fmla="*/ 4 w 21"/>
                  <a:gd name="T39" fmla="*/ 44 h 88"/>
                  <a:gd name="T40" fmla="*/ 1 w 21"/>
                  <a:gd name="T41" fmla="*/ 59 h 88"/>
                  <a:gd name="T42" fmla="*/ 1 w 21"/>
                  <a:gd name="T43" fmla="*/ 81 h 88"/>
                  <a:gd name="T44" fmla="*/ 2 w 21"/>
                  <a:gd name="T45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1" h="88">
                    <a:moveTo>
                      <a:pt x="2" y="88"/>
                    </a:moveTo>
                    <a:cubicBezTo>
                      <a:pt x="8" y="86"/>
                      <a:pt x="8" y="86"/>
                      <a:pt x="8" y="86"/>
                    </a:cubicBezTo>
                    <a:cubicBezTo>
                      <a:pt x="8" y="86"/>
                      <a:pt x="9" y="83"/>
                      <a:pt x="8" y="83"/>
                    </a:cubicBezTo>
                    <a:cubicBezTo>
                      <a:pt x="8" y="82"/>
                      <a:pt x="7" y="80"/>
                      <a:pt x="7" y="80"/>
                    </a:cubicBezTo>
                    <a:cubicBezTo>
                      <a:pt x="7" y="80"/>
                      <a:pt x="8" y="79"/>
                      <a:pt x="8" y="77"/>
                    </a:cubicBezTo>
                    <a:cubicBezTo>
                      <a:pt x="7" y="76"/>
                      <a:pt x="7" y="75"/>
                      <a:pt x="7" y="75"/>
                    </a:cubicBezTo>
                    <a:cubicBezTo>
                      <a:pt x="9" y="73"/>
                      <a:pt x="9" y="73"/>
                      <a:pt x="9" y="73"/>
                    </a:cubicBezTo>
                    <a:cubicBezTo>
                      <a:pt x="9" y="73"/>
                      <a:pt x="7" y="70"/>
                      <a:pt x="8" y="69"/>
                    </a:cubicBezTo>
                    <a:cubicBezTo>
                      <a:pt x="8" y="68"/>
                      <a:pt x="9" y="61"/>
                      <a:pt x="9" y="61"/>
                    </a:cubicBezTo>
                    <a:cubicBezTo>
                      <a:pt x="9" y="61"/>
                      <a:pt x="10" y="57"/>
                      <a:pt x="10" y="56"/>
                    </a:cubicBezTo>
                    <a:cubicBezTo>
                      <a:pt x="9" y="56"/>
                      <a:pt x="9" y="56"/>
                      <a:pt x="9" y="56"/>
                    </a:cubicBezTo>
                    <a:cubicBezTo>
                      <a:pt x="12" y="53"/>
                      <a:pt x="12" y="53"/>
                      <a:pt x="12" y="53"/>
                    </a:cubicBezTo>
                    <a:cubicBezTo>
                      <a:pt x="11" y="50"/>
                      <a:pt x="11" y="50"/>
                      <a:pt x="11" y="50"/>
                    </a:cubicBezTo>
                    <a:cubicBezTo>
                      <a:pt x="13" y="46"/>
                      <a:pt x="13" y="46"/>
                      <a:pt x="13" y="46"/>
                    </a:cubicBezTo>
                    <a:cubicBezTo>
                      <a:pt x="13" y="46"/>
                      <a:pt x="21" y="16"/>
                      <a:pt x="20" y="14"/>
                    </a:cubicBezTo>
                    <a:cubicBezTo>
                      <a:pt x="19" y="13"/>
                      <a:pt x="20" y="0"/>
                      <a:pt x="20" y="0"/>
                    </a:cubicBezTo>
                    <a:cubicBezTo>
                      <a:pt x="13" y="2"/>
                      <a:pt x="13" y="2"/>
                      <a:pt x="13" y="2"/>
                    </a:cubicBezTo>
                    <a:cubicBezTo>
                      <a:pt x="13" y="2"/>
                      <a:pt x="10" y="5"/>
                      <a:pt x="9" y="6"/>
                    </a:cubicBezTo>
                    <a:cubicBezTo>
                      <a:pt x="9" y="7"/>
                      <a:pt x="3" y="26"/>
                      <a:pt x="3" y="26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1" y="59"/>
                      <a:pt x="1" y="59"/>
                      <a:pt x="1" y="59"/>
                    </a:cubicBezTo>
                    <a:cubicBezTo>
                      <a:pt x="1" y="59"/>
                      <a:pt x="1" y="80"/>
                      <a:pt x="1" y="81"/>
                    </a:cubicBezTo>
                    <a:cubicBezTo>
                      <a:pt x="0" y="81"/>
                      <a:pt x="2" y="88"/>
                      <a:pt x="2" y="88"/>
                    </a:cubicBezTo>
                    <a:close/>
                  </a:path>
                </a:pathLst>
              </a:custGeom>
              <a:solidFill>
                <a:srgbClr val="2624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5" name="Freeform 219"/>
              <p:cNvSpPr/>
              <p:nvPr/>
            </p:nvSpPr>
            <p:spPr bwMode="auto">
              <a:xfrm>
                <a:off x="350330" y="2850566"/>
                <a:ext cx="601662" cy="2587625"/>
              </a:xfrm>
              <a:custGeom>
                <a:avLst/>
                <a:gdLst>
                  <a:gd name="T0" fmla="*/ 20 w 20"/>
                  <a:gd name="T1" fmla="*/ 0 h 88"/>
                  <a:gd name="T2" fmla="*/ 13 w 20"/>
                  <a:gd name="T3" fmla="*/ 2 h 88"/>
                  <a:gd name="T4" fmla="*/ 9 w 20"/>
                  <a:gd name="T5" fmla="*/ 6 h 88"/>
                  <a:gd name="T6" fmla="*/ 3 w 20"/>
                  <a:gd name="T7" fmla="*/ 26 h 88"/>
                  <a:gd name="T8" fmla="*/ 4 w 20"/>
                  <a:gd name="T9" fmla="*/ 44 h 88"/>
                  <a:gd name="T10" fmla="*/ 1 w 20"/>
                  <a:gd name="T11" fmla="*/ 59 h 88"/>
                  <a:gd name="T12" fmla="*/ 1 w 20"/>
                  <a:gd name="T13" fmla="*/ 81 h 88"/>
                  <a:gd name="T14" fmla="*/ 2 w 20"/>
                  <a:gd name="T15" fmla="*/ 88 h 88"/>
                  <a:gd name="T16" fmla="*/ 8 w 20"/>
                  <a:gd name="T17" fmla="*/ 86 h 88"/>
                  <a:gd name="T18" fmla="*/ 9 w 20"/>
                  <a:gd name="T19" fmla="*/ 84 h 88"/>
                  <a:gd name="T20" fmla="*/ 6 w 20"/>
                  <a:gd name="T21" fmla="*/ 82 h 88"/>
                  <a:gd name="T22" fmla="*/ 7 w 20"/>
                  <a:gd name="T23" fmla="*/ 80 h 88"/>
                  <a:gd name="T24" fmla="*/ 7 w 20"/>
                  <a:gd name="T25" fmla="*/ 80 h 88"/>
                  <a:gd name="T26" fmla="*/ 8 w 20"/>
                  <a:gd name="T27" fmla="*/ 78 h 88"/>
                  <a:gd name="T28" fmla="*/ 5 w 20"/>
                  <a:gd name="T29" fmla="*/ 74 h 88"/>
                  <a:gd name="T30" fmla="*/ 7 w 20"/>
                  <a:gd name="T31" fmla="*/ 75 h 88"/>
                  <a:gd name="T32" fmla="*/ 9 w 20"/>
                  <a:gd name="T33" fmla="*/ 73 h 88"/>
                  <a:gd name="T34" fmla="*/ 9 w 20"/>
                  <a:gd name="T35" fmla="*/ 73 h 88"/>
                  <a:gd name="T36" fmla="*/ 5 w 20"/>
                  <a:gd name="T37" fmla="*/ 71 h 88"/>
                  <a:gd name="T38" fmla="*/ 4 w 20"/>
                  <a:gd name="T39" fmla="*/ 66 h 88"/>
                  <a:gd name="T40" fmla="*/ 8 w 20"/>
                  <a:gd name="T41" fmla="*/ 70 h 88"/>
                  <a:gd name="T42" fmla="*/ 6 w 20"/>
                  <a:gd name="T43" fmla="*/ 62 h 88"/>
                  <a:gd name="T44" fmla="*/ 8 w 20"/>
                  <a:gd name="T45" fmla="*/ 66 h 88"/>
                  <a:gd name="T46" fmla="*/ 9 w 20"/>
                  <a:gd name="T47" fmla="*/ 62 h 88"/>
                  <a:gd name="T48" fmla="*/ 6 w 20"/>
                  <a:gd name="T49" fmla="*/ 56 h 88"/>
                  <a:gd name="T50" fmla="*/ 7 w 20"/>
                  <a:gd name="T51" fmla="*/ 51 h 88"/>
                  <a:gd name="T52" fmla="*/ 10 w 20"/>
                  <a:gd name="T53" fmla="*/ 55 h 88"/>
                  <a:gd name="T54" fmla="*/ 12 w 20"/>
                  <a:gd name="T55" fmla="*/ 53 h 88"/>
                  <a:gd name="T56" fmla="*/ 7 w 20"/>
                  <a:gd name="T57" fmla="*/ 48 h 88"/>
                  <a:gd name="T58" fmla="*/ 9 w 20"/>
                  <a:gd name="T59" fmla="*/ 45 h 88"/>
                  <a:gd name="T60" fmla="*/ 13 w 20"/>
                  <a:gd name="T61" fmla="*/ 47 h 88"/>
                  <a:gd name="T62" fmla="*/ 13 w 20"/>
                  <a:gd name="T63" fmla="*/ 46 h 88"/>
                  <a:gd name="T64" fmla="*/ 9 w 20"/>
                  <a:gd name="T65" fmla="*/ 41 h 88"/>
                  <a:gd name="T66" fmla="*/ 13 w 20"/>
                  <a:gd name="T67" fmla="*/ 27 h 88"/>
                  <a:gd name="T68" fmla="*/ 20 w 20"/>
                  <a:gd name="T69" fmla="*/ 14 h 88"/>
                  <a:gd name="T70" fmla="*/ 20 w 20"/>
                  <a:gd name="T71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" h="88">
                    <a:moveTo>
                      <a:pt x="20" y="0"/>
                    </a:moveTo>
                    <a:cubicBezTo>
                      <a:pt x="13" y="2"/>
                      <a:pt x="13" y="2"/>
                      <a:pt x="13" y="2"/>
                    </a:cubicBezTo>
                    <a:cubicBezTo>
                      <a:pt x="13" y="2"/>
                      <a:pt x="10" y="5"/>
                      <a:pt x="9" y="6"/>
                    </a:cubicBezTo>
                    <a:cubicBezTo>
                      <a:pt x="9" y="7"/>
                      <a:pt x="3" y="26"/>
                      <a:pt x="3" y="26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1" y="59"/>
                      <a:pt x="1" y="59"/>
                      <a:pt x="1" y="59"/>
                    </a:cubicBezTo>
                    <a:cubicBezTo>
                      <a:pt x="1" y="59"/>
                      <a:pt x="1" y="80"/>
                      <a:pt x="1" y="81"/>
                    </a:cubicBezTo>
                    <a:cubicBezTo>
                      <a:pt x="0" y="81"/>
                      <a:pt x="2" y="88"/>
                      <a:pt x="2" y="88"/>
                    </a:cubicBezTo>
                    <a:cubicBezTo>
                      <a:pt x="8" y="86"/>
                      <a:pt x="8" y="86"/>
                      <a:pt x="8" y="86"/>
                    </a:cubicBezTo>
                    <a:cubicBezTo>
                      <a:pt x="8" y="86"/>
                      <a:pt x="9" y="85"/>
                      <a:pt x="9" y="84"/>
                    </a:cubicBezTo>
                    <a:cubicBezTo>
                      <a:pt x="7" y="83"/>
                      <a:pt x="5" y="82"/>
                      <a:pt x="6" y="82"/>
                    </a:cubicBezTo>
                    <a:cubicBezTo>
                      <a:pt x="6" y="81"/>
                      <a:pt x="7" y="81"/>
                      <a:pt x="7" y="80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7" y="80"/>
                      <a:pt x="8" y="79"/>
                      <a:pt x="8" y="78"/>
                    </a:cubicBezTo>
                    <a:cubicBezTo>
                      <a:pt x="3" y="80"/>
                      <a:pt x="5" y="74"/>
                      <a:pt x="5" y="74"/>
                    </a:cubicBezTo>
                    <a:cubicBezTo>
                      <a:pt x="5" y="75"/>
                      <a:pt x="6" y="75"/>
                      <a:pt x="7" y="75"/>
                    </a:cubicBezTo>
                    <a:cubicBezTo>
                      <a:pt x="9" y="73"/>
                      <a:pt x="9" y="73"/>
                      <a:pt x="9" y="73"/>
                    </a:cubicBezTo>
                    <a:cubicBezTo>
                      <a:pt x="9" y="73"/>
                      <a:pt x="9" y="73"/>
                      <a:pt x="9" y="73"/>
                    </a:cubicBezTo>
                    <a:cubicBezTo>
                      <a:pt x="7" y="72"/>
                      <a:pt x="6" y="72"/>
                      <a:pt x="5" y="71"/>
                    </a:cubicBezTo>
                    <a:cubicBezTo>
                      <a:pt x="4" y="70"/>
                      <a:pt x="4" y="66"/>
                      <a:pt x="4" y="66"/>
                    </a:cubicBezTo>
                    <a:cubicBezTo>
                      <a:pt x="5" y="68"/>
                      <a:pt x="8" y="70"/>
                      <a:pt x="8" y="70"/>
                    </a:cubicBezTo>
                    <a:cubicBezTo>
                      <a:pt x="6" y="62"/>
                      <a:pt x="6" y="62"/>
                      <a:pt x="6" y="62"/>
                    </a:cubicBezTo>
                    <a:cubicBezTo>
                      <a:pt x="8" y="66"/>
                      <a:pt x="8" y="66"/>
                      <a:pt x="8" y="66"/>
                    </a:cubicBezTo>
                    <a:cubicBezTo>
                      <a:pt x="8" y="64"/>
                      <a:pt x="9" y="62"/>
                      <a:pt x="9" y="62"/>
                    </a:cubicBezTo>
                    <a:cubicBezTo>
                      <a:pt x="8" y="59"/>
                      <a:pt x="6" y="57"/>
                      <a:pt x="6" y="56"/>
                    </a:cubicBezTo>
                    <a:cubicBezTo>
                      <a:pt x="6" y="54"/>
                      <a:pt x="7" y="51"/>
                      <a:pt x="7" y="51"/>
                    </a:cubicBezTo>
                    <a:cubicBezTo>
                      <a:pt x="8" y="53"/>
                      <a:pt x="9" y="54"/>
                      <a:pt x="10" y="55"/>
                    </a:cubicBezTo>
                    <a:cubicBezTo>
                      <a:pt x="12" y="53"/>
                      <a:pt x="12" y="53"/>
                      <a:pt x="12" y="53"/>
                    </a:cubicBezTo>
                    <a:cubicBezTo>
                      <a:pt x="7" y="48"/>
                      <a:pt x="7" y="48"/>
                      <a:pt x="7" y="48"/>
                    </a:cubicBezTo>
                    <a:cubicBezTo>
                      <a:pt x="9" y="45"/>
                      <a:pt x="9" y="45"/>
                      <a:pt x="9" y="45"/>
                    </a:cubicBezTo>
                    <a:cubicBezTo>
                      <a:pt x="9" y="45"/>
                      <a:pt x="12" y="46"/>
                      <a:pt x="13" y="47"/>
                    </a:cubicBezTo>
                    <a:cubicBezTo>
                      <a:pt x="13" y="46"/>
                      <a:pt x="13" y="46"/>
                      <a:pt x="13" y="46"/>
                    </a:cubicBezTo>
                    <a:cubicBezTo>
                      <a:pt x="9" y="41"/>
                      <a:pt x="9" y="41"/>
                      <a:pt x="9" y="41"/>
                    </a:cubicBezTo>
                    <a:cubicBezTo>
                      <a:pt x="8" y="38"/>
                      <a:pt x="12" y="29"/>
                      <a:pt x="13" y="27"/>
                    </a:cubicBezTo>
                    <a:cubicBezTo>
                      <a:pt x="14" y="26"/>
                      <a:pt x="17" y="20"/>
                      <a:pt x="20" y="14"/>
                    </a:cubicBezTo>
                    <a:cubicBezTo>
                      <a:pt x="19" y="12"/>
                      <a:pt x="20" y="0"/>
                      <a:pt x="2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220"/>
              <p:cNvSpPr/>
              <p:nvPr/>
            </p:nvSpPr>
            <p:spPr bwMode="auto">
              <a:xfrm>
                <a:off x="20130" y="2791829"/>
                <a:ext cx="841375" cy="2763837"/>
              </a:xfrm>
              <a:custGeom>
                <a:avLst/>
                <a:gdLst>
                  <a:gd name="T0" fmla="*/ 4 w 28"/>
                  <a:gd name="T1" fmla="*/ 80 h 94"/>
                  <a:gd name="T2" fmla="*/ 6 w 28"/>
                  <a:gd name="T3" fmla="*/ 94 h 94"/>
                  <a:gd name="T4" fmla="*/ 12 w 28"/>
                  <a:gd name="T5" fmla="*/ 94 h 94"/>
                  <a:gd name="T6" fmla="*/ 15 w 28"/>
                  <a:gd name="T7" fmla="*/ 91 h 94"/>
                  <a:gd name="T8" fmla="*/ 15 w 28"/>
                  <a:gd name="T9" fmla="*/ 84 h 94"/>
                  <a:gd name="T10" fmla="*/ 14 w 28"/>
                  <a:gd name="T11" fmla="*/ 79 h 94"/>
                  <a:gd name="T12" fmla="*/ 14 w 28"/>
                  <a:gd name="T13" fmla="*/ 70 h 94"/>
                  <a:gd name="T14" fmla="*/ 15 w 28"/>
                  <a:gd name="T15" fmla="*/ 54 h 94"/>
                  <a:gd name="T16" fmla="*/ 17 w 28"/>
                  <a:gd name="T17" fmla="*/ 46 h 94"/>
                  <a:gd name="T18" fmla="*/ 17 w 28"/>
                  <a:gd name="T19" fmla="*/ 36 h 94"/>
                  <a:gd name="T20" fmla="*/ 21 w 28"/>
                  <a:gd name="T21" fmla="*/ 27 h 94"/>
                  <a:gd name="T22" fmla="*/ 26 w 28"/>
                  <a:gd name="T23" fmla="*/ 10 h 94"/>
                  <a:gd name="T24" fmla="*/ 28 w 28"/>
                  <a:gd name="T25" fmla="*/ 3 h 94"/>
                  <a:gd name="T26" fmla="*/ 17 w 28"/>
                  <a:gd name="T27" fmla="*/ 1 h 94"/>
                  <a:gd name="T28" fmla="*/ 5 w 28"/>
                  <a:gd name="T29" fmla="*/ 1 h 94"/>
                  <a:gd name="T30" fmla="*/ 2 w 28"/>
                  <a:gd name="T31" fmla="*/ 15 h 94"/>
                  <a:gd name="T32" fmla="*/ 3 w 28"/>
                  <a:gd name="T33" fmla="*/ 26 h 94"/>
                  <a:gd name="T34" fmla="*/ 3 w 28"/>
                  <a:gd name="T35" fmla="*/ 32 h 94"/>
                  <a:gd name="T36" fmla="*/ 4 w 28"/>
                  <a:gd name="T37" fmla="*/ 42 h 94"/>
                  <a:gd name="T38" fmla="*/ 2 w 28"/>
                  <a:gd name="T39" fmla="*/ 48 h 94"/>
                  <a:gd name="T40" fmla="*/ 1 w 28"/>
                  <a:gd name="T41" fmla="*/ 68 h 94"/>
                  <a:gd name="T42" fmla="*/ 4 w 28"/>
                  <a:gd name="T43" fmla="*/ 8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8" h="94">
                    <a:moveTo>
                      <a:pt x="4" y="80"/>
                    </a:moveTo>
                    <a:cubicBezTo>
                      <a:pt x="4" y="80"/>
                      <a:pt x="2" y="91"/>
                      <a:pt x="6" y="94"/>
                    </a:cubicBezTo>
                    <a:cubicBezTo>
                      <a:pt x="12" y="94"/>
                      <a:pt x="12" y="94"/>
                      <a:pt x="12" y="94"/>
                    </a:cubicBezTo>
                    <a:cubicBezTo>
                      <a:pt x="15" y="91"/>
                      <a:pt x="15" y="91"/>
                      <a:pt x="15" y="91"/>
                    </a:cubicBezTo>
                    <a:cubicBezTo>
                      <a:pt x="15" y="91"/>
                      <a:pt x="17" y="86"/>
                      <a:pt x="15" y="84"/>
                    </a:cubicBezTo>
                    <a:cubicBezTo>
                      <a:pt x="14" y="82"/>
                      <a:pt x="14" y="79"/>
                      <a:pt x="14" y="79"/>
                    </a:cubicBezTo>
                    <a:cubicBezTo>
                      <a:pt x="14" y="70"/>
                      <a:pt x="14" y="70"/>
                      <a:pt x="14" y="70"/>
                    </a:cubicBezTo>
                    <a:cubicBezTo>
                      <a:pt x="14" y="70"/>
                      <a:pt x="14" y="60"/>
                      <a:pt x="15" y="54"/>
                    </a:cubicBezTo>
                    <a:cubicBezTo>
                      <a:pt x="17" y="49"/>
                      <a:pt x="17" y="46"/>
                      <a:pt x="17" y="46"/>
                    </a:cubicBezTo>
                    <a:cubicBezTo>
                      <a:pt x="17" y="46"/>
                      <a:pt x="17" y="37"/>
                      <a:pt x="17" y="36"/>
                    </a:cubicBezTo>
                    <a:cubicBezTo>
                      <a:pt x="18" y="35"/>
                      <a:pt x="21" y="28"/>
                      <a:pt x="21" y="27"/>
                    </a:cubicBezTo>
                    <a:cubicBezTo>
                      <a:pt x="21" y="26"/>
                      <a:pt x="26" y="11"/>
                      <a:pt x="26" y="10"/>
                    </a:cubicBezTo>
                    <a:cubicBezTo>
                      <a:pt x="27" y="9"/>
                      <a:pt x="28" y="3"/>
                      <a:pt x="28" y="3"/>
                    </a:cubicBezTo>
                    <a:cubicBezTo>
                      <a:pt x="28" y="3"/>
                      <a:pt x="17" y="1"/>
                      <a:pt x="17" y="1"/>
                    </a:cubicBezTo>
                    <a:cubicBezTo>
                      <a:pt x="16" y="0"/>
                      <a:pt x="5" y="1"/>
                      <a:pt x="5" y="1"/>
                    </a:cubicBezTo>
                    <a:cubicBezTo>
                      <a:pt x="5" y="1"/>
                      <a:pt x="1" y="13"/>
                      <a:pt x="2" y="15"/>
                    </a:cubicBezTo>
                    <a:cubicBezTo>
                      <a:pt x="2" y="18"/>
                      <a:pt x="3" y="25"/>
                      <a:pt x="3" y="26"/>
                    </a:cubicBezTo>
                    <a:cubicBezTo>
                      <a:pt x="2" y="28"/>
                      <a:pt x="3" y="32"/>
                      <a:pt x="3" y="32"/>
                    </a:cubicBezTo>
                    <a:cubicBezTo>
                      <a:pt x="3" y="32"/>
                      <a:pt x="4" y="40"/>
                      <a:pt x="4" y="42"/>
                    </a:cubicBezTo>
                    <a:cubicBezTo>
                      <a:pt x="4" y="43"/>
                      <a:pt x="0" y="46"/>
                      <a:pt x="2" y="48"/>
                    </a:cubicBezTo>
                    <a:cubicBezTo>
                      <a:pt x="3" y="50"/>
                      <a:pt x="1" y="66"/>
                      <a:pt x="1" y="68"/>
                    </a:cubicBezTo>
                    <a:cubicBezTo>
                      <a:pt x="2" y="70"/>
                      <a:pt x="4" y="80"/>
                      <a:pt x="4" y="80"/>
                    </a:cubicBezTo>
                    <a:close/>
                  </a:path>
                </a:pathLst>
              </a:custGeom>
              <a:solidFill>
                <a:srgbClr val="2624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221"/>
              <p:cNvSpPr/>
              <p:nvPr/>
            </p:nvSpPr>
            <p:spPr bwMode="auto">
              <a:xfrm>
                <a:off x="50293" y="4026904"/>
                <a:ext cx="450850" cy="1528762"/>
              </a:xfrm>
              <a:custGeom>
                <a:avLst/>
                <a:gdLst>
                  <a:gd name="T0" fmla="*/ 15 w 15"/>
                  <a:gd name="T1" fmla="*/ 5 h 52"/>
                  <a:gd name="T2" fmla="*/ 3 w 15"/>
                  <a:gd name="T3" fmla="*/ 0 h 52"/>
                  <a:gd name="T4" fmla="*/ 1 w 15"/>
                  <a:gd name="T5" fmla="*/ 6 h 52"/>
                  <a:gd name="T6" fmla="*/ 0 w 15"/>
                  <a:gd name="T7" fmla="*/ 25 h 52"/>
                  <a:gd name="T8" fmla="*/ 0 w 15"/>
                  <a:gd name="T9" fmla="*/ 25 h 52"/>
                  <a:gd name="T10" fmla="*/ 0 w 15"/>
                  <a:gd name="T11" fmla="*/ 25 h 52"/>
                  <a:gd name="T12" fmla="*/ 0 w 15"/>
                  <a:gd name="T13" fmla="*/ 26 h 52"/>
                  <a:gd name="T14" fmla="*/ 0 w 15"/>
                  <a:gd name="T15" fmla="*/ 26 h 52"/>
                  <a:gd name="T16" fmla="*/ 0 w 15"/>
                  <a:gd name="T17" fmla="*/ 26 h 52"/>
                  <a:gd name="T18" fmla="*/ 0 w 15"/>
                  <a:gd name="T19" fmla="*/ 26 h 52"/>
                  <a:gd name="T20" fmla="*/ 3 w 15"/>
                  <a:gd name="T21" fmla="*/ 38 h 52"/>
                  <a:gd name="T22" fmla="*/ 5 w 15"/>
                  <a:gd name="T23" fmla="*/ 51 h 52"/>
                  <a:gd name="T24" fmla="*/ 5 w 15"/>
                  <a:gd name="T25" fmla="*/ 51 h 52"/>
                  <a:gd name="T26" fmla="*/ 5 w 15"/>
                  <a:gd name="T27" fmla="*/ 52 h 52"/>
                  <a:gd name="T28" fmla="*/ 11 w 15"/>
                  <a:gd name="T29" fmla="*/ 52 h 52"/>
                  <a:gd name="T30" fmla="*/ 14 w 15"/>
                  <a:gd name="T31" fmla="*/ 49 h 52"/>
                  <a:gd name="T32" fmla="*/ 12 w 15"/>
                  <a:gd name="T33" fmla="*/ 46 h 52"/>
                  <a:gd name="T34" fmla="*/ 6 w 15"/>
                  <a:gd name="T35" fmla="*/ 46 h 52"/>
                  <a:gd name="T36" fmla="*/ 14 w 15"/>
                  <a:gd name="T37" fmla="*/ 42 h 52"/>
                  <a:gd name="T38" fmla="*/ 4 w 15"/>
                  <a:gd name="T39" fmla="*/ 44 h 52"/>
                  <a:gd name="T40" fmla="*/ 4 w 15"/>
                  <a:gd name="T41" fmla="*/ 38 h 52"/>
                  <a:gd name="T42" fmla="*/ 8 w 15"/>
                  <a:gd name="T43" fmla="*/ 40 h 52"/>
                  <a:gd name="T44" fmla="*/ 4 w 15"/>
                  <a:gd name="T45" fmla="*/ 34 h 52"/>
                  <a:gd name="T46" fmla="*/ 8 w 15"/>
                  <a:gd name="T47" fmla="*/ 35 h 52"/>
                  <a:gd name="T48" fmla="*/ 4 w 15"/>
                  <a:gd name="T49" fmla="*/ 31 h 52"/>
                  <a:gd name="T50" fmla="*/ 8 w 15"/>
                  <a:gd name="T51" fmla="*/ 27 h 52"/>
                  <a:gd name="T52" fmla="*/ 7 w 15"/>
                  <a:gd name="T53" fmla="*/ 22 h 52"/>
                  <a:gd name="T54" fmla="*/ 3 w 15"/>
                  <a:gd name="T55" fmla="*/ 21 h 52"/>
                  <a:gd name="T56" fmla="*/ 3 w 15"/>
                  <a:gd name="T57" fmla="*/ 21 h 52"/>
                  <a:gd name="T58" fmla="*/ 8 w 15"/>
                  <a:gd name="T59" fmla="*/ 14 h 52"/>
                  <a:gd name="T60" fmla="*/ 3 w 15"/>
                  <a:gd name="T61" fmla="*/ 14 h 52"/>
                  <a:gd name="T62" fmla="*/ 9 w 15"/>
                  <a:gd name="T63" fmla="*/ 10 h 52"/>
                  <a:gd name="T64" fmla="*/ 8 w 15"/>
                  <a:gd name="T65" fmla="*/ 9 h 52"/>
                  <a:gd name="T66" fmla="*/ 3 w 15"/>
                  <a:gd name="T67" fmla="*/ 8 h 52"/>
                  <a:gd name="T68" fmla="*/ 6 w 15"/>
                  <a:gd name="T69" fmla="*/ 7 h 52"/>
                  <a:gd name="T70" fmla="*/ 3 w 15"/>
                  <a:gd name="T71" fmla="*/ 5 h 52"/>
                  <a:gd name="T72" fmla="*/ 15 w 15"/>
                  <a:gd name="T73" fmla="*/ 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" h="52">
                    <a:moveTo>
                      <a:pt x="15" y="5"/>
                    </a:moveTo>
                    <a:cubicBezTo>
                      <a:pt x="13" y="4"/>
                      <a:pt x="7" y="1"/>
                      <a:pt x="3" y="0"/>
                    </a:cubicBezTo>
                    <a:cubicBezTo>
                      <a:pt x="3" y="1"/>
                      <a:pt x="0" y="4"/>
                      <a:pt x="1" y="6"/>
                    </a:cubicBezTo>
                    <a:cubicBezTo>
                      <a:pt x="2" y="8"/>
                      <a:pt x="0" y="22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1" y="28"/>
                      <a:pt x="3" y="38"/>
                      <a:pt x="3" y="38"/>
                    </a:cubicBezTo>
                    <a:cubicBezTo>
                      <a:pt x="3" y="38"/>
                      <a:pt x="1" y="49"/>
                      <a:pt x="5" y="51"/>
                    </a:cubicBezTo>
                    <a:cubicBezTo>
                      <a:pt x="5" y="51"/>
                      <a:pt x="5" y="51"/>
                      <a:pt x="5" y="51"/>
                    </a:cubicBezTo>
                    <a:cubicBezTo>
                      <a:pt x="5" y="51"/>
                      <a:pt x="5" y="52"/>
                      <a:pt x="5" y="52"/>
                    </a:cubicBezTo>
                    <a:cubicBezTo>
                      <a:pt x="11" y="52"/>
                      <a:pt x="11" y="52"/>
                      <a:pt x="11" y="52"/>
                    </a:cubicBezTo>
                    <a:cubicBezTo>
                      <a:pt x="14" y="49"/>
                      <a:pt x="14" y="49"/>
                      <a:pt x="14" y="49"/>
                    </a:cubicBezTo>
                    <a:cubicBezTo>
                      <a:pt x="13" y="48"/>
                      <a:pt x="12" y="46"/>
                      <a:pt x="12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3"/>
                      <a:pt x="14" y="42"/>
                      <a:pt x="14" y="42"/>
                    </a:cubicBezTo>
                    <a:cubicBezTo>
                      <a:pt x="13" y="41"/>
                      <a:pt x="7" y="43"/>
                      <a:pt x="4" y="44"/>
                    </a:cubicBezTo>
                    <a:cubicBezTo>
                      <a:pt x="3" y="42"/>
                      <a:pt x="4" y="39"/>
                      <a:pt x="4" y="38"/>
                    </a:cubicBezTo>
                    <a:cubicBezTo>
                      <a:pt x="6" y="38"/>
                      <a:pt x="8" y="40"/>
                      <a:pt x="8" y="40"/>
                    </a:cubicBezTo>
                    <a:cubicBezTo>
                      <a:pt x="4" y="34"/>
                      <a:pt x="4" y="34"/>
                      <a:pt x="4" y="34"/>
                    </a:cubicBezTo>
                    <a:cubicBezTo>
                      <a:pt x="4" y="33"/>
                      <a:pt x="8" y="35"/>
                      <a:pt x="8" y="35"/>
                    </a:cubicBezTo>
                    <a:cubicBezTo>
                      <a:pt x="4" y="31"/>
                      <a:pt x="4" y="31"/>
                      <a:pt x="4" y="31"/>
                    </a:cubicBezTo>
                    <a:cubicBezTo>
                      <a:pt x="4" y="31"/>
                      <a:pt x="7" y="30"/>
                      <a:pt x="8" y="27"/>
                    </a:cubicBezTo>
                    <a:cubicBezTo>
                      <a:pt x="10" y="24"/>
                      <a:pt x="7" y="22"/>
                      <a:pt x="7" y="22"/>
                    </a:cubicBezTo>
                    <a:cubicBezTo>
                      <a:pt x="7" y="22"/>
                      <a:pt x="2" y="25"/>
                      <a:pt x="3" y="21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5" y="17"/>
                      <a:pt x="8" y="14"/>
                      <a:pt x="8" y="14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4" y="11"/>
                      <a:pt x="11" y="12"/>
                      <a:pt x="9" y="10"/>
                    </a:cubicBezTo>
                    <a:cubicBezTo>
                      <a:pt x="9" y="10"/>
                      <a:pt x="9" y="9"/>
                      <a:pt x="8" y="9"/>
                    </a:cubicBezTo>
                    <a:cubicBezTo>
                      <a:pt x="6" y="8"/>
                      <a:pt x="3" y="8"/>
                      <a:pt x="3" y="8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6" y="4"/>
                      <a:pt x="15" y="5"/>
                      <a:pt x="15" y="5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8" name="Freeform 222"/>
              <p:cNvSpPr/>
              <p:nvPr/>
            </p:nvSpPr>
            <p:spPr bwMode="auto">
              <a:xfrm>
                <a:off x="20130" y="2791829"/>
                <a:ext cx="841375" cy="1146175"/>
              </a:xfrm>
              <a:custGeom>
                <a:avLst/>
                <a:gdLst>
                  <a:gd name="T0" fmla="*/ 17 w 28"/>
                  <a:gd name="T1" fmla="*/ 1 h 39"/>
                  <a:gd name="T2" fmla="*/ 5 w 28"/>
                  <a:gd name="T3" fmla="*/ 1 h 39"/>
                  <a:gd name="T4" fmla="*/ 0 w 28"/>
                  <a:gd name="T5" fmla="*/ 14 h 39"/>
                  <a:gd name="T6" fmla="*/ 0 w 28"/>
                  <a:gd name="T7" fmla="*/ 25 h 39"/>
                  <a:gd name="T8" fmla="*/ 1 w 28"/>
                  <a:gd name="T9" fmla="*/ 32 h 39"/>
                  <a:gd name="T10" fmla="*/ 4 w 28"/>
                  <a:gd name="T11" fmla="*/ 39 h 39"/>
                  <a:gd name="T12" fmla="*/ 9 w 28"/>
                  <a:gd name="T13" fmla="*/ 31 h 39"/>
                  <a:gd name="T14" fmla="*/ 5 w 28"/>
                  <a:gd name="T15" fmla="*/ 33 h 39"/>
                  <a:gd name="T16" fmla="*/ 8 w 28"/>
                  <a:gd name="T17" fmla="*/ 20 h 39"/>
                  <a:gd name="T18" fmla="*/ 9 w 28"/>
                  <a:gd name="T19" fmla="*/ 10 h 39"/>
                  <a:gd name="T20" fmla="*/ 21 w 28"/>
                  <a:gd name="T21" fmla="*/ 10 h 39"/>
                  <a:gd name="T22" fmla="*/ 26 w 28"/>
                  <a:gd name="T23" fmla="*/ 11 h 39"/>
                  <a:gd name="T24" fmla="*/ 26 w 28"/>
                  <a:gd name="T25" fmla="*/ 10 h 39"/>
                  <a:gd name="T26" fmla="*/ 28 w 28"/>
                  <a:gd name="T27" fmla="*/ 3 h 39"/>
                  <a:gd name="T28" fmla="*/ 17 w 28"/>
                  <a:gd name="T29" fmla="*/ 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8" h="39">
                    <a:moveTo>
                      <a:pt x="17" y="1"/>
                    </a:moveTo>
                    <a:cubicBezTo>
                      <a:pt x="16" y="0"/>
                      <a:pt x="5" y="1"/>
                      <a:pt x="5" y="1"/>
                    </a:cubicBezTo>
                    <a:cubicBezTo>
                      <a:pt x="5" y="1"/>
                      <a:pt x="0" y="11"/>
                      <a:pt x="0" y="14"/>
                    </a:cubicBezTo>
                    <a:cubicBezTo>
                      <a:pt x="1" y="16"/>
                      <a:pt x="1" y="23"/>
                      <a:pt x="0" y="25"/>
                    </a:cubicBezTo>
                    <a:cubicBezTo>
                      <a:pt x="0" y="27"/>
                      <a:pt x="1" y="32"/>
                      <a:pt x="1" y="32"/>
                    </a:cubicBezTo>
                    <a:cubicBezTo>
                      <a:pt x="1" y="32"/>
                      <a:pt x="4" y="36"/>
                      <a:pt x="4" y="39"/>
                    </a:cubicBezTo>
                    <a:cubicBezTo>
                      <a:pt x="7" y="36"/>
                      <a:pt x="9" y="31"/>
                      <a:pt x="9" y="31"/>
                    </a:cubicBezTo>
                    <a:cubicBezTo>
                      <a:pt x="8" y="32"/>
                      <a:pt x="5" y="33"/>
                      <a:pt x="5" y="33"/>
                    </a:cubicBezTo>
                    <a:cubicBezTo>
                      <a:pt x="5" y="30"/>
                      <a:pt x="8" y="20"/>
                      <a:pt x="8" y="20"/>
                    </a:cubicBezTo>
                    <a:cubicBezTo>
                      <a:pt x="8" y="20"/>
                      <a:pt x="18" y="12"/>
                      <a:pt x="9" y="10"/>
                    </a:cubicBezTo>
                    <a:cubicBezTo>
                      <a:pt x="10" y="6"/>
                      <a:pt x="21" y="10"/>
                      <a:pt x="21" y="10"/>
                    </a:cubicBezTo>
                    <a:cubicBezTo>
                      <a:pt x="26" y="11"/>
                      <a:pt x="26" y="11"/>
                      <a:pt x="26" y="11"/>
                    </a:cubicBezTo>
                    <a:cubicBezTo>
                      <a:pt x="26" y="11"/>
                      <a:pt x="26" y="10"/>
                      <a:pt x="26" y="10"/>
                    </a:cubicBezTo>
                    <a:cubicBezTo>
                      <a:pt x="27" y="9"/>
                      <a:pt x="28" y="3"/>
                      <a:pt x="28" y="3"/>
                    </a:cubicBezTo>
                    <a:cubicBezTo>
                      <a:pt x="28" y="3"/>
                      <a:pt x="17" y="1"/>
                      <a:pt x="17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9" name="Freeform 223"/>
              <p:cNvSpPr/>
              <p:nvPr/>
            </p:nvSpPr>
            <p:spPr bwMode="auto">
              <a:xfrm>
                <a:off x="290005" y="2672766"/>
                <a:ext cx="661987" cy="236537"/>
              </a:xfrm>
              <a:custGeom>
                <a:avLst/>
                <a:gdLst>
                  <a:gd name="T0" fmla="*/ 0 w 22"/>
                  <a:gd name="T1" fmla="*/ 4 h 8"/>
                  <a:gd name="T2" fmla="*/ 18 w 22"/>
                  <a:gd name="T3" fmla="*/ 8 h 8"/>
                  <a:gd name="T4" fmla="*/ 22 w 22"/>
                  <a:gd name="T5" fmla="*/ 6 h 8"/>
                  <a:gd name="T6" fmla="*/ 21 w 22"/>
                  <a:gd name="T7" fmla="*/ 2 h 8"/>
                  <a:gd name="T8" fmla="*/ 1 w 22"/>
                  <a:gd name="T9" fmla="*/ 0 h 8"/>
                  <a:gd name="T10" fmla="*/ 0 w 22"/>
                  <a:gd name="T1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8">
                    <a:moveTo>
                      <a:pt x="0" y="4"/>
                    </a:moveTo>
                    <a:cubicBezTo>
                      <a:pt x="0" y="4"/>
                      <a:pt x="13" y="8"/>
                      <a:pt x="18" y="8"/>
                    </a:cubicBezTo>
                    <a:cubicBezTo>
                      <a:pt x="22" y="6"/>
                      <a:pt x="22" y="6"/>
                      <a:pt x="22" y="6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1" y="0"/>
                      <a:pt x="1" y="0"/>
                      <a:pt x="1" y="0"/>
                    </a:cubicBez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0" name="Freeform 224"/>
              <p:cNvSpPr/>
              <p:nvPr/>
            </p:nvSpPr>
            <p:spPr bwMode="auto">
              <a:xfrm>
                <a:off x="350330" y="1202741"/>
                <a:ext cx="571500" cy="1617662"/>
              </a:xfrm>
              <a:custGeom>
                <a:avLst/>
                <a:gdLst>
                  <a:gd name="T0" fmla="*/ 0 w 19"/>
                  <a:gd name="T1" fmla="*/ 49 h 55"/>
                  <a:gd name="T2" fmla="*/ 6 w 19"/>
                  <a:gd name="T3" fmla="*/ 54 h 55"/>
                  <a:gd name="T4" fmla="*/ 19 w 19"/>
                  <a:gd name="T5" fmla="*/ 53 h 55"/>
                  <a:gd name="T6" fmla="*/ 17 w 19"/>
                  <a:gd name="T7" fmla="*/ 36 h 55"/>
                  <a:gd name="T8" fmla="*/ 18 w 19"/>
                  <a:gd name="T9" fmla="*/ 25 h 55"/>
                  <a:gd name="T10" fmla="*/ 13 w 19"/>
                  <a:gd name="T11" fmla="*/ 10 h 55"/>
                  <a:gd name="T12" fmla="*/ 13 w 19"/>
                  <a:gd name="T13" fmla="*/ 3 h 55"/>
                  <a:gd name="T14" fmla="*/ 11 w 19"/>
                  <a:gd name="T15" fmla="*/ 7 h 55"/>
                  <a:gd name="T16" fmla="*/ 2 w 19"/>
                  <a:gd name="T17" fmla="*/ 0 h 55"/>
                  <a:gd name="T18" fmla="*/ 0 w 19"/>
                  <a:gd name="T19" fmla="*/ 3 h 55"/>
                  <a:gd name="T20" fmla="*/ 0 w 19"/>
                  <a:gd name="T21" fmla="*/ 49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" h="55">
                    <a:moveTo>
                      <a:pt x="0" y="49"/>
                    </a:moveTo>
                    <a:cubicBezTo>
                      <a:pt x="0" y="49"/>
                      <a:pt x="0" y="53"/>
                      <a:pt x="6" y="54"/>
                    </a:cubicBezTo>
                    <a:cubicBezTo>
                      <a:pt x="13" y="55"/>
                      <a:pt x="18" y="55"/>
                      <a:pt x="19" y="53"/>
                    </a:cubicBezTo>
                    <a:cubicBezTo>
                      <a:pt x="17" y="36"/>
                      <a:pt x="17" y="36"/>
                      <a:pt x="17" y="36"/>
                    </a:cubicBezTo>
                    <a:cubicBezTo>
                      <a:pt x="17" y="36"/>
                      <a:pt x="19" y="28"/>
                      <a:pt x="18" y="25"/>
                    </a:cubicBezTo>
                    <a:cubicBezTo>
                      <a:pt x="18" y="21"/>
                      <a:pt x="13" y="10"/>
                      <a:pt x="13" y="10"/>
                    </a:cubicBezTo>
                    <a:cubicBezTo>
                      <a:pt x="13" y="10"/>
                      <a:pt x="14" y="5"/>
                      <a:pt x="13" y="3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7"/>
                      <a:pt x="9" y="7"/>
                      <a:pt x="2" y="0"/>
                    </a:cubicBezTo>
                    <a:cubicBezTo>
                      <a:pt x="2" y="0"/>
                      <a:pt x="0" y="2"/>
                      <a:pt x="0" y="3"/>
                    </a:cubicBez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F5F7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1" name="Freeform 225"/>
              <p:cNvSpPr/>
              <p:nvPr/>
            </p:nvSpPr>
            <p:spPr bwMode="auto">
              <a:xfrm>
                <a:off x="350330" y="1202741"/>
                <a:ext cx="571500" cy="1617662"/>
              </a:xfrm>
              <a:custGeom>
                <a:avLst/>
                <a:gdLst>
                  <a:gd name="T0" fmla="*/ 13 w 19"/>
                  <a:gd name="T1" fmla="*/ 53 h 55"/>
                  <a:gd name="T2" fmla="*/ 3 w 19"/>
                  <a:gd name="T3" fmla="*/ 47 h 55"/>
                  <a:gd name="T4" fmla="*/ 4 w 19"/>
                  <a:gd name="T5" fmla="*/ 43 h 55"/>
                  <a:gd name="T6" fmla="*/ 13 w 19"/>
                  <a:gd name="T7" fmla="*/ 49 h 55"/>
                  <a:gd name="T8" fmla="*/ 4 w 19"/>
                  <a:gd name="T9" fmla="*/ 34 h 55"/>
                  <a:gd name="T10" fmla="*/ 3 w 19"/>
                  <a:gd name="T11" fmla="*/ 7 h 55"/>
                  <a:gd name="T12" fmla="*/ 7 w 19"/>
                  <a:gd name="T13" fmla="*/ 11 h 55"/>
                  <a:gd name="T14" fmla="*/ 4 w 19"/>
                  <a:gd name="T15" fmla="*/ 6 h 55"/>
                  <a:gd name="T16" fmla="*/ 8 w 19"/>
                  <a:gd name="T17" fmla="*/ 6 h 55"/>
                  <a:gd name="T18" fmla="*/ 2 w 19"/>
                  <a:gd name="T19" fmla="*/ 0 h 55"/>
                  <a:gd name="T20" fmla="*/ 0 w 19"/>
                  <a:gd name="T21" fmla="*/ 3 h 55"/>
                  <a:gd name="T22" fmla="*/ 0 w 19"/>
                  <a:gd name="T23" fmla="*/ 49 h 55"/>
                  <a:gd name="T24" fmla="*/ 6 w 19"/>
                  <a:gd name="T25" fmla="*/ 54 h 55"/>
                  <a:gd name="T26" fmla="*/ 19 w 19"/>
                  <a:gd name="T27" fmla="*/ 53 h 55"/>
                  <a:gd name="T28" fmla="*/ 19 w 19"/>
                  <a:gd name="T29" fmla="*/ 53 h 55"/>
                  <a:gd name="T30" fmla="*/ 13 w 19"/>
                  <a:gd name="T31" fmla="*/ 5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" h="55">
                    <a:moveTo>
                      <a:pt x="13" y="53"/>
                    </a:moveTo>
                    <a:cubicBezTo>
                      <a:pt x="6" y="53"/>
                      <a:pt x="3" y="47"/>
                      <a:pt x="3" y="47"/>
                    </a:cubicBezTo>
                    <a:cubicBezTo>
                      <a:pt x="3" y="47"/>
                      <a:pt x="1" y="43"/>
                      <a:pt x="4" y="43"/>
                    </a:cubicBezTo>
                    <a:cubicBezTo>
                      <a:pt x="6" y="43"/>
                      <a:pt x="13" y="49"/>
                      <a:pt x="13" y="49"/>
                    </a:cubicBezTo>
                    <a:cubicBezTo>
                      <a:pt x="12" y="45"/>
                      <a:pt x="7" y="39"/>
                      <a:pt x="4" y="34"/>
                    </a:cubicBezTo>
                    <a:cubicBezTo>
                      <a:pt x="1" y="29"/>
                      <a:pt x="3" y="7"/>
                      <a:pt x="3" y="7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6" y="8"/>
                      <a:pt x="8" y="7"/>
                      <a:pt x="8" y="6"/>
                    </a:cubicBezTo>
                    <a:cubicBezTo>
                      <a:pt x="7" y="5"/>
                      <a:pt x="5" y="3"/>
                      <a:pt x="2" y="0"/>
                    </a:cubicBezTo>
                    <a:cubicBezTo>
                      <a:pt x="2" y="0"/>
                      <a:pt x="0" y="2"/>
                      <a:pt x="0" y="3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9"/>
                      <a:pt x="0" y="53"/>
                      <a:pt x="6" y="54"/>
                    </a:cubicBezTo>
                    <a:cubicBezTo>
                      <a:pt x="13" y="55"/>
                      <a:pt x="18" y="55"/>
                      <a:pt x="19" y="53"/>
                    </a:cubicBezTo>
                    <a:cubicBezTo>
                      <a:pt x="19" y="53"/>
                      <a:pt x="19" y="53"/>
                      <a:pt x="19" y="53"/>
                    </a:cubicBezTo>
                    <a:cubicBezTo>
                      <a:pt x="17" y="53"/>
                      <a:pt x="15" y="53"/>
                      <a:pt x="13" y="53"/>
                    </a:cubicBez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2" name="Freeform 226"/>
              <p:cNvSpPr/>
              <p:nvPr/>
            </p:nvSpPr>
            <p:spPr bwMode="auto">
              <a:xfrm>
                <a:off x="-221170" y="1261479"/>
                <a:ext cx="871537" cy="2058987"/>
              </a:xfrm>
              <a:custGeom>
                <a:avLst/>
                <a:gdLst>
                  <a:gd name="T0" fmla="*/ 0 w 29"/>
                  <a:gd name="T1" fmla="*/ 67 h 70"/>
                  <a:gd name="T2" fmla="*/ 10 w 29"/>
                  <a:gd name="T3" fmla="*/ 70 h 70"/>
                  <a:gd name="T4" fmla="*/ 24 w 29"/>
                  <a:gd name="T5" fmla="*/ 45 h 70"/>
                  <a:gd name="T6" fmla="*/ 28 w 29"/>
                  <a:gd name="T7" fmla="*/ 33 h 70"/>
                  <a:gd name="T8" fmla="*/ 18 w 29"/>
                  <a:gd name="T9" fmla="*/ 0 h 70"/>
                  <a:gd name="T10" fmla="*/ 10 w 29"/>
                  <a:gd name="T11" fmla="*/ 4 h 70"/>
                  <a:gd name="T12" fmla="*/ 10 w 29"/>
                  <a:gd name="T13" fmla="*/ 22 h 70"/>
                  <a:gd name="T14" fmla="*/ 0 w 29"/>
                  <a:gd name="T15" fmla="*/ 67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70">
                    <a:moveTo>
                      <a:pt x="0" y="67"/>
                    </a:moveTo>
                    <a:cubicBezTo>
                      <a:pt x="10" y="70"/>
                      <a:pt x="10" y="70"/>
                      <a:pt x="10" y="70"/>
                    </a:cubicBezTo>
                    <a:cubicBezTo>
                      <a:pt x="10" y="70"/>
                      <a:pt x="23" y="46"/>
                      <a:pt x="24" y="45"/>
                    </a:cubicBezTo>
                    <a:cubicBezTo>
                      <a:pt x="25" y="44"/>
                      <a:pt x="29" y="40"/>
                      <a:pt x="28" y="33"/>
                    </a:cubicBezTo>
                    <a:cubicBezTo>
                      <a:pt x="27" y="26"/>
                      <a:pt x="26" y="9"/>
                      <a:pt x="18" y="0"/>
                    </a:cubicBezTo>
                    <a:cubicBezTo>
                      <a:pt x="18" y="0"/>
                      <a:pt x="15" y="5"/>
                      <a:pt x="10" y="4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0" y="22"/>
                      <a:pt x="8" y="51"/>
                      <a:pt x="0" y="67"/>
                    </a:cubicBezTo>
                    <a:close/>
                  </a:path>
                </a:pathLst>
              </a:custGeom>
              <a:solidFill>
                <a:srgbClr val="2624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3" name="Freeform 227"/>
              <p:cNvSpPr/>
              <p:nvPr/>
            </p:nvSpPr>
            <p:spPr bwMode="auto">
              <a:xfrm>
                <a:off x="590043" y="1409116"/>
                <a:ext cx="361950" cy="1382712"/>
              </a:xfrm>
              <a:custGeom>
                <a:avLst/>
                <a:gdLst>
                  <a:gd name="T0" fmla="*/ 6 w 12"/>
                  <a:gd name="T1" fmla="*/ 44 h 47"/>
                  <a:gd name="T2" fmla="*/ 9 w 12"/>
                  <a:gd name="T3" fmla="*/ 47 h 47"/>
                  <a:gd name="T4" fmla="*/ 12 w 12"/>
                  <a:gd name="T5" fmla="*/ 44 h 47"/>
                  <a:gd name="T6" fmla="*/ 9 w 12"/>
                  <a:gd name="T7" fmla="*/ 20 h 47"/>
                  <a:gd name="T8" fmla="*/ 4 w 12"/>
                  <a:gd name="T9" fmla="*/ 5 h 47"/>
                  <a:gd name="T10" fmla="*/ 3 w 12"/>
                  <a:gd name="T11" fmla="*/ 0 h 47"/>
                  <a:gd name="T12" fmla="*/ 0 w 12"/>
                  <a:gd name="T13" fmla="*/ 3 h 47"/>
                  <a:gd name="T14" fmla="*/ 1 w 12"/>
                  <a:gd name="T15" fmla="*/ 6 h 47"/>
                  <a:gd name="T16" fmla="*/ 4 w 12"/>
                  <a:gd name="T17" fmla="*/ 17 h 47"/>
                  <a:gd name="T18" fmla="*/ 6 w 12"/>
                  <a:gd name="T19" fmla="*/ 4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47">
                    <a:moveTo>
                      <a:pt x="6" y="44"/>
                    </a:moveTo>
                    <a:cubicBezTo>
                      <a:pt x="9" y="47"/>
                      <a:pt x="9" y="47"/>
                      <a:pt x="9" y="47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44"/>
                      <a:pt x="10" y="25"/>
                      <a:pt x="9" y="20"/>
                    </a:cubicBezTo>
                    <a:cubicBezTo>
                      <a:pt x="8" y="16"/>
                      <a:pt x="4" y="5"/>
                      <a:pt x="4" y="5"/>
                    </a:cubicBezTo>
                    <a:cubicBezTo>
                      <a:pt x="4" y="5"/>
                      <a:pt x="6" y="2"/>
                      <a:pt x="3" y="0"/>
                    </a:cubicBezTo>
                    <a:cubicBezTo>
                      <a:pt x="3" y="0"/>
                      <a:pt x="1" y="1"/>
                      <a:pt x="0" y="3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3" y="14"/>
                      <a:pt x="4" y="17"/>
                    </a:cubicBezTo>
                    <a:cubicBezTo>
                      <a:pt x="4" y="21"/>
                      <a:pt x="5" y="42"/>
                      <a:pt x="6" y="44"/>
                    </a:cubicBezTo>
                    <a:close/>
                  </a:path>
                </a:pathLst>
              </a:custGeom>
              <a:solidFill>
                <a:srgbClr val="A41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4" name="Freeform 228"/>
              <p:cNvSpPr/>
              <p:nvPr/>
            </p:nvSpPr>
            <p:spPr bwMode="auto">
              <a:xfrm>
                <a:off x="951993" y="1937754"/>
                <a:ext cx="781050" cy="530225"/>
              </a:xfrm>
              <a:custGeom>
                <a:avLst/>
                <a:gdLst>
                  <a:gd name="T0" fmla="*/ 25 w 26"/>
                  <a:gd name="T1" fmla="*/ 13 h 18"/>
                  <a:gd name="T2" fmla="*/ 22 w 26"/>
                  <a:gd name="T3" fmla="*/ 4 h 18"/>
                  <a:gd name="T4" fmla="*/ 14 w 26"/>
                  <a:gd name="T5" fmla="*/ 6 h 18"/>
                  <a:gd name="T6" fmla="*/ 11 w 26"/>
                  <a:gd name="T7" fmla="*/ 8 h 18"/>
                  <a:gd name="T8" fmla="*/ 8 w 26"/>
                  <a:gd name="T9" fmla="*/ 8 h 18"/>
                  <a:gd name="T10" fmla="*/ 4 w 26"/>
                  <a:gd name="T11" fmla="*/ 8 h 18"/>
                  <a:gd name="T12" fmla="*/ 3 w 26"/>
                  <a:gd name="T13" fmla="*/ 7 h 18"/>
                  <a:gd name="T14" fmla="*/ 1 w 26"/>
                  <a:gd name="T15" fmla="*/ 0 h 18"/>
                  <a:gd name="T16" fmla="*/ 0 w 26"/>
                  <a:gd name="T17" fmla="*/ 16 h 18"/>
                  <a:gd name="T18" fmla="*/ 0 w 26"/>
                  <a:gd name="T19" fmla="*/ 18 h 18"/>
                  <a:gd name="T20" fmla="*/ 11 w 26"/>
                  <a:gd name="T21" fmla="*/ 17 h 18"/>
                  <a:gd name="T22" fmla="*/ 25 w 26"/>
                  <a:gd name="T23" fmla="*/ 1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" h="18">
                    <a:moveTo>
                      <a:pt x="25" y="13"/>
                    </a:moveTo>
                    <a:cubicBezTo>
                      <a:pt x="25" y="13"/>
                      <a:pt x="26" y="8"/>
                      <a:pt x="22" y="4"/>
                    </a:cubicBezTo>
                    <a:cubicBezTo>
                      <a:pt x="22" y="4"/>
                      <a:pt x="14" y="6"/>
                      <a:pt x="14" y="6"/>
                    </a:cubicBezTo>
                    <a:cubicBezTo>
                      <a:pt x="14" y="7"/>
                      <a:pt x="11" y="8"/>
                      <a:pt x="11" y="8"/>
                    </a:cubicBezTo>
                    <a:cubicBezTo>
                      <a:pt x="11" y="8"/>
                      <a:pt x="8" y="8"/>
                      <a:pt x="8" y="8"/>
                    </a:cubicBezTo>
                    <a:cubicBezTo>
                      <a:pt x="7" y="8"/>
                      <a:pt x="5" y="7"/>
                      <a:pt x="4" y="8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4" y="3"/>
                      <a:pt x="1" y="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8"/>
                      <a:pt x="9" y="18"/>
                      <a:pt x="11" y="17"/>
                    </a:cubicBezTo>
                    <a:cubicBezTo>
                      <a:pt x="13" y="16"/>
                      <a:pt x="24" y="15"/>
                      <a:pt x="25" y="13"/>
                    </a:cubicBezTo>
                    <a:close/>
                  </a:path>
                </a:pathLst>
              </a:custGeom>
              <a:solidFill>
                <a:srgbClr val="2624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5" name="Freeform 229"/>
              <p:cNvSpPr/>
              <p:nvPr/>
            </p:nvSpPr>
            <p:spPr bwMode="auto">
              <a:xfrm>
                <a:off x="1010730" y="2055229"/>
                <a:ext cx="692150" cy="382587"/>
              </a:xfrm>
              <a:custGeom>
                <a:avLst/>
                <a:gdLst>
                  <a:gd name="T0" fmla="*/ 20 w 23"/>
                  <a:gd name="T1" fmla="*/ 0 h 13"/>
                  <a:gd name="T2" fmla="*/ 12 w 23"/>
                  <a:gd name="T3" fmla="*/ 2 h 13"/>
                  <a:gd name="T4" fmla="*/ 9 w 23"/>
                  <a:gd name="T5" fmla="*/ 4 h 13"/>
                  <a:gd name="T6" fmla="*/ 6 w 23"/>
                  <a:gd name="T7" fmla="*/ 4 h 13"/>
                  <a:gd name="T8" fmla="*/ 3 w 23"/>
                  <a:gd name="T9" fmla="*/ 3 h 13"/>
                  <a:gd name="T10" fmla="*/ 2 w 23"/>
                  <a:gd name="T11" fmla="*/ 7 h 13"/>
                  <a:gd name="T12" fmla="*/ 4 w 23"/>
                  <a:gd name="T13" fmla="*/ 6 h 13"/>
                  <a:gd name="T14" fmla="*/ 0 w 23"/>
                  <a:gd name="T15" fmla="*/ 13 h 13"/>
                  <a:gd name="T16" fmla="*/ 6 w 23"/>
                  <a:gd name="T17" fmla="*/ 6 h 13"/>
                  <a:gd name="T18" fmla="*/ 11 w 23"/>
                  <a:gd name="T19" fmla="*/ 5 h 13"/>
                  <a:gd name="T20" fmla="*/ 8 w 23"/>
                  <a:gd name="T21" fmla="*/ 11 h 13"/>
                  <a:gd name="T22" fmla="*/ 15 w 23"/>
                  <a:gd name="T23" fmla="*/ 4 h 13"/>
                  <a:gd name="T24" fmla="*/ 19 w 23"/>
                  <a:gd name="T25" fmla="*/ 5 h 13"/>
                  <a:gd name="T26" fmla="*/ 23 w 23"/>
                  <a:gd name="T27" fmla="*/ 6 h 13"/>
                  <a:gd name="T28" fmla="*/ 23 w 23"/>
                  <a:gd name="T29" fmla="*/ 6 h 13"/>
                  <a:gd name="T30" fmla="*/ 20 w 23"/>
                  <a:gd name="T3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3" h="13">
                    <a:moveTo>
                      <a:pt x="20" y="0"/>
                    </a:moveTo>
                    <a:cubicBezTo>
                      <a:pt x="20" y="0"/>
                      <a:pt x="12" y="2"/>
                      <a:pt x="12" y="2"/>
                    </a:cubicBezTo>
                    <a:cubicBezTo>
                      <a:pt x="12" y="3"/>
                      <a:pt x="9" y="4"/>
                      <a:pt x="9" y="4"/>
                    </a:cubicBezTo>
                    <a:cubicBezTo>
                      <a:pt x="9" y="4"/>
                      <a:pt x="6" y="4"/>
                      <a:pt x="6" y="4"/>
                    </a:cubicBezTo>
                    <a:cubicBezTo>
                      <a:pt x="5" y="4"/>
                      <a:pt x="4" y="3"/>
                      <a:pt x="3" y="3"/>
                    </a:cubicBezTo>
                    <a:cubicBezTo>
                      <a:pt x="3" y="5"/>
                      <a:pt x="2" y="6"/>
                      <a:pt x="2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1" y="12"/>
                      <a:pt x="0" y="13"/>
                    </a:cubicBezTo>
                    <a:cubicBezTo>
                      <a:pt x="0" y="13"/>
                      <a:pt x="6" y="9"/>
                      <a:pt x="6" y="6"/>
                    </a:cubicBezTo>
                    <a:cubicBezTo>
                      <a:pt x="6" y="4"/>
                      <a:pt x="11" y="5"/>
                      <a:pt x="11" y="5"/>
                    </a:cubicBezTo>
                    <a:cubicBezTo>
                      <a:pt x="11" y="5"/>
                      <a:pt x="13" y="7"/>
                      <a:pt x="8" y="11"/>
                    </a:cubicBezTo>
                    <a:cubicBezTo>
                      <a:pt x="8" y="11"/>
                      <a:pt x="14" y="7"/>
                      <a:pt x="15" y="4"/>
                    </a:cubicBezTo>
                    <a:cubicBezTo>
                      <a:pt x="17" y="0"/>
                      <a:pt x="19" y="5"/>
                      <a:pt x="19" y="5"/>
                    </a:cubicBezTo>
                    <a:cubicBezTo>
                      <a:pt x="19" y="5"/>
                      <a:pt x="23" y="6"/>
                      <a:pt x="23" y="6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23" y="4"/>
                      <a:pt x="22" y="2"/>
                      <a:pt x="2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6" name="Freeform 230"/>
              <p:cNvSpPr/>
              <p:nvPr/>
            </p:nvSpPr>
            <p:spPr bwMode="auto">
              <a:xfrm>
                <a:off x="259843" y="1291641"/>
                <a:ext cx="330200" cy="1470025"/>
              </a:xfrm>
              <a:custGeom>
                <a:avLst/>
                <a:gdLst>
                  <a:gd name="T0" fmla="*/ 4 w 11"/>
                  <a:gd name="T1" fmla="*/ 50 h 50"/>
                  <a:gd name="T2" fmla="*/ 8 w 11"/>
                  <a:gd name="T3" fmla="*/ 44 h 50"/>
                  <a:gd name="T4" fmla="*/ 11 w 11"/>
                  <a:gd name="T5" fmla="*/ 40 h 50"/>
                  <a:gd name="T6" fmla="*/ 11 w 11"/>
                  <a:gd name="T7" fmla="*/ 31 h 50"/>
                  <a:gd name="T8" fmla="*/ 2 w 11"/>
                  <a:gd name="T9" fmla="*/ 7 h 50"/>
                  <a:gd name="T10" fmla="*/ 3 w 11"/>
                  <a:gd name="T11" fmla="*/ 6 h 50"/>
                  <a:gd name="T12" fmla="*/ 1 w 11"/>
                  <a:gd name="T13" fmla="*/ 0 h 50"/>
                  <a:gd name="T14" fmla="*/ 0 w 11"/>
                  <a:gd name="T15" fmla="*/ 1 h 50"/>
                  <a:gd name="T16" fmla="*/ 1 w 11"/>
                  <a:gd name="T17" fmla="*/ 5 h 50"/>
                  <a:gd name="T18" fmla="*/ 1 w 11"/>
                  <a:gd name="T19" fmla="*/ 7 h 50"/>
                  <a:gd name="T20" fmla="*/ 10 w 11"/>
                  <a:gd name="T21" fmla="*/ 31 h 50"/>
                  <a:gd name="T22" fmla="*/ 6 w 11"/>
                  <a:gd name="T23" fmla="*/ 43 h 50"/>
                  <a:gd name="T24" fmla="*/ 4 w 11"/>
                  <a:gd name="T25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" h="50">
                    <a:moveTo>
                      <a:pt x="4" y="50"/>
                    </a:moveTo>
                    <a:cubicBezTo>
                      <a:pt x="6" y="47"/>
                      <a:pt x="7" y="44"/>
                      <a:pt x="8" y="44"/>
                    </a:cubicBezTo>
                    <a:cubicBezTo>
                      <a:pt x="8" y="43"/>
                      <a:pt x="10" y="42"/>
                      <a:pt x="11" y="40"/>
                    </a:cubicBezTo>
                    <a:cubicBezTo>
                      <a:pt x="11" y="36"/>
                      <a:pt x="11" y="32"/>
                      <a:pt x="11" y="31"/>
                    </a:cubicBezTo>
                    <a:cubicBezTo>
                      <a:pt x="10" y="28"/>
                      <a:pt x="2" y="7"/>
                      <a:pt x="2" y="7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9" y="29"/>
                      <a:pt x="10" y="31"/>
                    </a:cubicBezTo>
                    <a:cubicBezTo>
                      <a:pt x="11" y="34"/>
                      <a:pt x="7" y="40"/>
                      <a:pt x="6" y="43"/>
                    </a:cubicBezTo>
                    <a:cubicBezTo>
                      <a:pt x="6" y="44"/>
                      <a:pt x="5" y="47"/>
                      <a:pt x="4" y="5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7" name="Freeform 231"/>
              <p:cNvSpPr/>
              <p:nvPr/>
            </p:nvSpPr>
            <p:spPr bwMode="auto">
              <a:xfrm>
                <a:off x="-10032" y="1409116"/>
                <a:ext cx="390525" cy="1587500"/>
              </a:xfrm>
              <a:custGeom>
                <a:avLst/>
                <a:gdLst>
                  <a:gd name="T0" fmla="*/ 9 w 13"/>
                  <a:gd name="T1" fmla="*/ 12 h 54"/>
                  <a:gd name="T2" fmla="*/ 13 w 13"/>
                  <a:gd name="T3" fmla="*/ 15 h 54"/>
                  <a:gd name="T4" fmla="*/ 6 w 13"/>
                  <a:gd name="T5" fmla="*/ 4 h 54"/>
                  <a:gd name="T6" fmla="*/ 3 w 13"/>
                  <a:gd name="T7" fmla="*/ 0 h 54"/>
                  <a:gd name="T8" fmla="*/ 3 w 13"/>
                  <a:gd name="T9" fmla="*/ 17 h 54"/>
                  <a:gd name="T10" fmla="*/ 0 w 13"/>
                  <a:gd name="T11" fmla="*/ 37 h 54"/>
                  <a:gd name="T12" fmla="*/ 3 w 13"/>
                  <a:gd name="T13" fmla="*/ 43 h 54"/>
                  <a:gd name="T14" fmla="*/ 9 w 13"/>
                  <a:gd name="T15" fmla="*/ 54 h 54"/>
                  <a:gd name="T16" fmla="*/ 12 w 13"/>
                  <a:gd name="T17" fmla="*/ 48 h 54"/>
                  <a:gd name="T18" fmla="*/ 8 w 13"/>
                  <a:gd name="T19" fmla="*/ 36 h 54"/>
                  <a:gd name="T20" fmla="*/ 11 w 13"/>
                  <a:gd name="T21" fmla="*/ 36 h 54"/>
                  <a:gd name="T22" fmla="*/ 8 w 13"/>
                  <a:gd name="T23" fmla="*/ 35 h 54"/>
                  <a:gd name="T24" fmla="*/ 7 w 13"/>
                  <a:gd name="T25" fmla="*/ 27 h 54"/>
                  <a:gd name="T26" fmla="*/ 8 w 13"/>
                  <a:gd name="T27" fmla="*/ 22 h 54"/>
                  <a:gd name="T28" fmla="*/ 9 w 13"/>
                  <a:gd name="T29" fmla="*/ 18 h 54"/>
                  <a:gd name="T30" fmla="*/ 9 w 13"/>
                  <a:gd name="T31" fmla="*/ 1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3" h="54">
                    <a:moveTo>
                      <a:pt x="9" y="12"/>
                    </a:move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6" y="6"/>
                      <a:pt x="6" y="4"/>
                    </a:cubicBezTo>
                    <a:cubicBezTo>
                      <a:pt x="5" y="3"/>
                      <a:pt x="4" y="2"/>
                      <a:pt x="3" y="0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3" y="17"/>
                      <a:pt x="3" y="26"/>
                      <a:pt x="0" y="37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9" y="54"/>
                      <a:pt x="9" y="54"/>
                      <a:pt x="9" y="54"/>
                    </a:cubicBezTo>
                    <a:cubicBezTo>
                      <a:pt x="10" y="52"/>
                      <a:pt x="11" y="50"/>
                      <a:pt x="12" y="48"/>
                    </a:cubicBezTo>
                    <a:cubicBezTo>
                      <a:pt x="11" y="44"/>
                      <a:pt x="8" y="37"/>
                      <a:pt x="8" y="36"/>
                    </a:cubicBezTo>
                    <a:cubicBezTo>
                      <a:pt x="8" y="36"/>
                      <a:pt x="10" y="36"/>
                      <a:pt x="11" y="36"/>
                    </a:cubicBezTo>
                    <a:cubicBezTo>
                      <a:pt x="8" y="35"/>
                      <a:pt x="8" y="35"/>
                      <a:pt x="8" y="35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7" y="27"/>
                      <a:pt x="9" y="24"/>
                      <a:pt x="8" y="22"/>
                    </a:cubicBezTo>
                    <a:cubicBezTo>
                      <a:pt x="8" y="20"/>
                      <a:pt x="9" y="18"/>
                      <a:pt x="9" y="18"/>
                    </a:cubicBezTo>
                    <a:lnTo>
                      <a:pt x="9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8" name="Freeform 232"/>
              <p:cNvSpPr/>
              <p:nvPr/>
            </p:nvSpPr>
            <p:spPr bwMode="auto">
              <a:xfrm>
                <a:off x="140780" y="1378954"/>
                <a:ext cx="149225" cy="234950"/>
              </a:xfrm>
              <a:custGeom>
                <a:avLst/>
                <a:gdLst>
                  <a:gd name="T0" fmla="*/ 5 w 5"/>
                  <a:gd name="T1" fmla="*/ 8 h 8"/>
                  <a:gd name="T2" fmla="*/ 2 w 5"/>
                  <a:gd name="T3" fmla="*/ 0 h 8"/>
                  <a:gd name="T4" fmla="*/ 0 w 5"/>
                  <a:gd name="T5" fmla="*/ 0 h 8"/>
                  <a:gd name="T6" fmla="*/ 5 w 5"/>
                  <a:gd name="T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8">
                    <a:moveTo>
                      <a:pt x="5" y="8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1" y="2"/>
                      <a:pt x="3" y="4"/>
                      <a:pt x="5" y="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Freeform 233"/>
              <p:cNvSpPr/>
              <p:nvPr/>
            </p:nvSpPr>
            <p:spPr bwMode="auto">
              <a:xfrm>
                <a:off x="169355" y="2937879"/>
                <a:ext cx="241300" cy="382587"/>
              </a:xfrm>
              <a:custGeom>
                <a:avLst/>
                <a:gdLst>
                  <a:gd name="T0" fmla="*/ 0 w 8"/>
                  <a:gd name="T1" fmla="*/ 4 h 13"/>
                  <a:gd name="T2" fmla="*/ 1 w 8"/>
                  <a:gd name="T3" fmla="*/ 10 h 13"/>
                  <a:gd name="T4" fmla="*/ 1 w 8"/>
                  <a:gd name="T5" fmla="*/ 13 h 13"/>
                  <a:gd name="T6" fmla="*/ 8 w 8"/>
                  <a:gd name="T7" fmla="*/ 8 h 13"/>
                  <a:gd name="T8" fmla="*/ 5 w 8"/>
                  <a:gd name="T9" fmla="*/ 2 h 13"/>
                  <a:gd name="T10" fmla="*/ 0 w 8"/>
                  <a:gd name="T11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3">
                    <a:moveTo>
                      <a:pt x="0" y="4"/>
                    </a:moveTo>
                    <a:cubicBezTo>
                      <a:pt x="0" y="4"/>
                      <a:pt x="0" y="10"/>
                      <a:pt x="1" y="10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8" y="8"/>
                      <a:pt x="7" y="4"/>
                      <a:pt x="5" y="2"/>
                    </a:cubicBezTo>
                    <a:cubicBezTo>
                      <a:pt x="4" y="0"/>
                      <a:pt x="0" y="4"/>
                      <a:pt x="0" y="4"/>
                    </a:cubicBezTo>
                    <a:close/>
                  </a:path>
                </a:pathLst>
              </a:custGeom>
              <a:solidFill>
                <a:srgbClr val="F2C2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0" name="Freeform 234"/>
              <p:cNvSpPr/>
              <p:nvPr/>
            </p:nvSpPr>
            <p:spPr bwMode="auto">
              <a:xfrm>
                <a:off x="-191007" y="1378954"/>
                <a:ext cx="541337" cy="1765300"/>
              </a:xfrm>
              <a:custGeom>
                <a:avLst/>
                <a:gdLst>
                  <a:gd name="T0" fmla="*/ 10 w 18"/>
                  <a:gd name="T1" fmla="*/ 60 h 60"/>
                  <a:gd name="T2" fmla="*/ 18 w 18"/>
                  <a:gd name="T3" fmla="*/ 54 h 60"/>
                  <a:gd name="T4" fmla="*/ 12 w 18"/>
                  <a:gd name="T5" fmla="*/ 36 h 60"/>
                  <a:gd name="T6" fmla="*/ 13 w 18"/>
                  <a:gd name="T7" fmla="*/ 23 h 60"/>
                  <a:gd name="T8" fmla="*/ 15 w 18"/>
                  <a:gd name="T9" fmla="*/ 13 h 60"/>
                  <a:gd name="T10" fmla="*/ 9 w 18"/>
                  <a:gd name="T11" fmla="*/ 0 h 60"/>
                  <a:gd name="T12" fmla="*/ 5 w 18"/>
                  <a:gd name="T13" fmla="*/ 3 h 60"/>
                  <a:gd name="T14" fmla="*/ 4 w 18"/>
                  <a:gd name="T15" fmla="*/ 4 h 60"/>
                  <a:gd name="T16" fmla="*/ 2 w 18"/>
                  <a:gd name="T17" fmla="*/ 9 h 60"/>
                  <a:gd name="T18" fmla="*/ 2 w 18"/>
                  <a:gd name="T19" fmla="*/ 15 h 60"/>
                  <a:gd name="T20" fmla="*/ 0 w 18"/>
                  <a:gd name="T21" fmla="*/ 16 h 60"/>
                  <a:gd name="T22" fmla="*/ 0 w 18"/>
                  <a:gd name="T23" fmla="*/ 20 h 60"/>
                  <a:gd name="T24" fmla="*/ 2 w 18"/>
                  <a:gd name="T25" fmla="*/ 21 h 60"/>
                  <a:gd name="T26" fmla="*/ 1 w 18"/>
                  <a:gd name="T27" fmla="*/ 27 h 60"/>
                  <a:gd name="T28" fmla="*/ 1 w 18"/>
                  <a:gd name="T29" fmla="*/ 33 h 60"/>
                  <a:gd name="T30" fmla="*/ 2 w 18"/>
                  <a:gd name="T31" fmla="*/ 40 h 60"/>
                  <a:gd name="T32" fmla="*/ 10 w 18"/>
                  <a:gd name="T3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60">
                    <a:moveTo>
                      <a:pt x="10" y="60"/>
                    </a:moveTo>
                    <a:cubicBezTo>
                      <a:pt x="10" y="60"/>
                      <a:pt x="15" y="55"/>
                      <a:pt x="18" y="54"/>
                    </a:cubicBezTo>
                    <a:cubicBezTo>
                      <a:pt x="18" y="54"/>
                      <a:pt x="13" y="38"/>
                      <a:pt x="12" y="36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3" y="23"/>
                      <a:pt x="16" y="15"/>
                      <a:pt x="15" y="13"/>
                    </a:cubicBezTo>
                    <a:cubicBezTo>
                      <a:pt x="15" y="10"/>
                      <a:pt x="9" y="0"/>
                      <a:pt x="9" y="0"/>
                    </a:cubicBezTo>
                    <a:cubicBezTo>
                      <a:pt x="9" y="0"/>
                      <a:pt x="6" y="2"/>
                      <a:pt x="5" y="3"/>
                    </a:cubicBezTo>
                    <a:cubicBezTo>
                      <a:pt x="3" y="4"/>
                      <a:pt x="4" y="4"/>
                      <a:pt x="4" y="4"/>
                    </a:cubicBezTo>
                    <a:cubicBezTo>
                      <a:pt x="4" y="4"/>
                      <a:pt x="2" y="8"/>
                      <a:pt x="2" y="9"/>
                    </a:cubicBezTo>
                    <a:cubicBezTo>
                      <a:pt x="1" y="9"/>
                      <a:pt x="2" y="15"/>
                      <a:pt x="2" y="15"/>
                    </a:cubicBezTo>
                    <a:cubicBezTo>
                      <a:pt x="2" y="15"/>
                      <a:pt x="0" y="15"/>
                      <a:pt x="0" y="16"/>
                    </a:cubicBezTo>
                    <a:cubicBezTo>
                      <a:pt x="1" y="17"/>
                      <a:pt x="0" y="19"/>
                      <a:pt x="0" y="20"/>
                    </a:cubicBezTo>
                    <a:cubicBezTo>
                      <a:pt x="1" y="21"/>
                      <a:pt x="2" y="21"/>
                      <a:pt x="2" y="21"/>
                    </a:cubicBezTo>
                    <a:cubicBezTo>
                      <a:pt x="2" y="21"/>
                      <a:pt x="1" y="26"/>
                      <a:pt x="1" y="27"/>
                    </a:cubicBezTo>
                    <a:cubicBezTo>
                      <a:pt x="1" y="28"/>
                      <a:pt x="1" y="32"/>
                      <a:pt x="1" y="33"/>
                    </a:cubicBezTo>
                    <a:cubicBezTo>
                      <a:pt x="1" y="35"/>
                      <a:pt x="2" y="40"/>
                      <a:pt x="2" y="40"/>
                    </a:cubicBezTo>
                    <a:cubicBezTo>
                      <a:pt x="2" y="40"/>
                      <a:pt x="8" y="58"/>
                      <a:pt x="10" y="60"/>
                    </a:cubicBezTo>
                    <a:close/>
                  </a:path>
                </a:pathLst>
              </a:custGeom>
              <a:solidFill>
                <a:srgbClr val="2624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1" name="Freeform 235"/>
              <p:cNvSpPr>
                <a:spLocks noEditPoints="1"/>
              </p:cNvSpPr>
              <p:nvPr/>
            </p:nvSpPr>
            <p:spPr bwMode="auto">
              <a:xfrm>
                <a:off x="-191007" y="1437691"/>
                <a:ext cx="420687" cy="1706562"/>
              </a:xfrm>
              <a:custGeom>
                <a:avLst/>
                <a:gdLst>
                  <a:gd name="T0" fmla="*/ 6 w 14"/>
                  <a:gd name="T1" fmla="*/ 45 h 58"/>
                  <a:gd name="T2" fmla="*/ 2 w 14"/>
                  <a:gd name="T3" fmla="*/ 31 h 58"/>
                  <a:gd name="T4" fmla="*/ 4 w 14"/>
                  <a:gd name="T5" fmla="*/ 31 h 58"/>
                  <a:gd name="T6" fmla="*/ 10 w 14"/>
                  <a:gd name="T7" fmla="*/ 27 h 58"/>
                  <a:gd name="T8" fmla="*/ 5 w 14"/>
                  <a:gd name="T9" fmla="*/ 30 h 58"/>
                  <a:gd name="T10" fmla="*/ 2 w 14"/>
                  <a:gd name="T11" fmla="*/ 27 h 58"/>
                  <a:gd name="T12" fmla="*/ 4 w 14"/>
                  <a:gd name="T13" fmla="*/ 23 h 58"/>
                  <a:gd name="T14" fmla="*/ 5 w 14"/>
                  <a:gd name="T15" fmla="*/ 18 h 58"/>
                  <a:gd name="T16" fmla="*/ 12 w 14"/>
                  <a:gd name="T17" fmla="*/ 22 h 58"/>
                  <a:gd name="T18" fmla="*/ 9 w 14"/>
                  <a:gd name="T19" fmla="*/ 18 h 58"/>
                  <a:gd name="T20" fmla="*/ 5 w 14"/>
                  <a:gd name="T21" fmla="*/ 16 h 58"/>
                  <a:gd name="T22" fmla="*/ 11 w 14"/>
                  <a:gd name="T23" fmla="*/ 16 h 58"/>
                  <a:gd name="T24" fmla="*/ 6 w 14"/>
                  <a:gd name="T25" fmla="*/ 13 h 58"/>
                  <a:gd name="T26" fmla="*/ 9 w 14"/>
                  <a:gd name="T27" fmla="*/ 12 h 58"/>
                  <a:gd name="T28" fmla="*/ 2 w 14"/>
                  <a:gd name="T29" fmla="*/ 12 h 58"/>
                  <a:gd name="T30" fmla="*/ 5 w 14"/>
                  <a:gd name="T31" fmla="*/ 9 h 58"/>
                  <a:gd name="T32" fmla="*/ 3 w 14"/>
                  <a:gd name="T33" fmla="*/ 10 h 58"/>
                  <a:gd name="T34" fmla="*/ 3 w 14"/>
                  <a:gd name="T35" fmla="*/ 8 h 58"/>
                  <a:gd name="T36" fmla="*/ 5 w 14"/>
                  <a:gd name="T37" fmla="*/ 3 h 58"/>
                  <a:gd name="T38" fmla="*/ 5 w 14"/>
                  <a:gd name="T39" fmla="*/ 0 h 58"/>
                  <a:gd name="T40" fmla="*/ 5 w 14"/>
                  <a:gd name="T41" fmla="*/ 1 h 58"/>
                  <a:gd name="T42" fmla="*/ 4 w 14"/>
                  <a:gd name="T43" fmla="*/ 1 h 58"/>
                  <a:gd name="T44" fmla="*/ 2 w 14"/>
                  <a:gd name="T45" fmla="*/ 7 h 58"/>
                  <a:gd name="T46" fmla="*/ 2 w 14"/>
                  <a:gd name="T47" fmla="*/ 13 h 58"/>
                  <a:gd name="T48" fmla="*/ 0 w 14"/>
                  <a:gd name="T49" fmla="*/ 14 h 58"/>
                  <a:gd name="T50" fmla="*/ 0 w 14"/>
                  <a:gd name="T51" fmla="*/ 18 h 58"/>
                  <a:gd name="T52" fmla="*/ 2 w 14"/>
                  <a:gd name="T53" fmla="*/ 19 h 58"/>
                  <a:gd name="T54" fmla="*/ 1 w 14"/>
                  <a:gd name="T55" fmla="*/ 25 h 58"/>
                  <a:gd name="T56" fmla="*/ 1 w 14"/>
                  <a:gd name="T57" fmla="*/ 31 h 58"/>
                  <a:gd name="T58" fmla="*/ 2 w 14"/>
                  <a:gd name="T59" fmla="*/ 38 h 58"/>
                  <a:gd name="T60" fmla="*/ 10 w 14"/>
                  <a:gd name="T61" fmla="*/ 58 h 58"/>
                  <a:gd name="T62" fmla="*/ 14 w 14"/>
                  <a:gd name="T63" fmla="*/ 55 h 58"/>
                  <a:gd name="T64" fmla="*/ 10 w 14"/>
                  <a:gd name="T65" fmla="*/ 53 h 58"/>
                  <a:gd name="T66" fmla="*/ 6 w 14"/>
                  <a:gd name="T67" fmla="*/ 45 h 58"/>
                  <a:gd name="T68" fmla="*/ 3 w 14"/>
                  <a:gd name="T69" fmla="*/ 10 h 58"/>
                  <a:gd name="T70" fmla="*/ 3 w 14"/>
                  <a:gd name="T71" fmla="*/ 10 h 58"/>
                  <a:gd name="T72" fmla="*/ 3 w 14"/>
                  <a:gd name="T73" fmla="*/ 1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" h="58">
                    <a:moveTo>
                      <a:pt x="6" y="45"/>
                    </a:moveTo>
                    <a:cubicBezTo>
                      <a:pt x="5" y="44"/>
                      <a:pt x="2" y="31"/>
                      <a:pt x="2" y="31"/>
                    </a:cubicBezTo>
                    <a:cubicBezTo>
                      <a:pt x="2" y="31"/>
                      <a:pt x="1" y="30"/>
                      <a:pt x="4" y="31"/>
                    </a:cubicBezTo>
                    <a:cubicBezTo>
                      <a:pt x="7" y="31"/>
                      <a:pt x="10" y="27"/>
                      <a:pt x="10" y="27"/>
                    </a:cubicBezTo>
                    <a:cubicBezTo>
                      <a:pt x="10" y="27"/>
                      <a:pt x="6" y="29"/>
                      <a:pt x="5" y="30"/>
                    </a:cubicBezTo>
                    <a:cubicBezTo>
                      <a:pt x="4" y="30"/>
                      <a:pt x="2" y="28"/>
                      <a:pt x="2" y="27"/>
                    </a:cubicBezTo>
                    <a:cubicBezTo>
                      <a:pt x="3" y="27"/>
                      <a:pt x="3" y="24"/>
                      <a:pt x="4" y="23"/>
                    </a:cubicBezTo>
                    <a:cubicBezTo>
                      <a:pt x="5" y="22"/>
                      <a:pt x="5" y="20"/>
                      <a:pt x="5" y="18"/>
                    </a:cubicBezTo>
                    <a:cubicBezTo>
                      <a:pt x="9" y="17"/>
                      <a:pt x="12" y="22"/>
                      <a:pt x="12" y="22"/>
                    </a:cubicBezTo>
                    <a:cubicBezTo>
                      <a:pt x="12" y="22"/>
                      <a:pt x="11" y="19"/>
                      <a:pt x="9" y="18"/>
                    </a:cubicBezTo>
                    <a:cubicBezTo>
                      <a:pt x="7" y="16"/>
                      <a:pt x="5" y="16"/>
                      <a:pt x="5" y="16"/>
                    </a:cubicBezTo>
                    <a:cubicBezTo>
                      <a:pt x="7" y="15"/>
                      <a:pt x="10" y="16"/>
                      <a:pt x="11" y="16"/>
                    </a:cubicBezTo>
                    <a:cubicBezTo>
                      <a:pt x="10" y="15"/>
                      <a:pt x="7" y="14"/>
                      <a:pt x="6" y="13"/>
                    </a:cubicBezTo>
                    <a:cubicBezTo>
                      <a:pt x="7" y="11"/>
                      <a:pt x="9" y="12"/>
                      <a:pt x="9" y="12"/>
                    </a:cubicBezTo>
                    <a:cubicBezTo>
                      <a:pt x="7" y="9"/>
                      <a:pt x="2" y="12"/>
                      <a:pt x="2" y="12"/>
                    </a:cubicBezTo>
                    <a:cubicBezTo>
                      <a:pt x="2" y="11"/>
                      <a:pt x="5" y="9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9"/>
                      <a:pt x="3" y="8"/>
                      <a:pt x="3" y="8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2" y="6"/>
                      <a:pt x="2" y="7"/>
                    </a:cubicBezTo>
                    <a:cubicBezTo>
                      <a:pt x="1" y="7"/>
                      <a:pt x="2" y="13"/>
                      <a:pt x="2" y="13"/>
                    </a:cubicBezTo>
                    <a:cubicBezTo>
                      <a:pt x="2" y="13"/>
                      <a:pt x="0" y="13"/>
                      <a:pt x="0" y="14"/>
                    </a:cubicBezTo>
                    <a:cubicBezTo>
                      <a:pt x="1" y="15"/>
                      <a:pt x="0" y="17"/>
                      <a:pt x="0" y="18"/>
                    </a:cubicBezTo>
                    <a:cubicBezTo>
                      <a:pt x="1" y="19"/>
                      <a:pt x="2" y="19"/>
                      <a:pt x="2" y="19"/>
                    </a:cubicBezTo>
                    <a:cubicBezTo>
                      <a:pt x="2" y="19"/>
                      <a:pt x="1" y="24"/>
                      <a:pt x="1" y="25"/>
                    </a:cubicBezTo>
                    <a:cubicBezTo>
                      <a:pt x="1" y="26"/>
                      <a:pt x="1" y="30"/>
                      <a:pt x="1" y="31"/>
                    </a:cubicBezTo>
                    <a:cubicBezTo>
                      <a:pt x="1" y="33"/>
                      <a:pt x="2" y="38"/>
                      <a:pt x="2" y="38"/>
                    </a:cubicBezTo>
                    <a:cubicBezTo>
                      <a:pt x="2" y="38"/>
                      <a:pt x="8" y="56"/>
                      <a:pt x="10" y="58"/>
                    </a:cubicBezTo>
                    <a:cubicBezTo>
                      <a:pt x="10" y="58"/>
                      <a:pt x="12" y="56"/>
                      <a:pt x="14" y="55"/>
                    </a:cubicBezTo>
                    <a:cubicBezTo>
                      <a:pt x="10" y="53"/>
                      <a:pt x="10" y="53"/>
                      <a:pt x="10" y="53"/>
                    </a:cubicBezTo>
                    <a:cubicBezTo>
                      <a:pt x="10" y="53"/>
                      <a:pt x="7" y="46"/>
                      <a:pt x="6" y="45"/>
                    </a:cubicBezTo>
                    <a:close/>
                    <a:moveTo>
                      <a:pt x="3" y="10"/>
                    </a:moveTo>
                    <a:cubicBezTo>
                      <a:pt x="3" y="10"/>
                      <a:pt x="3" y="10"/>
                      <a:pt x="3" y="10"/>
                    </a:cubicBezTo>
                    <a:cubicBezTo>
                      <a:pt x="3" y="10"/>
                      <a:pt x="3" y="10"/>
                      <a:pt x="3" y="1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2" name="Freeform 236"/>
              <p:cNvSpPr/>
              <p:nvPr/>
            </p:nvSpPr>
            <p:spPr bwMode="auto">
              <a:xfrm>
                <a:off x="169355" y="1909179"/>
                <a:ext cx="60325" cy="28575"/>
              </a:xfrm>
              <a:custGeom>
                <a:avLst/>
                <a:gdLst>
                  <a:gd name="T0" fmla="*/ 2 w 2"/>
                  <a:gd name="T1" fmla="*/ 1 h 1"/>
                  <a:gd name="T2" fmla="*/ 0 w 2"/>
                  <a:gd name="T3" fmla="*/ 0 h 1"/>
                  <a:gd name="T4" fmla="*/ 2 w 2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cubicBezTo>
                      <a:pt x="2" y="1"/>
                      <a:pt x="1" y="0"/>
                      <a:pt x="0" y="0"/>
                    </a:cubicBezTo>
                    <a:cubicBezTo>
                      <a:pt x="1" y="1"/>
                      <a:pt x="1" y="1"/>
                      <a:pt x="2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3" name="Freeform 237"/>
              <p:cNvSpPr/>
              <p:nvPr/>
            </p:nvSpPr>
            <p:spPr bwMode="auto">
              <a:xfrm>
                <a:off x="350330" y="702679"/>
                <a:ext cx="541337" cy="676275"/>
              </a:xfrm>
              <a:custGeom>
                <a:avLst/>
                <a:gdLst>
                  <a:gd name="T0" fmla="*/ 10 w 18"/>
                  <a:gd name="T1" fmla="*/ 22 h 23"/>
                  <a:gd name="T2" fmla="*/ 13 w 18"/>
                  <a:gd name="T3" fmla="*/ 20 h 23"/>
                  <a:gd name="T4" fmla="*/ 16 w 18"/>
                  <a:gd name="T5" fmla="*/ 14 h 23"/>
                  <a:gd name="T6" fmla="*/ 17 w 18"/>
                  <a:gd name="T7" fmla="*/ 14 h 23"/>
                  <a:gd name="T8" fmla="*/ 18 w 18"/>
                  <a:gd name="T9" fmla="*/ 11 h 23"/>
                  <a:gd name="T10" fmla="*/ 17 w 18"/>
                  <a:gd name="T11" fmla="*/ 8 h 23"/>
                  <a:gd name="T12" fmla="*/ 18 w 18"/>
                  <a:gd name="T13" fmla="*/ 1 h 23"/>
                  <a:gd name="T14" fmla="*/ 7 w 18"/>
                  <a:gd name="T15" fmla="*/ 0 h 23"/>
                  <a:gd name="T16" fmla="*/ 3 w 18"/>
                  <a:gd name="T17" fmla="*/ 2 h 23"/>
                  <a:gd name="T18" fmla="*/ 3 w 18"/>
                  <a:gd name="T19" fmla="*/ 8 h 23"/>
                  <a:gd name="T20" fmla="*/ 1 w 18"/>
                  <a:gd name="T21" fmla="*/ 8 h 23"/>
                  <a:gd name="T22" fmla="*/ 3 w 18"/>
                  <a:gd name="T23" fmla="*/ 14 h 23"/>
                  <a:gd name="T24" fmla="*/ 4 w 18"/>
                  <a:gd name="T25" fmla="*/ 20 h 23"/>
                  <a:gd name="T26" fmla="*/ 10 w 18"/>
                  <a:gd name="T27" fmla="*/ 2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8" h="23">
                    <a:moveTo>
                      <a:pt x="10" y="22"/>
                    </a:moveTo>
                    <a:cubicBezTo>
                      <a:pt x="11" y="23"/>
                      <a:pt x="12" y="21"/>
                      <a:pt x="13" y="20"/>
                    </a:cubicBezTo>
                    <a:cubicBezTo>
                      <a:pt x="13" y="20"/>
                      <a:pt x="16" y="16"/>
                      <a:pt x="16" y="14"/>
                    </a:cubicBezTo>
                    <a:cubicBezTo>
                      <a:pt x="16" y="14"/>
                      <a:pt x="17" y="15"/>
                      <a:pt x="17" y="14"/>
                    </a:cubicBezTo>
                    <a:cubicBezTo>
                      <a:pt x="17" y="14"/>
                      <a:pt x="17" y="12"/>
                      <a:pt x="18" y="11"/>
                    </a:cubicBezTo>
                    <a:cubicBezTo>
                      <a:pt x="18" y="11"/>
                      <a:pt x="18" y="8"/>
                      <a:pt x="17" y="8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1" y="8"/>
                      <a:pt x="1" y="8"/>
                    </a:cubicBezTo>
                    <a:cubicBezTo>
                      <a:pt x="1" y="8"/>
                      <a:pt x="0" y="14"/>
                      <a:pt x="3" y="14"/>
                    </a:cubicBezTo>
                    <a:cubicBezTo>
                      <a:pt x="3" y="14"/>
                      <a:pt x="3" y="18"/>
                      <a:pt x="4" y="20"/>
                    </a:cubicBezTo>
                    <a:cubicBezTo>
                      <a:pt x="6" y="21"/>
                      <a:pt x="7" y="22"/>
                      <a:pt x="10" y="22"/>
                    </a:cubicBezTo>
                    <a:close/>
                  </a:path>
                </a:pathLst>
              </a:custGeom>
              <a:solidFill>
                <a:srgbClr val="F2C2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4" name="Freeform 238"/>
              <p:cNvSpPr/>
              <p:nvPr/>
            </p:nvSpPr>
            <p:spPr bwMode="auto">
              <a:xfrm>
                <a:off x="350330" y="702679"/>
                <a:ext cx="269875" cy="647700"/>
              </a:xfrm>
              <a:custGeom>
                <a:avLst/>
                <a:gdLst>
                  <a:gd name="T0" fmla="*/ 7 w 9"/>
                  <a:gd name="T1" fmla="*/ 22 h 22"/>
                  <a:gd name="T2" fmla="*/ 5 w 9"/>
                  <a:gd name="T3" fmla="*/ 16 h 22"/>
                  <a:gd name="T4" fmla="*/ 6 w 9"/>
                  <a:gd name="T5" fmla="*/ 12 h 22"/>
                  <a:gd name="T6" fmla="*/ 5 w 9"/>
                  <a:gd name="T7" fmla="*/ 10 h 22"/>
                  <a:gd name="T8" fmla="*/ 7 w 9"/>
                  <a:gd name="T9" fmla="*/ 9 h 22"/>
                  <a:gd name="T10" fmla="*/ 8 w 9"/>
                  <a:gd name="T11" fmla="*/ 5 h 22"/>
                  <a:gd name="T12" fmla="*/ 9 w 9"/>
                  <a:gd name="T13" fmla="*/ 0 h 22"/>
                  <a:gd name="T14" fmla="*/ 7 w 9"/>
                  <a:gd name="T15" fmla="*/ 0 h 22"/>
                  <a:gd name="T16" fmla="*/ 3 w 9"/>
                  <a:gd name="T17" fmla="*/ 2 h 22"/>
                  <a:gd name="T18" fmla="*/ 3 w 9"/>
                  <a:gd name="T19" fmla="*/ 8 h 22"/>
                  <a:gd name="T20" fmla="*/ 1 w 9"/>
                  <a:gd name="T21" fmla="*/ 8 h 22"/>
                  <a:gd name="T22" fmla="*/ 3 w 9"/>
                  <a:gd name="T23" fmla="*/ 14 h 22"/>
                  <a:gd name="T24" fmla="*/ 4 w 9"/>
                  <a:gd name="T25" fmla="*/ 20 h 22"/>
                  <a:gd name="T26" fmla="*/ 7 w 9"/>
                  <a:gd name="T27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22">
                    <a:moveTo>
                      <a:pt x="7" y="22"/>
                    </a:moveTo>
                    <a:cubicBezTo>
                      <a:pt x="6" y="20"/>
                      <a:pt x="5" y="16"/>
                      <a:pt x="5" y="16"/>
                    </a:cubicBezTo>
                    <a:cubicBezTo>
                      <a:pt x="5" y="14"/>
                      <a:pt x="6" y="12"/>
                      <a:pt x="6" y="12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5" y="10"/>
                      <a:pt x="7" y="9"/>
                      <a:pt x="7" y="9"/>
                    </a:cubicBezTo>
                    <a:cubicBezTo>
                      <a:pt x="7" y="9"/>
                      <a:pt x="8" y="6"/>
                      <a:pt x="8" y="5"/>
                    </a:cubicBezTo>
                    <a:cubicBezTo>
                      <a:pt x="8" y="5"/>
                      <a:pt x="8" y="2"/>
                      <a:pt x="9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3" y="8"/>
                      <a:pt x="1" y="8"/>
                      <a:pt x="1" y="8"/>
                    </a:cubicBezTo>
                    <a:cubicBezTo>
                      <a:pt x="1" y="8"/>
                      <a:pt x="0" y="14"/>
                      <a:pt x="3" y="14"/>
                    </a:cubicBezTo>
                    <a:cubicBezTo>
                      <a:pt x="3" y="14"/>
                      <a:pt x="3" y="18"/>
                      <a:pt x="4" y="20"/>
                    </a:cubicBezTo>
                    <a:cubicBezTo>
                      <a:pt x="5" y="21"/>
                      <a:pt x="6" y="21"/>
                      <a:pt x="7" y="22"/>
                    </a:cubicBezTo>
                    <a:close/>
                  </a:path>
                </a:pathLst>
              </a:custGeom>
              <a:solidFill>
                <a:srgbClr val="EBB2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5" name="Freeform 239"/>
              <p:cNvSpPr/>
              <p:nvPr/>
            </p:nvSpPr>
            <p:spPr bwMode="auto">
              <a:xfrm>
                <a:off x="771018" y="937629"/>
                <a:ext cx="120650" cy="323850"/>
              </a:xfrm>
              <a:custGeom>
                <a:avLst/>
                <a:gdLst>
                  <a:gd name="T0" fmla="*/ 2 w 4"/>
                  <a:gd name="T1" fmla="*/ 6 h 11"/>
                  <a:gd name="T2" fmla="*/ 3 w 4"/>
                  <a:gd name="T3" fmla="*/ 6 h 11"/>
                  <a:gd name="T4" fmla="*/ 4 w 4"/>
                  <a:gd name="T5" fmla="*/ 2 h 11"/>
                  <a:gd name="T6" fmla="*/ 3 w 4"/>
                  <a:gd name="T7" fmla="*/ 0 h 11"/>
                  <a:gd name="T8" fmla="*/ 2 w 4"/>
                  <a:gd name="T9" fmla="*/ 6 h 11"/>
                  <a:gd name="T10" fmla="*/ 0 w 4"/>
                  <a:gd name="T11" fmla="*/ 7 h 11"/>
                  <a:gd name="T12" fmla="*/ 0 w 4"/>
                  <a:gd name="T13" fmla="*/ 11 h 11"/>
                  <a:gd name="T14" fmla="*/ 2 w 4"/>
                  <a:gd name="T1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11">
                    <a:moveTo>
                      <a:pt x="2" y="6"/>
                    </a:moveTo>
                    <a:cubicBezTo>
                      <a:pt x="2" y="6"/>
                      <a:pt x="3" y="7"/>
                      <a:pt x="3" y="6"/>
                    </a:cubicBezTo>
                    <a:cubicBezTo>
                      <a:pt x="3" y="6"/>
                      <a:pt x="4" y="4"/>
                      <a:pt x="4" y="2"/>
                    </a:cubicBezTo>
                    <a:cubicBezTo>
                      <a:pt x="4" y="1"/>
                      <a:pt x="4" y="0"/>
                      <a:pt x="3" y="0"/>
                    </a:cubicBezTo>
                    <a:cubicBezTo>
                      <a:pt x="3" y="0"/>
                      <a:pt x="2" y="5"/>
                      <a:pt x="2" y="6"/>
                    </a:cubicBezTo>
                    <a:cubicBezTo>
                      <a:pt x="1" y="6"/>
                      <a:pt x="0" y="7"/>
                      <a:pt x="0" y="7"/>
                    </a:cubicBezTo>
                    <a:cubicBezTo>
                      <a:pt x="0" y="8"/>
                      <a:pt x="0" y="9"/>
                      <a:pt x="0" y="11"/>
                    </a:cubicBezTo>
                    <a:cubicBezTo>
                      <a:pt x="1" y="10"/>
                      <a:pt x="2" y="7"/>
                      <a:pt x="2" y="6"/>
                    </a:cubicBezTo>
                    <a:close/>
                  </a:path>
                </a:pathLst>
              </a:custGeom>
              <a:solidFill>
                <a:srgbClr val="EBB2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6" name="Freeform 240"/>
              <p:cNvSpPr/>
              <p:nvPr/>
            </p:nvSpPr>
            <p:spPr bwMode="auto">
              <a:xfrm>
                <a:off x="380493" y="555042"/>
                <a:ext cx="541337" cy="500062"/>
              </a:xfrm>
              <a:custGeom>
                <a:avLst/>
                <a:gdLst>
                  <a:gd name="T0" fmla="*/ 17 w 18"/>
                  <a:gd name="T1" fmla="*/ 7 h 17"/>
                  <a:gd name="T2" fmla="*/ 12 w 18"/>
                  <a:gd name="T3" fmla="*/ 0 h 17"/>
                  <a:gd name="T4" fmla="*/ 9 w 18"/>
                  <a:gd name="T5" fmla="*/ 1 h 17"/>
                  <a:gd name="T6" fmla="*/ 6 w 18"/>
                  <a:gd name="T7" fmla="*/ 1 h 17"/>
                  <a:gd name="T8" fmla="*/ 4 w 18"/>
                  <a:gd name="T9" fmla="*/ 2 h 17"/>
                  <a:gd name="T10" fmla="*/ 0 w 18"/>
                  <a:gd name="T11" fmla="*/ 7 h 17"/>
                  <a:gd name="T12" fmla="*/ 1 w 18"/>
                  <a:gd name="T13" fmla="*/ 13 h 17"/>
                  <a:gd name="T14" fmla="*/ 1 w 18"/>
                  <a:gd name="T15" fmla="*/ 13 h 17"/>
                  <a:gd name="T16" fmla="*/ 2 w 18"/>
                  <a:gd name="T17" fmla="*/ 16 h 17"/>
                  <a:gd name="T18" fmla="*/ 2 w 18"/>
                  <a:gd name="T19" fmla="*/ 15 h 17"/>
                  <a:gd name="T20" fmla="*/ 3 w 18"/>
                  <a:gd name="T21" fmla="*/ 12 h 17"/>
                  <a:gd name="T22" fmla="*/ 3 w 18"/>
                  <a:gd name="T23" fmla="*/ 9 h 17"/>
                  <a:gd name="T24" fmla="*/ 4 w 18"/>
                  <a:gd name="T25" fmla="*/ 8 h 17"/>
                  <a:gd name="T26" fmla="*/ 8 w 18"/>
                  <a:gd name="T27" fmla="*/ 9 h 17"/>
                  <a:gd name="T28" fmla="*/ 10 w 18"/>
                  <a:gd name="T29" fmla="*/ 10 h 17"/>
                  <a:gd name="T30" fmla="*/ 11 w 18"/>
                  <a:gd name="T31" fmla="*/ 10 h 17"/>
                  <a:gd name="T32" fmla="*/ 12 w 18"/>
                  <a:gd name="T33" fmla="*/ 10 h 17"/>
                  <a:gd name="T34" fmla="*/ 14 w 18"/>
                  <a:gd name="T35" fmla="*/ 11 h 17"/>
                  <a:gd name="T36" fmla="*/ 14 w 18"/>
                  <a:gd name="T37" fmla="*/ 9 h 17"/>
                  <a:gd name="T38" fmla="*/ 14 w 18"/>
                  <a:gd name="T39" fmla="*/ 9 h 17"/>
                  <a:gd name="T40" fmla="*/ 15 w 18"/>
                  <a:gd name="T41" fmla="*/ 10 h 17"/>
                  <a:gd name="T42" fmla="*/ 15 w 18"/>
                  <a:gd name="T43" fmla="*/ 13 h 17"/>
                  <a:gd name="T44" fmla="*/ 15 w 18"/>
                  <a:gd name="T45" fmla="*/ 16 h 17"/>
                  <a:gd name="T46" fmla="*/ 15 w 18"/>
                  <a:gd name="T47" fmla="*/ 17 h 17"/>
                  <a:gd name="T48" fmla="*/ 16 w 18"/>
                  <a:gd name="T49" fmla="*/ 13 h 17"/>
                  <a:gd name="T50" fmla="*/ 17 w 18"/>
                  <a:gd name="T51" fmla="*/ 14 h 17"/>
                  <a:gd name="T52" fmla="*/ 17 w 18"/>
                  <a:gd name="T53" fmla="*/ 11 h 17"/>
                  <a:gd name="T54" fmla="*/ 17 w 18"/>
                  <a:gd name="T55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8" h="17">
                    <a:moveTo>
                      <a:pt x="17" y="7"/>
                    </a:moveTo>
                    <a:cubicBezTo>
                      <a:pt x="17" y="7"/>
                      <a:pt x="17" y="2"/>
                      <a:pt x="12" y="0"/>
                    </a:cubicBezTo>
                    <a:cubicBezTo>
                      <a:pt x="12" y="0"/>
                      <a:pt x="11" y="0"/>
                      <a:pt x="9" y="1"/>
                    </a:cubicBezTo>
                    <a:cubicBezTo>
                      <a:pt x="9" y="1"/>
                      <a:pt x="6" y="1"/>
                      <a:pt x="6" y="1"/>
                    </a:cubicBezTo>
                    <a:cubicBezTo>
                      <a:pt x="5" y="2"/>
                      <a:pt x="4" y="2"/>
                      <a:pt x="4" y="2"/>
                    </a:cubicBezTo>
                    <a:cubicBezTo>
                      <a:pt x="4" y="2"/>
                      <a:pt x="1" y="3"/>
                      <a:pt x="0" y="7"/>
                    </a:cubicBezTo>
                    <a:cubicBezTo>
                      <a:pt x="0" y="7"/>
                      <a:pt x="0" y="11"/>
                      <a:pt x="1" y="13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2" y="15"/>
                      <a:pt x="2" y="13"/>
                      <a:pt x="3" y="12"/>
                    </a:cubicBezTo>
                    <a:cubicBezTo>
                      <a:pt x="3" y="11"/>
                      <a:pt x="3" y="9"/>
                      <a:pt x="3" y="9"/>
                    </a:cubicBezTo>
                    <a:cubicBezTo>
                      <a:pt x="3" y="9"/>
                      <a:pt x="4" y="8"/>
                      <a:pt x="4" y="8"/>
                    </a:cubicBezTo>
                    <a:cubicBezTo>
                      <a:pt x="4" y="8"/>
                      <a:pt x="7" y="8"/>
                      <a:pt x="8" y="9"/>
                    </a:cubicBezTo>
                    <a:cubicBezTo>
                      <a:pt x="8" y="9"/>
                      <a:pt x="8" y="10"/>
                      <a:pt x="10" y="10"/>
                    </a:cubicBezTo>
                    <a:cubicBezTo>
                      <a:pt x="10" y="10"/>
                      <a:pt x="10" y="10"/>
                      <a:pt x="11" y="10"/>
                    </a:cubicBezTo>
                    <a:cubicBezTo>
                      <a:pt x="11" y="10"/>
                      <a:pt x="11" y="10"/>
                      <a:pt x="12" y="10"/>
                    </a:cubicBezTo>
                    <a:cubicBezTo>
                      <a:pt x="14" y="9"/>
                      <a:pt x="14" y="11"/>
                      <a:pt x="14" y="11"/>
                    </a:cubicBezTo>
                    <a:cubicBezTo>
                      <a:pt x="14" y="10"/>
                      <a:pt x="14" y="10"/>
                      <a:pt x="14" y="9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4" y="9"/>
                      <a:pt x="15" y="9"/>
                      <a:pt x="15" y="10"/>
                    </a:cubicBezTo>
                    <a:cubicBezTo>
                      <a:pt x="15" y="11"/>
                      <a:pt x="15" y="12"/>
                      <a:pt x="15" y="13"/>
                    </a:cubicBezTo>
                    <a:cubicBezTo>
                      <a:pt x="15" y="14"/>
                      <a:pt x="15" y="16"/>
                      <a:pt x="15" y="16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16" y="13"/>
                      <a:pt x="16" y="13"/>
                      <a:pt x="16" y="13"/>
                    </a:cubicBezTo>
                    <a:cubicBezTo>
                      <a:pt x="16" y="13"/>
                      <a:pt x="17" y="13"/>
                      <a:pt x="17" y="14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17" y="11"/>
                      <a:pt x="18" y="8"/>
                      <a:pt x="17" y="7"/>
                    </a:cubicBezTo>
                    <a:close/>
                  </a:path>
                </a:pathLst>
              </a:custGeom>
              <a:solidFill>
                <a:srgbClr val="2624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7" name="Freeform 241"/>
              <p:cNvSpPr/>
              <p:nvPr/>
            </p:nvSpPr>
            <p:spPr bwMode="auto">
              <a:xfrm>
                <a:off x="951993" y="1937754"/>
                <a:ext cx="88900" cy="530225"/>
              </a:xfrm>
              <a:custGeom>
                <a:avLst/>
                <a:gdLst>
                  <a:gd name="T0" fmla="*/ 2 w 3"/>
                  <a:gd name="T1" fmla="*/ 10 h 18"/>
                  <a:gd name="T2" fmla="*/ 1 w 3"/>
                  <a:gd name="T3" fmla="*/ 0 h 18"/>
                  <a:gd name="T4" fmla="*/ 1 w 3"/>
                  <a:gd name="T5" fmla="*/ 0 h 18"/>
                  <a:gd name="T6" fmla="*/ 0 w 3"/>
                  <a:gd name="T7" fmla="*/ 16 h 18"/>
                  <a:gd name="T8" fmla="*/ 0 w 3"/>
                  <a:gd name="T9" fmla="*/ 18 h 18"/>
                  <a:gd name="T10" fmla="*/ 3 w 3"/>
                  <a:gd name="T11" fmla="*/ 18 h 18"/>
                  <a:gd name="T12" fmla="*/ 2 w 3"/>
                  <a:gd name="T13" fmla="*/ 1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18">
                    <a:moveTo>
                      <a:pt x="2" y="10"/>
                    </a:moveTo>
                    <a:cubicBezTo>
                      <a:pt x="3" y="8"/>
                      <a:pt x="2" y="2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8"/>
                      <a:pt x="1" y="18"/>
                      <a:pt x="3" y="18"/>
                    </a:cubicBezTo>
                    <a:cubicBezTo>
                      <a:pt x="2" y="16"/>
                      <a:pt x="2" y="12"/>
                      <a:pt x="2" y="1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88" name="Freeform 242"/>
              <p:cNvSpPr/>
              <p:nvPr/>
            </p:nvSpPr>
            <p:spPr bwMode="auto">
              <a:xfrm>
                <a:off x="740855" y="1467854"/>
                <a:ext cx="330200" cy="1911350"/>
              </a:xfrm>
              <a:custGeom>
                <a:avLst/>
                <a:gdLst>
                  <a:gd name="T0" fmla="*/ 5 w 11"/>
                  <a:gd name="T1" fmla="*/ 63 h 65"/>
                  <a:gd name="T2" fmla="*/ 10 w 11"/>
                  <a:gd name="T3" fmla="*/ 65 h 65"/>
                  <a:gd name="T4" fmla="*/ 11 w 11"/>
                  <a:gd name="T5" fmla="*/ 64 h 65"/>
                  <a:gd name="T6" fmla="*/ 8 w 11"/>
                  <a:gd name="T7" fmla="*/ 33 h 65"/>
                  <a:gd name="T8" fmla="*/ 8 w 11"/>
                  <a:gd name="T9" fmla="*/ 20 h 65"/>
                  <a:gd name="T10" fmla="*/ 8 w 11"/>
                  <a:gd name="T11" fmla="*/ 11 h 65"/>
                  <a:gd name="T12" fmla="*/ 5 w 11"/>
                  <a:gd name="T13" fmla="*/ 3 h 65"/>
                  <a:gd name="T14" fmla="*/ 0 w 11"/>
                  <a:gd name="T15" fmla="*/ 0 h 65"/>
                  <a:gd name="T16" fmla="*/ 0 w 11"/>
                  <a:gd name="T17" fmla="*/ 3 h 65"/>
                  <a:gd name="T18" fmla="*/ 5 w 11"/>
                  <a:gd name="T19" fmla="*/ 17 h 65"/>
                  <a:gd name="T20" fmla="*/ 4 w 11"/>
                  <a:gd name="T21" fmla="*/ 27 h 65"/>
                  <a:gd name="T22" fmla="*/ 6 w 11"/>
                  <a:gd name="T23" fmla="*/ 46 h 65"/>
                  <a:gd name="T24" fmla="*/ 5 w 11"/>
                  <a:gd name="T25" fmla="*/ 63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" h="65">
                    <a:moveTo>
                      <a:pt x="5" y="63"/>
                    </a:moveTo>
                    <a:cubicBezTo>
                      <a:pt x="10" y="65"/>
                      <a:pt x="10" y="65"/>
                      <a:pt x="10" y="65"/>
                    </a:cubicBezTo>
                    <a:cubicBezTo>
                      <a:pt x="11" y="64"/>
                      <a:pt x="11" y="64"/>
                      <a:pt x="11" y="64"/>
                    </a:cubicBezTo>
                    <a:cubicBezTo>
                      <a:pt x="11" y="64"/>
                      <a:pt x="10" y="40"/>
                      <a:pt x="8" y="33"/>
                    </a:cubicBezTo>
                    <a:cubicBezTo>
                      <a:pt x="8" y="33"/>
                      <a:pt x="8" y="22"/>
                      <a:pt x="8" y="20"/>
                    </a:cubicBezTo>
                    <a:cubicBezTo>
                      <a:pt x="8" y="17"/>
                      <a:pt x="8" y="12"/>
                      <a:pt x="8" y="11"/>
                    </a:cubicBezTo>
                    <a:cubicBezTo>
                      <a:pt x="8" y="10"/>
                      <a:pt x="6" y="5"/>
                      <a:pt x="5" y="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6" y="14"/>
                      <a:pt x="5" y="17"/>
                    </a:cubicBezTo>
                    <a:cubicBezTo>
                      <a:pt x="5" y="17"/>
                      <a:pt x="4" y="26"/>
                      <a:pt x="4" y="27"/>
                    </a:cubicBezTo>
                    <a:cubicBezTo>
                      <a:pt x="4" y="28"/>
                      <a:pt x="6" y="45"/>
                      <a:pt x="6" y="46"/>
                    </a:cubicBezTo>
                    <a:cubicBezTo>
                      <a:pt x="6" y="48"/>
                      <a:pt x="5" y="63"/>
                      <a:pt x="5" y="63"/>
                    </a:cubicBezTo>
                    <a:close/>
                  </a:path>
                </a:pathLst>
              </a:custGeom>
              <a:solidFill>
                <a:srgbClr val="2624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8" name="组合 17"/>
            <p:cNvGrpSpPr/>
            <p:nvPr/>
          </p:nvGrpSpPr>
          <p:grpSpPr>
            <a:xfrm>
              <a:off x="2892389" y="2207505"/>
              <a:ext cx="518601" cy="1961055"/>
              <a:chOff x="1730731" y="964677"/>
              <a:chExt cx="1350963" cy="5108576"/>
            </a:xfrm>
          </p:grpSpPr>
          <p:sp>
            <p:nvSpPr>
              <p:cNvPr id="19" name="Freeform 67"/>
              <p:cNvSpPr/>
              <p:nvPr/>
            </p:nvSpPr>
            <p:spPr bwMode="auto">
              <a:xfrm>
                <a:off x="2227619" y="4400028"/>
                <a:ext cx="400050" cy="1485900"/>
              </a:xfrm>
              <a:custGeom>
                <a:avLst/>
                <a:gdLst>
                  <a:gd name="T0" fmla="*/ 4 w 55"/>
                  <a:gd name="T1" fmla="*/ 196 h 206"/>
                  <a:gd name="T2" fmla="*/ 38 w 55"/>
                  <a:gd name="T3" fmla="*/ 177 h 206"/>
                  <a:gd name="T4" fmla="*/ 48 w 55"/>
                  <a:gd name="T5" fmla="*/ 151 h 206"/>
                  <a:gd name="T6" fmla="*/ 42 w 55"/>
                  <a:gd name="T7" fmla="*/ 124 h 206"/>
                  <a:gd name="T8" fmla="*/ 55 w 55"/>
                  <a:gd name="T9" fmla="*/ 77 h 206"/>
                  <a:gd name="T10" fmla="*/ 33 w 55"/>
                  <a:gd name="T11" fmla="*/ 2 h 206"/>
                  <a:gd name="T12" fmla="*/ 0 w 55"/>
                  <a:gd name="T13" fmla="*/ 0 h 206"/>
                  <a:gd name="T14" fmla="*/ 8 w 55"/>
                  <a:gd name="T15" fmla="*/ 25 h 206"/>
                  <a:gd name="T16" fmla="*/ 18 w 55"/>
                  <a:gd name="T17" fmla="*/ 142 h 206"/>
                  <a:gd name="T18" fmla="*/ 19 w 55"/>
                  <a:gd name="T19" fmla="*/ 160 h 206"/>
                  <a:gd name="T20" fmla="*/ 9 w 55"/>
                  <a:gd name="T21" fmla="*/ 189 h 206"/>
                  <a:gd name="T22" fmla="*/ 4 w 55"/>
                  <a:gd name="T23" fmla="*/ 196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5" h="206">
                    <a:moveTo>
                      <a:pt x="4" y="196"/>
                    </a:moveTo>
                    <a:cubicBezTo>
                      <a:pt x="4" y="196"/>
                      <a:pt x="28" y="206"/>
                      <a:pt x="38" y="177"/>
                    </a:cubicBezTo>
                    <a:cubicBezTo>
                      <a:pt x="48" y="148"/>
                      <a:pt x="48" y="151"/>
                      <a:pt x="48" y="151"/>
                    </a:cubicBezTo>
                    <a:cubicBezTo>
                      <a:pt x="48" y="151"/>
                      <a:pt x="42" y="136"/>
                      <a:pt x="42" y="124"/>
                    </a:cubicBezTo>
                    <a:cubicBezTo>
                      <a:pt x="42" y="113"/>
                      <a:pt x="54" y="82"/>
                      <a:pt x="55" y="77"/>
                    </a:cubicBezTo>
                    <a:cubicBezTo>
                      <a:pt x="55" y="72"/>
                      <a:pt x="33" y="2"/>
                      <a:pt x="33" y="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2" y="20"/>
                      <a:pt x="8" y="25"/>
                    </a:cubicBezTo>
                    <a:cubicBezTo>
                      <a:pt x="8" y="25"/>
                      <a:pt x="19" y="135"/>
                      <a:pt x="18" y="142"/>
                    </a:cubicBezTo>
                    <a:cubicBezTo>
                      <a:pt x="18" y="149"/>
                      <a:pt x="20" y="157"/>
                      <a:pt x="19" y="160"/>
                    </a:cubicBezTo>
                    <a:cubicBezTo>
                      <a:pt x="18" y="163"/>
                      <a:pt x="15" y="181"/>
                      <a:pt x="9" y="189"/>
                    </a:cubicBezTo>
                    <a:cubicBezTo>
                      <a:pt x="9" y="189"/>
                      <a:pt x="7" y="195"/>
                      <a:pt x="4" y="196"/>
                    </a:cubicBezTo>
                    <a:close/>
                  </a:path>
                </a:pathLst>
              </a:custGeom>
              <a:solidFill>
                <a:srgbClr val="F2C2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Freeform 68"/>
              <p:cNvSpPr/>
              <p:nvPr/>
            </p:nvSpPr>
            <p:spPr bwMode="auto">
              <a:xfrm>
                <a:off x="2430819" y="5503340"/>
                <a:ext cx="160338" cy="303213"/>
              </a:xfrm>
              <a:custGeom>
                <a:avLst/>
                <a:gdLst>
                  <a:gd name="T0" fmla="*/ 0 w 22"/>
                  <a:gd name="T1" fmla="*/ 42 h 42"/>
                  <a:gd name="T2" fmla="*/ 5 w 22"/>
                  <a:gd name="T3" fmla="*/ 27 h 42"/>
                  <a:gd name="T4" fmla="*/ 15 w 22"/>
                  <a:gd name="T5" fmla="*/ 0 h 42"/>
                  <a:gd name="T6" fmla="*/ 22 w 22"/>
                  <a:gd name="T7" fmla="*/ 2 h 42"/>
                  <a:gd name="T8" fmla="*/ 0 w 22"/>
                  <a:gd name="T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42">
                    <a:moveTo>
                      <a:pt x="0" y="42"/>
                    </a:moveTo>
                    <a:cubicBezTo>
                      <a:pt x="0" y="42"/>
                      <a:pt x="3" y="28"/>
                      <a:pt x="5" y="27"/>
                    </a:cubicBezTo>
                    <a:cubicBezTo>
                      <a:pt x="6" y="27"/>
                      <a:pt x="15" y="2"/>
                      <a:pt x="15" y="0"/>
                    </a:cubicBezTo>
                    <a:cubicBezTo>
                      <a:pt x="22" y="2"/>
                      <a:pt x="22" y="2"/>
                      <a:pt x="22" y="2"/>
                    </a:cubicBez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EBB2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Freeform 69"/>
              <p:cNvSpPr/>
              <p:nvPr/>
            </p:nvSpPr>
            <p:spPr bwMode="auto">
              <a:xfrm>
                <a:off x="2132369" y="5684315"/>
                <a:ext cx="379413" cy="303213"/>
              </a:xfrm>
              <a:custGeom>
                <a:avLst/>
                <a:gdLst>
                  <a:gd name="T0" fmla="*/ 1 w 52"/>
                  <a:gd name="T1" fmla="*/ 32 h 42"/>
                  <a:gd name="T2" fmla="*/ 1 w 52"/>
                  <a:gd name="T3" fmla="*/ 37 h 42"/>
                  <a:gd name="T4" fmla="*/ 21 w 52"/>
                  <a:gd name="T5" fmla="*/ 40 h 42"/>
                  <a:gd name="T6" fmla="*/ 50 w 52"/>
                  <a:gd name="T7" fmla="*/ 17 h 42"/>
                  <a:gd name="T8" fmla="*/ 52 w 52"/>
                  <a:gd name="T9" fmla="*/ 0 h 42"/>
                  <a:gd name="T10" fmla="*/ 31 w 52"/>
                  <a:gd name="T11" fmla="*/ 18 h 42"/>
                  <a:gd name="T12" fmla="*/ 17 w 52"/>
                  <a:gd name="T13" fmla="*/ 18 h 42"/>
                  <a:gd name="T14" fmla="*/ 1 w 52"/>
                  <a:gd name="T15" fmla="*/ 3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2" h="42">
                    <a:moveTo>
                      <a:pt x="1" y="32"/>
                    </a:moveTo>
                    <a:cubicBezTo>
                      <a:pt x="1" y="32"/>
                      <a:pt x="0" y="34"/>
                      <a:pt x="1" y="37"/>
                    </a:cubicBezTo>
                    <a:cubicBezTo>
                      <a:pt x="6" y="41"/>
                      <a:pt x="15" y="42"/>
                      <a:pt x="21" y="40"/>
                    </a:cubicBezTo>
                    <a:cubicBezTo>
                      <a:pt x="41" y="32"/>
                      <a:pt x="50" y="17"/>
                      <a:pt x="50" y="17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2" y="0"/>
                      <a:pt x="36" y="17"/>
                      <a:pt x="31" y="18"/>
                    </a:cubicBezTo>
                    <a:cubicBezTo>
                      <a:pt x="26" y="19"/>
                      <a:pt x="17" y="18"/>
                      <a:pt x="17" y="18"/>
                    </a:cubicBezTo>
                    <a:lnTo>
                      <a:pt x="1" y="3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2" name="Freeform 70"/>
              <p:cNvSpPr/>
              <p:nvPr/>
            </p:nvSpPr>
            <p:spPr bwMode="auto">
              <a:xfrm>
                <a:off x="2227619" y="4400028"/>
                <a:ext cx="400050" cy="1168400"/>
              </a:xfrm>
              <a:custGeom>
                <a:avLst/>
                <a:gdLst>
                  <a:gd name="T0" fmla="*/ 0 w 55"/>
                  <a:gd name="T1" fmla="*/ 0 h 162"/>
                  <a:gd name="T2" fmla="*/ 3 w 55"/>
                  <a:gd name="T3" fmla="*/ 14 h 162"/>
                  <a:gd name="T4" fmla="*/ 7 w 55"/>
                  <a:gd name="T5" fmla="*/ 7 h 162"/>
                  <a:gd name="T6" fmla="*/ 35 w 55"/>
                  <a:gd name="T7" fmla="*/ 26 h 162"/>
                  <a:gd name="T8" fmla="*/ 40 w 55"/>
                  <a:gd name="T9" fmla="*/ 83 h 162"/>
                  <a:gd name="T10" fmla="*/ 34 w 55"/>
                  <a:gd name="T11" fmla="*/ 130 h 162"/>
                  <a:gd name="T12" fmla="*/ 27 w 55"/>
                  <a:gd name="T13" fmla="*/ 157 h 162"/>
                  <a:gd name="T14" fmla="*/ 37 w 55"/>
                  <a:gd name="T15" fmla="*/ 157 h 162"/>
                  <a:gd name="T16" fmla="*/ 44 w 55"/>
                  <a:gd name="T17" fmla="*/ 156 h 162"/>
                  <a:gd name="T18" fmla="*/ 48 w 55"/>
                  <a:gd name="T19" fmla="*/ 151 h 162"/>
                  <a:gd name="T20" fmla="*/ 42 w 55"/>
                  <a:gd name="T21" fmla="*/ 124 h 162"/>
                  <a:gd name="T22" fmla="*/ 55 w 55"/>
                  <a:gd name="T23" fmla="*/ 77 h 162"/>
                  <a:gd name="T24" fmla="*/ 33 w 55"/>
                  <a:gd name="T25" fmla="*/ 2 h 162"/>
                  <a:gd name="T26" fmla="*/ 0 w 55"/>
                  <a:gd name="T27" fmla="*/ 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5" h="162">
                    <a:moveTo>
                      <a:pt x="0" y="0"/>
                    </a:moveTo>
                    <a:cubicBezTo>
                      <a:pt x="0" y="0"/>
                      <a:pt x="1" y="7"/>
                      <a:pt x="3" y="14"/>
                    </a:cubicBezTo>
                    <a:cubicBezTo>
                      <a:pt x="4" y="10"/>
                      <a:pt x="7" y="7"/>
                      <a:pt x="7" y="7"/>
                    </a:cubicBezTo>
                    <a:cubicBezTo>
                      <a:pt x="7" y="7"/>
                      <a:pt x="32" y="18"/>
                      <a:pt x="35" y="26"/>
                    </a:cubicBezTo>
                    <a:cubicBezTo>
                      <a:pt x="37" y="35"/>
                      <a:pt x="44" y="70"/>
                      <a:pt x="40" y="83"/>
                    </a:cubicBezTo>
                    <a:cubicBezTo>
                      <a:pt x="37" y="96"/>
                      <a:pt x="34" y="124"/>
                      <a:pt x="34" y="130"/>
                    </a:cubicBezTo>
                    <a:cubicBezTo>
                      <a:pt x="34" y="136"/>
                      <a:pt x="36" y="152"/>
                      <a:pt x="27" y="157"/>
                    </a:cubicBezTo>
                    <a:cubicBezTo>
                      <a:pt x="27" y="157"/>
                      <a:pt x="30" y="162"/>
                      <a:pt x="37" y="157"/>
                    </a:cubicBezTo>
                    <a:cubicBezTo>
                      <a:pt x="40" y="155"/>
                      <a:pt x="42" y="155"/>
                      <a:pt x="44" y="156"/>
                    </a:cubicBezTo>
                    <a:cubicBezTo>
                      <a:pt x="47" y="149"/>
                      <a:pt x="48" y="151"/>
                      <a:pt x="48" y="151"/>
                    </a:cubicBezTo>
                    <a:cubicBezTo>
                      <a:pt x="48" y="151"/>
                      <a:pt x="42" y="136"/>
                      <a:pt x="42" y="124"/>
                    </a:cubicBezTo>
                    <a:cubicBezTo>
                      <a:pt x="42" y="113"/>
                      <a:pt x="54" y="82"/>
                      <a:pt x="55" y="77"/>
                    </a:cubicBezTo>
                    <a:cubicBezTo>
                      <a:pt x="55" y="72"/>
                      <a:pt x="33" y="2"/>
                      <a:pt x="33" y="2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BB2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3" name="Freeform 71"/>
              <p:cNvSpPr/>
              <p:nvPr/>
            </p:nvSpPr>
            <p:spPr bwMode="auto">
              <a:xfrm>
                <a:off x="2278419" y="4579415"/>
                <a:ext cx="131763" cy="58738"/>
              </a:xfrm>
              <a:custGeom>
                <a:avLst/>
                <a:gdLst>
                  <a:gd name="T0" fmla="*/ 0 w 18"/>
                  <a:gd name="T1" fmla="*/ 0 h 8"/>
                  <a:gd name="T2" fmla="*/ 1 w 18"/>
                  <a:gd name="T3" fmla="*/ 0 h 8"/>
                  <a:gd name="T4" fmla="*/ 1 w 18"/>
                  <a:gd name="T5" fmla="*/ 8 h 8"/>
                  <a:gd name="T6" fmla="*/ 18 w 18"/>
                  <a:gd name="T7" fmla="*/ 2 h 8"/>
                  <a:gd name="T8" fmla="*/ 0 w 18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8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3"/>
                      <a:pt x="1" y="8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8" y="2"/>
                      <a:pt x="7" y="3"/>
                      <a:pt x="0" y="0"/>
                    </a:cubicBezTo>
                    <a:close/>
                  </a:path>
                </a:pathLst>
              </a:custGeom>
              <a:solidFill>
                <a:srgbClr val="EBB2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4" name="Freeform 72"/>
              <p:cNvSpPr/>
              <p:nvPr/>
            </p:nvSpPr>
            <p:spPr bwMode="auto">
              <a:xfrm>
                <a:off x="2402244" y="4377803"/>
                <a:ext cx="554038" cy="1573213"/>
              </a:xfrm>
              <a:custGeom>
                <a:avLst/>
                <a:gdLst>
                  <a:gd name="T0" fmla="*/ 0 w 76"/>
                  <a:gd name="T1" fmla="*/ 211 h 218"/>
                  <a:gd name="T2" fmla="*/ 14 w 76"/>
                  <a:gd name="T3" fmla="*/ 175 h 218"/>
                  <a:gd name="T4" fmla="*/ 24 w 76"/>
                  <a:gd name="T5" fmla="*/ 142 h 218"/>
                  <a:gd name="T6" fmla="*/ 19 w 76"/>
                  <a:gd name="T7" fmla="*/ 35 h 218"/>
                  <a:gd name="T8" fmla="*/ 10 w 76"/>
                  <a:gd name="T9" fmla="*/ 7 h 218"/>
                  <a:gd name="T10" fmla="*/ 61 w 76"/>
                  <a:gd name="T11" fmla="*/ 0 h 218"/>
                  <a:gd name="T12" fmla="*/ 62 w 76"/>
                  <a:gd name="T13" fmla="*/ 29 h 218"/>
                  <a:gd name="T14" fmla="*/ 65 w 76"/>
                  <a:gd name="T15" fmla="*/ 104 h 218"/>
                  <a:gd name="T16" fmla="*/ 52 w 76"/>
                  <a:gd name="T17" fmla="*/ 166 h 218"/>
                  <a:gd name="T18" fmla="*/ 24 w 76"/>
                  <a:gd name="T19" fmla="*/ 218 h 218"/>
                  <a:gd name="T20" fmla="*/ 0 w 76"/>
                  <a:gd name="T21" fmla="*/ 211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6" h="218">
                    <a:moveTo>
                      <a:pt x="0" y="211"/>
                    </a:moveTo>
                    <a:cubicBezTo>
                      <a:pt x="0" y="211"/>
                      <a:pt x="10" y="183"/>
                      <a:pt x="14" y="175"/>
                    </a:cubicBezTo>
                    <a:cubicBezTo>
                      <a:pt x="18" y="167"/>
                      <a:pt x="23" y="146"/>
                      <a:pt x="24" y="142"/>
                    </a:cubicBezTo>
                    <a:cubicBezTo>
                      <a:pt x="26" y="138"/>
                      <a:pt x="23" y="42"/>
                      <a:pt x="19" y="35"/>
                    </a:cubicBezTo>
                    <a:cubicBezTo>
                      <a:pt x="14" y="28"/>
                      <a:pt x="6" y="8"/>
                      <a:pt x="10" y="7"/>
                    </a:cubicBezTo>
                    <a:cubicBezTo>
                      <a:pt x="13" y="5"/>
                      <a:pt x="61" y="0"/>
                      <a:pt x="61" y="0"/>
                    </a:cubicBezTo>
                    <a:cubicBezTo>
                      <a:pt x="61" y="0"/>
                      <a:pt x="59" y="24"/>
                      <a:pt x="62" y="29"/>
                    </a:cubicBezTo>
                    <a:cubicBezTo>
                      <a:pt x="64" y="34"/>
                      <a:pt x="76" y="73"/>
                      <a:pt x="65" y="104"/>
                    </a:cubicBezTo>
                    <a:cubicBezTo>
                      <a:pt x="53" y="136"/>
                      <a:pt x="46" y="148"/>
                      <a:pt x="52" y="166"/>
                    </a:cubicBezTo>
                    <a:cubicBezTo>
                      <a:pt x="24" y="218"/>
                      <a:pt x="24" y="218"/>
                      <a:pt x="24" y="218"/>
                    </a:cubicBezTo>
                    <a:lnTo>
                      <a:pt x="0" y="211"/>
                    </a:lnTo>
                    <a:close/>
                  </a:path>
                </a:pathLst>
              </a:custGeom>
              <a:solidFill>
                <a:srgbClr val="F2C2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5" name="Freeform 73"/>
              <p:cNvSpPr/>
              <p:nvPr/>
            </p:nvSpPr>
            <p:spPr bwMode="auto">
              <a:xfrm>
                <a:off x="2672119" y="4400028"/>
                <a:ext cx="284163" cy="1176338"/>
              </a:xfrm>
              <a:custGeom>
                <a:avLst/>
                <a:gdLst>
                  <a:gd name="T0" fmla="*/ 9 w 39"/>
                  <a:gd name="T1" fmla="*/ 9 h 163"/>
                  <a:gd name="T2" fmla="*/ 16 w 39"/>
                  <a:gd name="T3" fmla="*/ 34 h 163"/>
                  <a:gd name="T4" fmla="*/ 7 w 39"/>
                  <a:gd name="T5" fmla="*/ 130 h 163"/>
                  <a:gd name="T6" fmla="*/ 8 w 39"/>
                  <a:gd name="T7" fmla="*/ 163 h 163"/>
                  <a:gd name="T8" fmla="*/ 13 w 39"/>
                  <a:gd name="T9" fmla="*/ 156 h 163"/>
                  <a:gd name="T10" fmla="*/ 13 w 39"/>
                  <a:gd name="T11" fmla="*/ 156 h 163"/>
                  <a:gd name="T12" fmla="*/ 28 w 39"/>
                  <a:gd name="T13" fmla="*/ 101 h 163"/>
                  <a:gd name="T14" fmla="*/ 25 w 39"/>
                  <a:gd name="T15" fmla="*/ 26 h 163"/>
                  <a:gd name="T16" fmla="*/ 23 w 39"/>
                  <a:gd name="T17" fmla="*/ 0 h 163"/>
                  <a:gd name="T18" fmla="*/ 9 w 39"/>
                  <a:gd name="T19" fmla="*/ 9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9" h="163">
                    <a:moveTo>
                      <a:pt x="9" y="9"/>
                    </a:moveTo>
                    <a:cubicBezTo>
                      <a:pt x="9" y="9"/>
                      <a:pt x="13" y="30"/>
                      <a:pt x="16" y="34"/>
                    </a:cubicBezTo>
                    <a:cubicBezTo>
                      <a:pt x="20" y="38"/>
                      <a:pt x="26" y="86"/>
                      <a:pt x="7" y="130"/>
                    </a:cubicBezTo>
                    <a:cubicBezTo>
                      <a:pt x="7" y="130"/>
                      <a:pt x="0" y="150"/>
                      <a:pt x="8" y="163"/>
                    </a:cubicBezTo>
                    <a:cubicBezTo>
                      <a:pt x="8" y="163"/>
                      <a:pt x="12" y="149"/>
                      <a:pt x="13" y="156"/>
                    </a:cubicBezTo>
                    <a:cubicBezTo>
                      <a:pt x="13" y="156"/>
                      <a:pt x="13" y="156"/>
                      <a:pt x="13" y="156"/>
                    </a:cubicBezTo>
                    <a:cubicBezTo>
                      <a:pt x="11" y="141"/>
                      <a:pt x="17" y="129"/>
                      <a:pt x="28" y="101"/>
                    </a:cubicBezTo>
                    <a:cubicBezTo>
                      <a:pt x="39" y="70"/>
                      <a:pt x="27" y="31"/>
                      <a:pt x="25" y="26"/>
                    </a:cubicBezTo>
                    <a:cubicBezTo>
                      <a:pt x="23" y="22"/>
                      <a:pt x="23" y="7"/>
                      <a:pt x="23" y="0"/>
                    </a:cubicBezTo>
                    <a:lnTo>
                      <a:pt x="9" y="9"/>
                    </a:lnTo>
                    <a:close/>
                  </a:path>
                </a:pathLst>
              </a:custGeom>
              <a:solidFill>
                <a:srgbClr val="EBB2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6" name="Freeform 74"/>
              <p:cNvSpPr/>
              <p:nvPr/>
            </p:nvSpPr>
            <p:spPr bwMode="auto">
              <a:xfrm>
                <a:off x="2029181" y="2920478"/>
                <a:ext cx="898525" cy="1687513"/>
              </a:xfrm>
              <a:custGeom>
                <a:avLst/>
                <a:gdLst>
                  <a:gd name="T0" fmla="*/ 0 w 123"/>
                  <a:gd name="T1" fmla="*/ 29 h 234"/>
                  <a:gd name="T2" fmla="*/ 24 w 123"/>
                  <a:gd name="T3" fmla="*/ 218 h 234"/>
                  <a:gd name="T4" fmla="*/ 112 w 123"/>
                  <a:gd name="T5" fmla="*/ 218 h 234"/>
                  <a:gd name="T6" fmla="*/ 116 w 123"/>
                  <a:gd name="T7" fmla="*/ 94 h 234"/>
                  <a:gd name="T8" fmla="*/ 120 w 123"/>
                  <a:gd name="T9" fmla="*/ 41 h 234"/>
                  <a:gd name="T10" fmla="*/ 110 w 123"/>
                  <a:gd name="T11" fmla="*/ 17 h 234"/>
                  <a:gd name="T12" fmla="*/ 16 w 123"/>
                  <a:gd name="T13" fmla="*/ 0 h 234"/>
                  <a:gd name="T14" fmla="*/ 0 w 123"/>
                  <a:gd name="T15" fmla="*/ 29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3" h="234">
                    <a:moveTo>
                      <a:pt x="0" y="29"/>
                    </a:moveTo>
                    <a:cubicBezTo>
                      <a:pt x="0" y="29"/>
                      <a:pt x="13" y="189"/>
                      <a:pt x="24" y="218"/>
                    </a:cubicBezTo>
                    <a:cubicBezTo>
                      <a:pt x="24" y="218"/>
                      <a:pt x="88" y="234"/>
                      <a:pt x="112" y="218"/>
                    </a:cubicBezTo>
                    <a:cubicBezTo>
                      <a:pt x="112" y="218"/>
                      <a:pt x="112" y="106"/>
                      <a:pt x="116" y="94"/>
                    </a:cubicBezTo>
                    <a:cubicBezTo>
                      <a:pt x="121" y="82"/>
                      <a:pt x="123" y="50"/>
                      <a:pt x="120" y="41"/>
                    </a:cubicBezTo>
                    <a:cubicBezTo>
                      <a:pt x="117" y="33"/>
                      <a:pt x="110" y="17"/>
                      <a:pt x="110" y="17"/>
                    </a:cubicBezTo>
                    <a:cubicBezTo>
                      <a:pt x="16" y="0"/>
                      <a:pt x="16" y="0"/>
                      <a:pt x="16" y="0"/>
                    </a:cubicBez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2624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7" name="Freeform 75"/>
              <p:cNvSpPr/>
              <p:nvPr/>
            </p:nvSpPr>
            <p:spPr bwMode="auto">
              <a:xfrm>
                <a:off x="2503844" y="1483790"/>
                <a:ext cx="241300" cy="231775"/>
              </a:xfrm>
              <a:custGeom>
                <a:avLst/>
                <a:gdLst>
                  <a:gd name="T0" fmla="*/ 0 w 152"/>
                  <a:gd name="T1" fmla="*/ 82 h 146"/>
                  <a:gd name="T2" fmla="*/ 10 w 152"/>
                  <a:gd name="T3" fmla="*/ 146 h 146"/>
                  <a:gd name="T4" fmla="*/ 92 w 152"/>
                  <a:gd name="T5" fmla="*/ 141 h 146"/>
                  <a:gd name="T6" fmla="*/ 152 w 152"/>
                  <a:gd name="T7" fmla="*/ 0 h 146"/>
                  <a:gd name="T8" fmla="*/ 106 w 152"/>
                  <a:gd name="T9" fmla="*/ 9 h 146"/>
                  <a:gd name="T10" fmla="*/ 0 w 152"/>
                  <a:gd name="T11" fmla="*/ 82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2" h="146">
                    <a:moveTo>
                      <a:pt x="0" y="82"/>
                    </a:moveTo>
                    <a:lnTo>
                      <a:pt x="10" y="146"/>
                    </a:lnTo>
                    <a:lnTo>
                      <a:pt x="92" y="141"/>
                    </a:lnTo>
                    <a:lnTo>
                      <a:pt x="152" y="0"/>
                    </a:lnTo>
                    <a:lnTo>
                      <a:pt x="106" y="9"/>
                    </a:lnTo>
                    <a:lnTo>
                      <a:pt x="0" y="82"/>
                    </a:lnTo>
                    <a:close/>
                  </a:path>
                </a:pathLst>
              </a:custGeom>
              <a:solidFill>
                <a:srgbClr val="EBB2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8" name="Freeform 76"/>
              <p:cNvSpPr/>
              <p:nvPr/>
            </p:nvSpPr>
            <p:spPr bwMode="auto">
              <a:xfrm>
                <a:off x="2256194" y="1015478"/>
                <a:ext cx="269875" cy="836613"/>
              </a:xfrm>
              <a:custGeom>
                <a:avLst/>
                <a:gdLst>
                  <a:gd name="T0" fmla="*/ 31 w 37"/>
                  <a:gd name="T1" fmla="*/ 116 h 116"/>
                  <a:gd name="T2" fmla="*/ 14 w 37"/>
                  <a:gd name="T3" fmla="*/ 93 h 116"/>
                  <a:gd name="T4" fmla="*/ 15 w 37"/>
                  <a:gd name="T5" fmla="*/ 75 h 116"/>
                  <a:gd name="T6" fmla="*/ 7 w 37"/>
                  <a:gd name="T7" fmla="*/ 57 h 116"/>
                  <a:gd name="T8" fmla="*/ 12 w 37"/>
                  <a:gd name="T9" fmla="*/ 11 h 116"/>
                  <a:gd name="T10" fmla="*/ 37 w 37"/>
                  <a:gd name="T11" fmla="*/ 0 h 116"/>
                  <a:gd name="T12" fmla="*/ 31 w 37"/>
                  <a:gd name="T13" fmla="*/ 16 h 116"/>
                  <a:gd name="T14" fmla="*/ 37 w 37"/>
                  <a:gd name="T15" fmla="*/ 92 h 116"/>
                  <a:gd name="T16" fmla="*/ 31 w 37"/>
                  <a:gd name="T17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116">
                    <a:moveTo>
                      <a:pt x="31" y="116"/>
                    </a:moveTo>
                    <a:cubicBezTo>
                      <a:pt x="31" y="116"/>
                      <a:pt x="18" y="99"/>
                      <a:pt x="14" y="93"/>
                    </a:cubicBezTo>
                    <a:cubicBezTo>
                      <a:pt x="10" y="88"/>
                      <a:pt x="13" y="80"/>
                      <a:pt x="15" y="75"/>
                    </a:cubicBezTo>
                    <a:cubicBezTo>
                      <a:pt x="15" y="75"/>
                      <a:pt x="7" y="67"/>
                      <a:pt x="7" y="57"/>
                    </a:cubicBezTo>
                    <a:cubicBezTo>
                      <a:pt x="6" y="48"/>
                      <a:pt x="0" y="20"/>
                      <a:pt x="12" y="11"/>
                    </a:cubicBezTo>
                    <a:cubicBezTo>
                      <a:pt x="24" y="2"/>
                      <a:pt x="37" y="0"/>
                      <a:pt x="37" y="0"/>
                    </a:cubicBezTo>
                    <a:cubicBezTo>
                      <a:pt x="37" y="0"/>
                      <a:pt x="35" y="14"/>
                      <a:pt x="31" y="16"/>
                    </a:cubicBezTo>
                    <a:cubicBezTo>
                      <a:pt x="28" y="18"/>
                      <a:pt x="37" y="92"/>
                      <a:pt x="37" y="92"/>
                    </a:cubicBezTo>
                    <a:lnTo>
                      <a:pt x="31" y="116"/>
                    </a:lnTo>
                    <a:close/>
                  </a:path>
                </a:pathLst>
              </a:custGeom>
              <a:solidFill>
                <a:srgbClr val="4127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9" name="Freeform 77"/>
              <p:cNvSpPr/>
              <p:nvPr/>
            </p:nvSpPr>
            <p:spPr bwMode="auto">
              <a:xfrm>
                <a:off x="2321281" y="1679053"/>
                <a:ext cx="358775" cy="295275"/>
              </a:xfrm>
              <a:custGeom>
                <a:avLst/>
                <a:gdLst>
                  <a:gd name="T0" fmla="*/ 0 w 49"/>
                  <a:gd name="T1" fmla="*/ 36 h 41"/>
                  <a:gd name="T2" fmla="*/ 13 w 49"/>
                  <a:gd name="T3" fmla="*/ 8 h 41"/>
                  <a:gd name="T4" fmla="*/ 25 w 49"/>
                  <a:gd name="T5" fmla="*/ 2 h 41"/>
                  <a:gd name="T6" fmla="*/ 43 w 49"/>
                  <a:gd name="T7" fmla="*/ 0 h 41"/>
                  <a:gd name="T8" fmla="*/ 49 w 49"/>
                  <a:gd name="T9" fmla="*/ 10 h 41"/>
                  <a:gd name="T10" fmla="*/ 11 w 49"/>
                  <a:gd name="T11" fmla="*/ 41 h 41"/>
                  <a:gd name="T12" fmla="*/ 0 w 49"/>
                  <a:gd name="T13" fmla="*/ 36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41">
                    <a:moveTo>
                      <a:pt x="0" y="36"/>
                    </a:moveTo>
                    <a:cubicBezTo>
                      <a:pt x="0" y="36"/>
                      <a:pt x="7" y="11"/>
                      <a:pt x="13" y="8"/>
                    </a:cubicBezTo>
                    <a:cubicBezTo>
                      <a:pt x="18" y="6"/>
                      <a:pt x="25" y="2"/>
                      <a:pt x="25" y="2"/>
                    </a:cubicBezTo>
                    <a:cubicBezTo>
                      <a:pt x="25" y="2"/>
                      <a:pt x="35" y="4"/>
                      <a:pt x="43" y="0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11" y="41"/>
                      <a:pt x="11" y="41"/>
                      <a:pt x="11" y="41"/>
                    </a:cubicBezTo>
                    <a:lnTo>
                      <a:pt x="0" y="36"/>
                    </a:lnTo>
                    <a:close/>
                  </a:path>
                </a:pathLst>
              </a:custGeom>
              <a:solidFill>
                <a:srgbClr val="DC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Freeform 78"/>
              <p:cNvSpPr/>
              <p:nvPr/>
            </p:nvSpPr>
            <p:spPr bwMode="auto">
              <a:xfrm>
                <a:off x="2029181" y="2920478"/>
                <a:ext cx="890588" cy="1608138"/>
              </a:xfrm>
              <a:custGeom>
                <a:avLst/>
                <a:gdLst>
                  <a:gd name="T0" fmla="*/ 110 w 122"/>
                  <a:gd name="T1" fmla="*/ 17 h 223"/>
                  <a:gd name="T2" fmla="*/ 16 w 122"/>
                  <a:gd name="T3" fmla="*/ 0 h 223"/>
                  <a:gd name="T4" fmla="*/ 0 w 122"/>
                  <a:gd name="T5" fmla="*/ 29 h 223"/>
                  <a:gd name="T6" fmla="*/ 2 w 122"/>
                  <a:gd name="T7" fmla="*/ 45 h 223"/>
                  <a:gd name="T8" fmla="*/ 8 w 122"/>
                  <a:gd name="T9" fmla="*/ 41 h 223"/>
                  <a:gd name="T10" fmla="*/ 22 w 122"/>
                  <a:gd name="T11" fmla="*/ 20 h 223"/>
                  <a:gd name="T12" fmla="*/ 24 w 122"/>
                  <a:gd name="T13" fmla="*/ 31 h 223"/>
                  <a:gd name="T14" fmla="*/ 44 w 122"/>
                  <a:gd name="T15" fmla="*/ 40 h 223"/>
                  <a:gd name="T16" fmla="*/ 102 w 122"/>
                  <a:gd name="T17" fmla="*/ 38 h 223"/>
                  <a:gd name="T18" fmla="*/ 109 w 122"/>
                  <a:gd name="T19" fmla="*/ 45 h 223"/>
                  <a:gd name="T20" fmla="*/ 88 w 122"/>
                  <a:gd name="T21" fmla="*/ 43 h 223"/>
                  <a:gd name="T22" fmla="*/ 110 w 122"/>
                  <a:gd name="T23" fmla="*/ 56 h 223"/>
                  <a:gd name="T24" fmla="*/ 106 w 122"/>
                  <a:gd name="T25" fmla="*/ 70 h 223"/>
                  <a:gd name="T26" fmla="*/ 102 w 122"/>
                  <a:gd name="T27" fmla="*/ 92 h 223"/>
                  <a:gd name="T28" fmla="*/ 108 w 122"/>
                  <a:gd name="T29" fmla="*/ 178 h 223"/>
                  <a:gd name="T30" fmla="*/ 98 w 122"/>
                  <a:gd name="T31" fmla="*/ 223 h 223"/>
                  <a:gd name="T32" fmla="*/ 112 w 122"/>
                  <a:gd name="T33" fmla="*/ 218 h 223"/>
                  <a:gd name="T34" fmla="*/ 116 w 122"/>
                  <a:gd name="T35" fmla="*/ 94 h 223"/>
                  <a:gd name="T36" fmla="*/ 119 w 122"/>
                  <a:gd name="T37" fmla="*/ 37 h 223"/>
                  <a:gd name="T38" fmla="*/ 110 w 122"/>
                  <a:gd name="T39" fmla="*/ 17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2" h="223">
                    <a:moveTo>
                      <a:pt x="110" y="17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29"/>
                      <a:pt x="1" y="35"/>
                      <a:pt x="2" y="45"/>
                    </a:cubicBezTo>
                    <a:cubicBezTo>
                      <a:pt x="4" y="44"/>
                      <a:pt x="7" y="43"/>
                      <a:pt x="8" y="41"/>
                    </a:cubicBezTo>
                    <a:cubicBezTo>
                      <a:pt x="12" y="38"/>
                      <a:pt x="22" y="20"/>
                      <a:pt x="22" y="20"/>
                    </a:cubicBezTo>
                    <a:cubicBezTo>
                      <a:pt x="24" y="31"/>
                      <a:pt x="24" y="31"/>
                      <a:pt x="24" y="31"/>
                    </a:cubicBezTo>
                    <a:cubicBezTo>
                      <a:pt x="24" y="31"/>
                      <a:pt x="37" y="39"/>
                      <a:pt x="44" y="40"/>
                    </a:cubicBezTo>
                    <a:cubicBezTo>
                      <a:pt x="52" y="41"/>
                      <a:pt x="99" y="36"/>
                      <a:pt x="102" y="38"/>
                    </a:cubicBezTo>
                    <a:cubicBezTo>
                      <a:pt x="106" y="41"/>
                      <a:pt x="107" y="42"/>
                      <a:pt x="109" y="45"/>
                    </a:cubicBezTo>
                    <a:cubicBezTo>
                      <a:pt x="109" y="45"/>
                      <a:pt x="95" y="40"/>
                      <a:pt x="88" y="43"/>
                    </a:cubicBezTo>
                    <a:cubicBezTo>
                      <a:pt x="88" y="43"/>
                      <a:pt x="105" y="45"/>
                      <a:pt x="110" y="56"/>
                    </a:cubicBezTo>
                    <a:cubicBezTo>
                      <a:pt x="115" y="66"/>
                      <a:pt x="106" y="70"/>
                      <a:pt x="106" y="70"/>
                    </a:cubicBezTo>
                    <a:cubicBezTo>
                      <a:pt x="102" y="92"/>
                      <a:pt x="102" y="92"/>
                      <a:pt x="102" y="92"/>
                    </a:cubicBezTo>
                    <a:cubicBezTo>
                      <a:pt x="102" y="92"/>
                      <a:pt x="109" y="157"/>
                      <a:pt x="108" y="178"/>
                    </a:cubicBezTo>
                    <a:cubicBezTo>
                      <a:pt x="107" y="195"/>
                      <a:pt x="101" y="213"/>
                      <a:pt x="98" y="223"/>
                    </a:cubicBezTo>
                    <a:cubicBezTo>
                      <a:pt x="103" y="222"/>
                      <a:pt x="108" y="220"/>
                      <a:pt x="112" y="218"/>
                    </a:cubicBezTo>
                    <a:cubicBezTo>
                      <a:pt x="112" y="218"/>
                      <a:pt x="112" y="106"/>
                      <a:pt x="116" y="94"/>
                    </a:cubicBezTo>
                    <a:cubicBezTo>
                      <a:pt x="121" y="82"/>
                      <a:pt x="122" y="46"/>
                      <a:pt x="119" y="37"/>
                    </a:cubicBezTo>
                    <a:cubicBezTo>
                      <a:pt x="116" y="28"/>
                      <a:pt x="110" y="17"/>
                      <a:pt x="110" y="1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1" name="Freeform 79"/>
              <p:cNvSpPr/>
              <p:nvPr/>
            </p:nvSpPr>
            <p:spPr bwMode="auto">
              <a:xfrm>
                <a:off x="2138719" y="2487090"/>
                <a:ext cx="774700" cy="700088"/>
              </a:xfrm>
              <a:custGeom>
                <a:avLst/>
                <a:gdLst>
                  <a:gd name="T0" fmla="*/ 2 w 106"/>
                  <a:gd name="T1" fmla="*/ 73 h 97"/>
                  <a:gd name="T2" fmla="*/ 13 w 106"/>
                  <a:gd name="T3" fmla="*/ 92 h 97"/>
                  <a:gd name="T4" fmla="*/ 45 w 106"/>
                  <a:gd name="T5" fmla="*/ 96 h 97"/>
                  <a:gd name="T6" fmla="*/ 99 w 106"/>
                  <a:gd name="T7" fmla="*/ 94 h 97"/>
                  <a:gd name="T8" fmla="*/ 106 w 106"/>
                  <a:gd name="T9" fmla="*/ 89 h 97"/>
                  <a:gd name="T10" fmla="*/ 83 w 106"/>
                  <a:gd name="T11" fmla="*/ 41 h 97"/>
                  <a:gd name="T12" fmla="*/ 87 w 106"/>
                  <a:gd name="T13" fmla="*/ 0 h 97"/>
                  <a:gd name="T14" fmla="*/ 11 w 106"/>
                  <a:gd name="T15" fmla="*/ 21 h 97"/>
                  <a:gd name="T16" fmla="*/ 2 w 106"/>
                  <a:gd name="T17" fmla="*/ 73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6" h="97">
                    <a:moveTo>
                      <a:pt x="2" y="73"/>
                    </a:moveTo>
                    <a:cubicBezTo>
                      <a:pt x="2" y="73"/>
                      <a:pt x="0" y="90"/>
                      <a:pt x="13" y="92"/>
                    </a:cubicBezTo>
                    <a:cubicBezTo>
                      <a:pt x="25" y="94"/>
                      <a:pt x="37" y="97"/>
                      <a:pt x="45" y="96"/>
                    </a:cubicBezTo>
                    <a:cubicBezTo>
                      <a:pt x="53" y="95"/>
                      <a:pt x="99" y="94"/>
                      <a:pt x="99" y="94"/>
                    </a:cubicBezTo>
                    <a:cubicBezTo>
                      <a:pt x="106" y="89"/>
                      <a:pt x="106" y="89"/>
                      <a:pt x="106" y="89"/>
                    </a:cubicBezTo>
                    <a:cubicBezTo>
                      <a:pt x="106" y="89"/>
                      <a:pt x="84" y="57"/>
                      <a:pt x="83" y="41"/>
                    </a:cubicBezTo>
                    <a:cubicBezTo>
                      <a:pt x="82" y="24"/>
                      <a:pt x="87" y="0"/>
                      <a:pt x="87" y="0"/>
                    </a:cubicBezTo>
                    <a:cubicBezTo>
                      <a:pt x="11" y="21"/>
                      <a:pt x="11" y="21"/>
                      <a:pt x="11" y="21"/>
                    </a:cubicBezTo>
                    <a:lnTo>
                      <a:pt x="2" y="73"/>
                    </a:lnTo>
                    <a:close/>
                  </a:path>
                </a:pathLst>
              </a:custGeom>
              <a:solidFill>
                <a:srgbClr val="2624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2" name="Freeform 80"/>
              <p:cNvSpPr/>
              <p:nvPr/>
            </p:nvSpPr>
            <p:spPr bwMode="auto">
              <a:xfrm>
                <a:off x="2373669" y="2761728"/>
                <a:ext cx="28575" cy="417513"/>
              </a:xfrm>
              <a:custGeom>
                <a:avLst/>
                <a:gdLst>
                  <a:gd name="T0" fmla="*/ 0 w 4"/>
                  <a:gd name="T1" fmla="*/ 57 h 58"/>
                  <a:gd name="T2" fmla="*/ 3 w 4"/>
                  <a:gd name="T3" fmla="*/ 58 h 58"/>
                  <a:gd name="T4" fmla="*/ 4 w 4"/>
                  <a:gd name="T5" fmla="*/ 0 h 58"/>
                  <a:gd name="T6" fmla="*/ 0 w 4"/>
                  <a:gd name="T7" fmla="*/ 57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58">
                    <a:moveTo>
                      <a:pt x="0" y="57"/>
                    </a:moveTo>
                    <a:cubicBezTo>
                      <a:pt x="1" y="58"/>
                      <a:pt x="2" y="58"/>
                      <a:pt x="3" y="58"/>
                    </a:cubicBezTo>
                    <a:cubicBezTo>
                      <a:pt x="2" y="41"/>
                      <a:pt x="4" y="0"/>
                      <a:pt x="4" y="0"/>
                    </a:cubicBezTo>
                    <a:lnTo>
                      <a:pt x="0" y="5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3" name="Freeform 81"/>
              <p:cNvSpPr/>
              <p:nvPr/>
            </p:nvSpPr>
            <p:spPr bwMode="auto">
              <a:xfrm>
                <a:off x="2716569" y="2501378"/>
                <a:ext cx="196850" cy="663575"/>
              </a:xfrm>
              <a:custGeom>
                <a:avLst/>
                <a:gdLst>
                  <a:gd name="T0" fmla="*/ 20 w 27"/>
                  <a:gd name="T1" fmla="*/ 92 h 92"/>
                  <a:gd name="T2" fmla="*/ 27 w 27"/>
                  <a:gd name="T3" fmla="*/ 87 h 92"/>
                  <a:gd name="T4" fmla="*/ 4 w 27"/>
                  <a:gd name="T5" fmla="*/ 39 h 92"/>
                  <a:gd name="T6" fmla="*/ 7 w 27"/>
                  <a:gd name="T7" fmla="*/ 0 h 92"/>
                  <a:gd name="T8" fmla="*/ 2 w 27"/>
                  <a:gd name="T9" fmla="*/ 9 h 92"/>
                  <a:gd name="T10" fmla="*/ 1 w 27"/>
                  <a:gd name="T11" fmla="*/ 39 h 92"/>
                  <a:gd name="T12" fmla="*/ 7 w 27"/>
                  <a:gd name="T13" fmla="*/ 77 h 92"/>
                  <a:gd name="T14" fmla="*/ 7 w 27"/>
                  <a:gd name="T15" fmla="*/ 92 h 92"/>
                  <a:gd name="T16" fmla="*/ 20 w 27"/>
                  <a:gd name="T17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92">
                    <a:moveTo>
                      <a:pt x="20" y="92"/>
                    </a:moveTo>
                    <a:cubicBezTo>
                      <a:pt x="27" y="87"/>
                      <a:pt x="27" y="87"/>
                      <a:pt x="27" y="87"/>
                    </a:cubicBezTo>
                    <a:cubicBezTo>
                      <a:pt x="27" y="87"/>
                      <a:pt x="5" y="55"/>
                      <a:pt x="4" y="39"/>
                    </a:cubicBezTo>
                    <a:cubicBezTo>
                      <a:pt x="3" y="25"/>
                      <a:pt x="7" y="5"/>
                      <a:pt x="7" y="0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9"/>
                      <a:pt x="0" y="32"/>
                      <a:pt x="1" y="39"/>
                    </a:cubicBezTo>
                    <a:cubicBezTo>
                      <a:pt x="1" y="46"/>
                      <a:pt x="3" y="73"/>
                      <a:pt x="7" y="77"/>
                    </a:cubicBezTo>
                    <a:cubicBezTo>
                      <a:pt x="10" y="79"/>
                      <a:pt x="9" y="86"/>
                      <a:pt x="7" y="92"/>
                    </a:cubicBezTo>
                    <a:cubicBezTo>
                      <a:pt x="15" y="92"/>
                      <a:pt x="20" y="92"/>
                      <a:pt x="20" y="9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4" name="Freeform 82"/>
              <p:cNvSpPr/>
              <p:nvPr/>
            </p:nvSpPr>
            <p:spPr bwMode="auto">
              <a:xfrm>
                <a:off x="2154594" y="2768078"/>
                <a:ext cx="130175" cy="303213"/>
              </a:xfrm>
              <a:custGeom>
                <a:avLst/>
                <a:gdLst>
                  <a:gd name="T0" fmla="*/ 0 w 18"/>
                  <a:gd name="T1" fmla="*/ 42 h 42"/>
                  <a:gd name="T2" fmla="*/ 18 w 18"/>
                  <a:gd name="T3" fmla="*/ 0 h 42"/>
                  <a:gd name="T4" fmla="*/ 0 w 18"/>
                  <a:gd name="T5" fmla="*/ 35 h 42"/>
                  <a:gd name="T6" fmla="*/ 0 w 18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42">
                    <a:moveTo>
                      <a:pt x="0" y="42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18" y="0"/>
                      <a:pt x="9" y="17"/>
                      <a:pt x="0" y="35"/>
                    </a:cubicBezTo>
                    <a:cubicBezTo>
                      <a:pt x="0" y="36"/>
                      <a:pt x="0" y="39"/>
                      <a:pt x="0" y="4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5" name="Freeform 83"/>
              <p:cNvSpPr/>
              <p:nvPr/>
            </p:nvSpPr>
            <p:spPr bwMode="auto">
              <a:xfrm>
                <a:off x="2306994" y="3014140"/>
                <a:ext cx="50800" cy="158750"/>
              </a:xfrm>
              <a:custGeom>
                <a:avLst/>
                <a:gdLst>
                  <a:gd name="T0" fmla="*/ 7 w 7"/>
                  <a:gd name="T1" fmla="*/ 22 h 22"/>
                  <a:gd name="T2" fmla="*/ 5 w 7"/>
                  <a:gd name="T3" fmla="*/ 0 h 22"/>
                  <a:gd name="T4" fmla="*/ 0 w 7"/>
                  <a:gd name="T5" fmla="*/ 21 h 22"/>
                  <a:gd name="T6" fmla="*/ 7 w 7"/>
                  <a:gd name="T7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22">
                    <a:moveTo>
                      <a:pt x="7" y="22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3" y="12"/>
                      <a:pt x="0" y="21"/>
                    </a:cubicBezTo>
                    <a:cubicBezTo>
                      <a:pt x="3" y="21"/>
                      <a:pt x="5" y="22"/>
                      <a:pt x="7" y="2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6" name="Freeform 84"/>
              <p:cNvSpPr/>
              <p:nvPr/>
            </p:nvSpPr>
            <p:spPr bwMode="auto">
              <a:xfrm>
                <a:off x="2000606" y="2747440"/>
                <a:ext cx="255588" cy="468313"/>
              </a:xfrm>
              <a:custGeom>
                <a:avLst/>
                <a:gdLst>
                  <a:gd name="T0" fmla="*/ 0 w 35"/>
                  <a:gd name="T1" fmla="*/ 60 h 65"/>
                  <a:gd name="T2" fmla="*/ 12 w 35"/>
                  <a:gd name="T3" fmla="*/ 59 h 65"/>
                  <a:gd name="T4" fmla="*/ 35 w 35"/>
                  <a:gd name="T5" fmla="*/ 0 h 65"/>
                  <a:gd name="T6" fmla="*/ 10 w 35"/>
                  <a:gd name="T7" fmla="*/ 1 h 65"/>
                  <a:gd name="T8" fmla="*/ 0 w 35"/>
                  <a:gd name="T9" fmla="*/ 6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65">
                    <a:moveTo>
                      <a:pt x="0" y="60"/>
                    </a:moveTo>
                    <a:cubicBezTo>
                      <a:pt x="0" y="60"/>
                      <a:pt x="7" y="65"/>
                      <a:pt x="12" y="59"/>
                    </a:cubicBezTo>
                    <a:cubicBezTo>
                      <a:pt x="17" y="53"/>
                      <a:pt x="35" y="0"/>
                      <a:pt x="35" y="0"/>
                    </a:cubicBezTo>
                    <a:cubicBezTo>
                      <a:pt x="10" y="1"/>
                      <a:pt x="10" y="1"/>
                      <a:pt x="10" y="1"/>
                    </a:cubicBezTo>
                    <a:lnTo>
                      <a:pt x="0" y="60"/>
                    </a:lnTo>
                    <a:close/>
                  </a:path>
                </a:pathLst>
              </a:custGeom>
              <a:solidFill>
                <a:srgbClr val="2624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7" name="Freeform 85"/>
              <p:cNvSpPr/>
              <p:nvPr/>
            </p:nvSpPr>
            <p:spPr bwMode="auto">
              <a:xfrm>
                <a:off x="1795819" y="1736203"/>
                <a:ext cx="614363" cy="744538"/>
              </a:xfrm>
              <a:custGeom>
                <a:avLst/>
                <a:gdLst>
                  <a:gd name="T0" fmla="*/ 1 w 84"/>
                  <a:gd name="T1" fmla="*/ 103 h 103"/>
                  <a:gd name="T2" fmla="*/ 5 w 84"/>
                  <a:gd name="T3" fmla="*/ 91 h 103"/>
                  <a:gd name="T4" fmla="*/ 18 w 84"/>
                  <a:gd name="T5" fmla="*/ 74 h 103"/>
                  <a:gd name="T6" fmla="*/ 37 w 84"/>
                  <a:gd name="T7" fmla="*/ 48 h 103"/>
                  <a:gd name="T8" fmla="*/ 50 w 84"/>
                  <a:gd name="T9" fmla="*/ 17 h 103"/>
                  <a:gd name="T10" fmla="*/ 64 w 84"/>
                  <a:gd name="T11" fmla="*/ 10 h 103"/>
                  <a:gd name="T12" fmla="*/ 76 w 84"/>
                  <a:gd name="T13" fmla="*/ 3 h 103"/>
                  <a:gd name="T14" fmla="*/ 84 w 84"/>
                  <a:gd name="T15" fmla="*/ 0 h 103"/>
                  <a:gd name="T16" fmla="*/ 73 w 84"/>
                  <a:gd name="T17" fmla="*/ 30 h 103"/>
                  <a:gd name="T18" fmla="*/ 31 w 84"/>
                  <a:gd name="T19" fmla="*/ 90 h 103"/>
                  <a:gd name="T20" fmla="*/ 1 w 84"/>
                  <a:gd name="T21" fmla="*/ 10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4" h="103">
                    <a:moveTo>
                      <a:pt x="1" y="103"/>
                    </a:moveTo>
                    <a:cubicBezTo>
                      <a:pt x="1" y="103"/>
                      <a:pt x="0" y="94"/>
                      <a:pt x="5" y="91"/>
                    </a:cubicBezTo>
                    <a:cubicBezTo>
                      <a:pt x="10" y="88"/>
                      <a:pt x="16" y="76"/>
                      <a:pt x="18" y="74"/>
                    </a:cubicBezTo>
                    <a:cubicBezTo>
                      <a:pt x="19" y="71"/>
                      <a:pt x="34" y="55"/>
                      <a:pt x="37" y="48"/>
                    </a:cubicBezTo>
                    <a:cubicBezTo>
                      <a:pt x="40" y="41"/>
                      <a:pt x="46" y="22"/>
                      <a:pt x="50" y="17"/>
                    </a:cubicBezTo>
                    <a:cubicBezTo>
                      <a:pt x="54" y="13"/>
                      <a:pt x="64" y="10"/>
                      <a:pt x="64" y="10"/>
                    </a:cubicBezTo>
                    <a:cubicBezTo>
                      <a:pt x="64" y="10"/>
                      <a:pt x="74" y="3"/>
                      <a:pt x="76" y="3"/>
                    </a:cubicBezTo>
                    <a:cubicBezTo>
                      <a:pt x="79" y="2"/>
                      <a:pt x="84" y="0"/>
                      <a:pt x="84" y="0"/>
                    </a:cubicBezTo>
                    <a:cubicBezTo>
                      <a:pt x="84" y="0"/>
                      <a:pt x="77" y="25"/>
                      <a:pt x="73" y="30"/>
                    </a:cubicBezTo>
                    <a:cubicBezTo>
                      <a:pt x="68" y="36"/>
                      <a:pt x="31" y="90"/>
                      <a:pt x="31" y="90"/>
                    </a:cubicBezTo>
                    <a:lnTo>
                      <a:pt x="1" y="103"/>
                    </a:lnTo>
                    <a:close/>
                  </a:path>
                </a:pathLst>
              </a:custGeom>
              <a:solidFill>
                <a:srgbClr val="2624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8" name="Freeform 86"/>
              <p:cNvSpPr/>
              <p:nvPr/>
            </p:nvSpPr>
            <p:spPr bwMode="auto">
              <a:xfrm>
                <a:off x="2387956" y="1679053"/>
                <a:ext cx="415925" cy="887413"/>
              </a:xfrm>
              <a:custGeom>
                <a:avLst/>
                <a:gdLst>
                  <a:gd name="T0" fmla="*/ 37 w 57"/>
                  <a:gd name="T1" fmla="*/ 1 h 123"/>
                  <a:gd name="T2" fmla="*/ 0 w 57"/>
                  <a:gd name="T3" fmla="*/ 37 h 123"/>
                  <a:gd name="T4" fmla="*/ 1 w 57"/>
                  <a:gd name="T5" fmla="*/ 116 h 123"/>
                  <a:gd name="T6" fmla="*/ 43 w 57"/>
                  <a:gd name="T7" fmla="*/ 80 h 123"/>
                  <a:gd name="T8" fmla="*/ 57 w 57"/>
                  <a:gd name="T9" fmla="*/ 0 h 123"/>
                  <a:gd name="T10" fmla="*/ 38 w 57"/>
                  <a:gd name="T11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" h="123">
                    <a:moveTo>
                      <a:pt x="37" y="1"/>
                    </a:moveTo>
                    <a:cubicBezTo>
                      <a:pt x="37" y="1"/>
                      <a:pt x="8" y="26"/>
                      <a:pt x="0" y="37"/>
                    </a:cubicBezTo>
                    <a:cubicBezTo>
                      <a:pt x="1" y="116"/>
                      <a:pt x="1" y="116"/>
                      <a:pt x="1" y="116"/>
                    </a:cubicBezTo>
                    <a:cubicBezTo>
                      <a:pt x="1" y="116"/>
                      <a:pt x="32" y="123"/>
                      <a:pt x="43" y="80"/>
                    </a:cubicBezTo>
                    <a:cubicBezTo>
                      <a:pt x="53" y="37"/>
                      <a:pt x="57" y="0"/>
                      <a:pt x="57" y="0"/>
                    </a:cubicBezTo>
                    <a:cubicBezTo>
                      <a:pt x="38" y="0"/>
                      <a:pt x="38" y="0"/>
                      <a:pt x="38" y="0"/>
                    </a:cubicBezTo>
                  </a:path>
                </a:pathLst>
              </a:custGeom>
              <a:solidFill>
                <a:srgbClr val="2624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9" name="Freeform 87"/>
              <p:cNvSpPr/>
              <p:nvPr/>
            </p:nvSpPr>
            <p:spPr bwMode="auto">
              <a:xfrm>
                <a:off x="2022831" y="1894953"/>
                <a:ext cx="444500" cy="895350"/>
              </a:xfrm>
              <a:custGeom>
                <a:avLst/>
                <a:gdLst>
                  <a:gd name="T0" fmla="*/ 23 w 280"/>
                  <a:gd name="T1" fmla="*/ 23 h 564"/>
                  <a:gd name="T2" fmla="*/ 280 w 280"/>
                  <a:gd name="T3" fmla="*/ 0 h 564"/>
                  <a:gd name="T4" fmla="*/ 262 w 280"/>
                  <a:gd name="T5" fmla="*/ 564 h 564"/>
                  <a:gd name="T6" fmla="*/ 0 w 280"/>
                  <a:gd name="T7" fmla="*/ 560 h 564"/>
                  <a:gd name="T8" fmla="*/ 23 w 280"/>
                  <a:gd name="T9" fmla="*/ 23 h 5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0" h="564">
                    <a:moveTo>
                      <a:pt x="23" y="23"/>
                    </a:moveTo>
                    <a:lnTo>
                      <a:pt x="280" y="0"/>
                    </a:lnTo>
                    <a:lnTo>
                      <a:pt x="262" y="564"/>
                    </a:lnTo>
                    <a:lnTo>
                      <a:pt x="0" y="560"/>
                    </a:lnTo>
                    <a:lnTo>
                      <a:pt x="23" y="23"/>
                    </a:lnTo>
                    <a:close/>
                  </a:path>
                </a:pathLst>
              </a:custGeom>
              <a:solidFill>
                <a:srgbClr val="F7F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0" name="Freeform 88"/>
              <p:cNvSpPr/>
              <p:nvPr/>
            </p:nvSpPr>
            <p:spPr bwMode="auto">
              <a:xfrm>
                <a:off x="1978381" y="2277540"/>
                <a:ext cx="190500" cy="317500"/>
              </a:xfrm>
              <a:custGeom>
                <a:avLst/>
                <a:gdLst>
                  <a:gd name="T0" fmla="*/ 4 w 26"/>
                  <a:gd name="T1" fmla="*/ 38 h 44"/>
                  <a:gd name="T2" fmla="*/ 15 w 26"/>
                  <a:gd name="T3" fmla="*/ 44 h 44"/>
                  <a:gd name="T4" fmla="*/ 26 w 26"/>
                  <a:gd name="T5" fmla="*/ 43 h 44"/>
                  <a:gd name="T6" fmla="*/ 26 w 26"/>
                  <a:gd name="T7" fmla="*/ 28 h 44"/>
                  <a:gd name="T8" fmla="*/ 3 w 26"/>
                  <a:gd name="T9" fmla="*/ 0 h 44"/>
                  <a:gd name="T10" fmla="*/ 3 w 26"/>
                  <a:gd name="T11" fmla="*/ 13 h 44"/>
                  <a:gd name="T12" fmla="*/ 4 w 26"/>
                  <a:gd name="T13" fmla="*/ 38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44">
                    <a:moveTo>
                      <a:pt x="4" y="38"/>
                    </a:moveTo>
                    <a:cubicBezTo>
                      <a:pt x="4" y="38"/>
                      <a:pt x="10" y="44"/>
                      <a:pt x="15" y="44"/>
                    </a:cubicBezTo>
                    <a:cubicBezTo>
                      <a:pt x="21" y="43"/>
                      <a:pt x="26" y="43"/>
                      <a:pt x="26" y="43"/>
                    </a:cubicBezTo>
                    <a:cubicBezTo>
                      <a:pt x="26" y="28"/>
                      <a:pt x="26" y="28"/>
                      <a:pt x="26" y="28"/>
                    </a:cubicBezTo>
                    <a:cubicBezTo>
                      <a:pt x="26" y="28"/>
                      <a:pt x="15" y="3"/>
                      <a:pt x="3" y="0"/>
                    </a:cubicBezTo>
                    <a:cubicBezTo>
                      <a:pt x="3" y="0"/>
                      <a:pt x="0" y="10"/>
                      <a:pt x="3" y="13"/>
                    </a:cubicBezTo>
                    <a:cubicBezTo>
                      <a:pt x="7" y="16"/>
                      <a:pt x="4" y="38"/>
                      <a:pt x="4" y="38"/>
                    </a:cubicBezTo>
                    <a:close/>
                  </a:path>
                </a:pathLst>
              </a:custGeom>
              <a:solidFill>
                <a:srgbClr val="D69B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1" name="Freeform 89"/>
              <p:cNvSpPr/>
              <p:nvPr/>
            </p:nvSpPr>
            <p:spPr bwMode="auto">
              <a:xfrm>
                <a:off x="1730731" y="2356915"/>
                <a:ext cx="306388" cy="354013"/>
              </a:xfrm>
              <a:custGeom>
                <a:avLst/>
                <a:gdLst>
                  <a:gd name="T0" fmla="*/ 33 w 42"/>
                  <a:gd name="T1" fmla="*/ 0 h 49"/>
                  <a:gd name="T2" fmla="*/ 8 w 42"/>
                  <a:gd name="T3" fmla="*/ 15 h 49"/>
                  <a:gd name="T4" fmla="*/ 18 w 42"/>
                  <a:gd name="T5" fmla="*/ 45 h 49"/>
                  <a:gd name="T6" fmla="*/ 42 w 42"/>
                  <a:gd name="T7" fmla="*/ 29 h 49"/>
                  <a:gd name="T8" fmla="*/ 33 w 42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49">
                    <a:moveTo>
                      <a:pt x="33" y="0"/>
                    </a:moveTo>
                    <a:cubicBezTo>
                      <a:pt x="33" y="0"/>
                      <a:pt x="17" y="6"/>
                      <a:pt x="8" y="15"/>
                    </a:cubicBezTo>
                    <a:cubicBezTo>
                      <a:pt x="8" y="15"/>
                      <a:pt x="0" y="41"/>
                      <a:pt x="18" y="45"/>
                    </a:cubicBezTo>
                    <a:cubicBezTo>
                      <a:pt x="37" y="49"/>
                      <a:pt x="40" y="33"/>
                      <a:pt x="42" y="29"/>
                    </a:cubicBez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2624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2" name="Freeform 90"/>
              <p:cNvSpPr/>
              <p:nvPr/>
            </p:nvSpPr>
            <p:spPr bwMode="auto">
              <a:xfrm>
                <a:off x="2380019" y="1656828"/>
                <a:ext cx="539750" cy="858838"/>
              </a:xfrm>
              <a:custGeom>
                <a:avLst/>
                <a:gdLst>
                  <a:gd name="T0" fmla="*/ 0 w 74"/>
                  <a:gd name="T1" fmla="*/ 119 h 119"/>
                  <a:gd name="T2" fmla="*/ 18 w 74"/>
                  <a:gd name="T3" fmla="*/ 89 h 119"/>
                  <a:gd name="T4" fmla="*/ 21 w 74"/>
                  <a:gd name="T5" fmla="*/ 73 h 119"/>
                  <a:gd name="T6" fmla="*/ 25 w 74"/>
                  <a:gd name="T7" fmla="*/ 65 h 119"/>
                  <a:gd name="T8" fmla="*/ 31 w 74"/>
                  <a:gd name="T9" fmla="*/ 51 h 119"/>
                  <a:gd name="T10" fmla="*/ 40 w 74"/>
                  <a:gd name="T11" fmla="*/ 34 h 119"/>
                  <a:gd name="T12" fmla="*/ 44 w 74"/>
                  <a:gd name="T13" fmla="*/ 23 h 119"/>
                  <a:gd name="T14" fmla="*/ 13 w 74"/>
                  <a:gd name="T15" fmla="*/ 37 h 119"/>
                  <a:gd name="T16" fmla="*/ 41 w 74"/>
                  <a:gd name="T17" fmla="*/ 18 h 119"/>
                  <a:gd name="T18" fmla="*/ 42 w 74"/>
                  <a:gd name="T19" fmla="*/ 7 h 119"/>
                  <a:gd name="T20" fmla="*/ 62 w 74"/>
                  <a:gd name="T21" fmla="*/ 0 h 119"/>
                  <a:gd name="T22" fmla="*/ 74 w 74"/>
                  <a:gd name="T23" fmla="*/ 11 h 119"/>
                  <a:gd name="T24" fmla="*/ 60 w 74"/>
                  <a:gd name="T25" fmla="*/ 77 h 119"/>
                  <a:gd name="T26" fmla="*/ 32 w 74"/>
                  <a:gd name="T27" fmla="*/ 119 h 119"/>
                  <a:gd name="T28" fmla="*/ 0 w 74"/>
                  <a:gd name="T29" fmla="*/ 11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4" h="119">
                    <a:moveTo>
                      <a:pt x="0" y="119"/>
                    </a:moveTo>
                    <a:cubicBezTo>
                      <a:pt x="0" y="119"/>
                      <a:pt x="15" y="93"/>
                      <a:pt x="18" y="89"/>
                    </a:cubicBezTo>
                    <a:cubicBezTo>
                      <a:pt x="22" y="84"/>
                      <a:pt x="20" y="74"/>
                      <a:pt x="21" y="73"/>
                    </a:cubicBezTo>
                    <a:cubicBezTo>
                      <a:pt x="23" y="72"/>
                      <a:pt x="25" y="65"/>
                      <a:pt x="25" y="65"/>
                    </a:cubicBezTo>
                    <a:cubicBezTo>
                      <a:pt x="25" y="65"/>
                      <a:pt x="34" y="57"/>
                      <a:pt x="31" y="51"/>
                    </a:cubicBezTo>
                    <a:cubicBezTo>
                      <a:pt x="29" y="44"/>
                      <a:pt x="37" y="37"/>
                      <a:pt x="40" y="34"/>
                    </a:cubicBezTo>
                    <a:cubicBezTo>
                      <a:pt x="42" y="31"/>
                      <a:pt x="44" y="23"/>
                      <a:pt x="44" y="23"/>
                    </a:cubicBezTo>
                    <a:cubicBezTo>
                      <a:pt x="44" y="23"/>
                      <a:pt x="21" y="35"/>
                      <a:pt x="13" y="37"/>
                    </a:cubicBezTo>
                    <a:cubicBezTo>
                      <a:pt x="41" y="18"/>
                      <a:pt x="41" y="18"/>
                      <a:pt x="41" y="18"/>
                    </a:cubicBezTo>
                    <a:cubicBezTo>
                      <a:pt x="41" y="18"/>
                      <a:pt x="38" y="11"/>
                      <a:pt x="42" y="7"/>
                    </a:cubicBezTo>
                    <a:cubicBezTo>
                      <a:pt x="47" y="2"/>
                      <a:pt x="62" y="0"/>
                      <a:pt x="62" y="0"/>
                    </a:cubicBezTo>
                    <a:cubicBezTo>
                      <a:pt x="74" y="11"/>
                      <a:pt x="74" y="11"/>
                      <a:pt x="74" y="11"/>
                    </a:cubicBezTo>
                    <a:cubicBezTo>
                      <a:pt x="60" y="77"/>
                      <a:pt x="60" y="77"/>
                      <a:pt x="60" y="77"/>
                    </a:cubicBezTo>
                    <a:cubicBezTo>
                      <a:pt x="32" y="119"/>
                      <a:pt x="32" y="119"/>
                      <a:pt x="32" y="119"/>
                    </a:cubicBezTo>
                    <a:lnTo>
                      <a:pt x="0" y="1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3" name="Freeform 91"/>
              <p:cNvSpPr/>
              <p:nvPr/>
            </p:nvSpPr>
            <p:spPr bwMode="auto">
              <a:xfrm>
                <a:off x="1773594" y="2523603"/>
                <a:ext cx="292100" cy="187325"/>
              </a:xfrm>
              <a:custGeom>
                <a:avLst/>
                <a:gdLst>
                  <a:gd name="T0" fmla="*/ 40 w 40"/>
                  <a:gd name="T1" fmla="*/ 4 h 26"/>
                  <a:gd name="T2" fmla="*/ 34 w 40"/>
                  <a:gd name="T3" fmla="*/ 0 h 26"/>
                  <a:gd name="T4" fmla="*/ 27 w 40"/>
                  <a:gd name="T5" fmla="*/ 1 h 26"/>
                  <a:gd name="T6" fmla="*/ 7 w 40"/>
                  <a:gd name="T7" fmla="*/ 11 h 26"/>
                  <a:gd name="T8" fmla="*/ 0 w 40"/>
                  <a:gd name="T9" fmla="*/ 1 h 26"/>
                  <a:gd name="T10" fmla="*/ 12 w 40"/>
                  <a:gd name="T11" fmla="*/ 22 h 26"/>
                  <a:gd name="T12" fmla="*/ 40 w 40"/>
                  <a:gd name="T13" fmla="*/ 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26">
                    <a:moveTo>
                      <a:pt x="40" y="4"/>
                    </a:moveTo>
                    <a:cubicBezTo>
                      <a:pt x="34" y="0"/>
                      <a:pt x="34" y="0"/>
                      <a:pt x="34" y="0"/>
                    </a:cubicBezTo>
                    <a:cubicBezTo>
                      <a:pt x="31" y="1"/>
                      <a:pt x="27" y="1"/>
                      <a:pt x="27" y="1"/>
                    </a:cubicBezTo>
                    <a:cubicBezTo>
                      <a:pt x="26" y="1"/>
                      <a:pt x="15" y="11"/>
                      <a:pt x="7" y="11"/>
                    </a:cubicBezTo>
                    <a:cubicBezTo>
                      <a:pt x="3" y="11"/>
                      <a:pt x="1" y="6"/>
                      <a:pt x="0" y="1"/>
                    </a:cubicBezTo>
                    <a:cubicBezTo>
                      <a:pt x="0" y="9"/>
                      <a:pt x="1" y="20"/>
                      <a:pt x="12" y="22"/>
                    </a:cubicBezTo>
                    <a:cubicBezTo>
                      <a:pt x="31" y="26"/>
                      <a:pt x="38" y="7"/>
                      <a:pt x="40" y="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4" name="Freeform 92"/>
              <p:cNvSpPr/>
              <p:nvPr/>
            </p:nvSpPr>
            <p:spPr bwMode="auto">
              <a:xfrm>
                <a:off x="1883131" y="2163240"/>
                <a:ext cx="628650" cy="446088"/>
              </a:xfrm>
              <a:custGeom>
                <a:avLst/>
                <a:gdLst>
                  <a:gd name="T0" fmla="*/ 9 w 86"/>
                  <a:gd name="T1" fmla="*/ 30 h 62"/>
                  <a:gd name="T2" fmla="*/ 6 w 86"/>
                  <a:gd name="T3" fmla="*/ 50 h 62"/>
                  <a:gd name="T4" fmla="*/ 25 w 86"/>
                  <a:gd name="T5" fmla="*/ 54 h 62"/>
                  <a:gd name="T6" fmla="*/ 31 w 86"/>
                  <a:gd name="T7" fmla="*/ 44 h 62"/>
                  <a:gd name="T8" fmla="*/ 76 w 86"/>
                  <a:gd name="T9" fmla="*/ 41 h 62"/>
                  <a:gd name="T10" fmla="*/ 77 w 86"/>
                  <a:gd name="T11" fmla="*/ 37 h 62"/>
                  <a:gd name="T12" fmla="*/ 79 w 86"/>
                  <a:gd name="T13" fmla="*/ 31 h 62"/>
                  <a:gd name="T14" fmla="*/ 80 w 86"/>
                  <a:gd name="T15" fmla="*/ 23 h 62"/>
                  <a:gd name="T16" fmla="*/ 83 w 86"/>
                  <a:gd name="T17" fmla="*/ 18 h 62"/>
                  <a:gd name="T18" fmla="*/ 64 w 86"/>
                  <a:gd name="T19" fmla="*/ 14 h 62"/>
                  <a:gd name="T20" fmla="*/ 73 w 86"/>
                  <a:gd name="T21" fmla="*/ 8 h 62"/>
                  <a:gd name="T22" fmla="*/ 71 w 86"/>
                  <a:gd name="T23" fmla="*/ 0 h 62"/>
                  <a:gd name="T24" fmla="*/ 63 w 86"/>
                  <a:gd name="T25" fmla="*/ 6 h 62"/>
                  <a:gd name="T26" fmla="*/ 44 w 86"/>
                  <a:gd name="T27" fmla="*/ 13 h 62"/>
                  <a:gd name="T28" fmla="*/ 23 w 86"/>
                  <a:gd name="T29" fmla="*/ 22 h 62"/>
                  <a:gd name="T30" fmla="*/ 9 w 86"/>
                  <a:gd name="T31" fmla="*/ 3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6" h="62">
                    <a:moveTo>
                      <a:pt x="9" y="30"/>
                    </a:moveTo>
                    <a:cubicBezTo>
                      <a:pt x="9" y="30"/>
                      <a:pt x="0" y="39"/>
                      <a:pt x="6" y="50"/>
                    </a:cubicBezTo>
                    <a:cubicBezTo>
                      <a:pt x="12" y="62"/>
                      <a:pt x="25" y="54"/>
                      <a:pt x="25" y="54"/>
                    </a:cubicBezTo>
                    <a:cubicBezTo>
                      <a:pt x="31" y="44"/>
                      <a:pt x="31" y="44"/>
                      <a:pt x="31" y="44"/>
                    </a:cubicBezTo>
                    <a:cubicBezTo>
                      <a:pt x="31" y="44"/>
                      <a:pt x="68" y="45"/>
                      <a:pt x="76" y="41"/>
                    </a:cubicBezTo>
                    <a:cubicBezTo>
                      <a:pt x="76" y="41"/>
                      <a:pt x="78" y="40"/>
                      <a:pt x="77" y="37"/>
                    </a:cubicBezTo>
                    <a:cubicBezTo>
                      <a:pt x="77" y="37"/>
                      <a:pt x="81" y="36"/>
                      <a:pt x="79" y="31"/>
                    </a:cubicBezTo>
                    <a:cubicBezTo>
                      <a:pt x="79" y="31"/>
                      <a:pt x="86" y="28"/>
                      <a:pt x="80" y="23"/>
                    </a:cubicBezTo>
                    <a:cubicBezTo>
                      <a:pt x="80" y="23"/>
                      <a:pt x="84" y="21"/>
                      <a:pt x="83" y="18"/>
                    </a:cubicBezTo>
                    <a:cubicBezTo>
                      <a:pt x="82" y="15"/>
                      <a:pt x="80" y="13"/>
                      <a:pt x="64" y="14"/>
                    </a:cubicBezTo>
                    <a:cubicBezTo>
                      <a:pt x="64" y="14"/>
                      <a:pt x="71" y="9"/>
                      <a:pt x="73" y="8"/>
                    </a:cubicBezTo>
                    <a:cubicBezTo>
                      <a:pt x="74" y="6"/>
                      <a:pt x="76" y="0"/>
                      <a:pt x="71" y="0"/>
                    </a:cubicBezTo>
                    <a:cubicBezTo>
                      <a:pt x="71" y="0"/>
                      <a:pt x="66" y="4"/>
                      <a:pt x="63" y="6"/>
                    </a:cubicBezTo>
                    <a:cubicBezTo>
                      <a:pt x="59" y="8"/>
                      <a:pt x="47" y="12"/>
                      <a:pt x="44" y="13"/>
                    </a:cubicBezTo>
                    <a:cubicBezTo>
                      <a:pt x="41" y="15"/>
                      <a:pt x="34" y="18"/>
                      <a:pt x="23" y="22"/>
                    </a:cubicBezTo>
                    <a:cubicBezTo>
                      <a:pt x="12" y="25"/>
                      <a:pt x="9" y="30"/>
                      <a:pt x="9" y="30"/>
                    </a:cubicBezTo>
                    <a:close/>
                  </a:path>
                </a:pathLst>
              </a:custGeom>
              <a:solidFill>
                <a:srgbClr val="F2C2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5" name="Freeform 93"/>
              <p:cNvSpPr/>
              <p:nvPr/>
            </p:nvSpPr>
            <p:spPr bwMode="auto">
              <a:xfrm>
                <a:off x="1883131" y="2321990"/>
                <a:ext cx="504825" cy="287338"/>
              </a:xfrm>
              <a:custGeom>
                <a:avLst/>
                <a:gdLst>
                  <a:gd name="T0" fmla="*/ 63 w 69"/>
                  <a:gd name="T1" fmla="*/ 17 h 40"/>
                  <a:gd name="T2" fmla="*/ 41 w 69"/>
                  <a:gd name="T3" fmla="*/ 18 h 40"/>
                  <a:gd name="T4" fmla="*/ 23 w 69"/>
                  <a:gd name="T5" fmla="*/ 19 h 40"/>
                  <a:gd name="T6" fmla="*/ 21 w 69"/>
                  <a:gd name="T7" fmla="*/ 0 h 40"/>
                  <a:gd name="T8" fmla="*/ 9 w 69"/>
                  <a:gd name="T9" fmla="*/ 8 h 40"/>
                  <a:gd name="T10" fmla="*/ 6 w 69"/>
                  <a:gd name="T11" fmla="*/ 28 h 40"/>
                  <a:gd name="T12" fmla="*/ 25 w 69"/>
                  <a:gd name="T13" fmla="*/ 32 h 40"/>
                  <a:gd name="T14" fmla="*/ 31 w 69"/>
                  <a:gd name="T15" fmla="*/ 22 h 40"/>
                  <a:gd name="T16" fmla="*/ 69 w 69"/>
                  <a:gd name="T17" fmla="*/ 21 h 40"/>
                  <a:gd name="T18" fmla="*/ 63 w 69"/>
                  <a:gd name="T19" fmla="*/ 17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" h="40">
                    <a:moveTo>
                      <a:pt x="63" y="17"/>
                    </a:moveTo>
                    <a:cubicBezTo>
                      <a:pt x="58" y="16"/>
                      <a:pt x="45" y="16"/>
                      <a:pt x="41" y="18"/>
                    </a:cubicBezTo>
                    <a:cubicBezTo>
                      <a:pt x="36" y="19"/>
                      <a:pt x="23" y="19"/>
                      <a:pt x="23" y="19"/>
                    </a:cubicBezTo>
                    <a:cubicBezTo>
                      <a:pt x="18" y="17"/>
                      <a:pt x="19" y="7"/>
                      <a:pt x="21" y="0"/>
                    </a:cubicBezTo>
                    <a:cubicBezTo>
                      <a:pt x="12" y="3"/>
                      <a:pt x="9" y="8"/>
                      <a:pt x="9" y="8"/>
                    </a:cubicBezTo>
                    <a:cubicBezTo>
                      <a:pt x="9" y="8"/>
                      <a:pt x="0" y="17"/>
                      <a:pt x="6" y="28"/>
                    </a:cubicBezTo>
                    <a:cubicBezTo>
                      <a:pt x="12" y="40"/>
                      <a:pt x="25" y="32"/>
                      <a:pt x="25" y="32"/>
                    </a:cubicBezTo>
                    <a:cubicBezTo>
                      <a:pt x="31" y="22"/>
                      <a:pt x="31" y="22"/>
                      <a:pt x="31" y="22"/>
                    </a:cubicBezTo>
                    <a:cubicBezTo>
                      <a:pt x="31" y="22"/>
                      <a:pt x="55" y="23"/>
                      <a:pt x="69" y="21"/>
                    </a:cubicBezTo>
                    <a:lnTo>
                      <a:pt x="63" y="17"/>
                    </a:lnTo>
                    <a:close/>
                  </a:path>
                </a:pathLst>
              </a:custGeom>
              <a:solidFill>
                <a:srgbClr val="EBB2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6" name="Freeform 94"/>
              <p:cNvSpPr/>
              <p:nvPr/>
            </p:nvSpPr>
            <p:spPr bwMode="auto">
              <a:xfrm>
                <a:off x="2380019" y="2364853"/>
                <a:ext cx="103188" cy="22225"/>
              </a:xfrm>
              <a:custGeom>
                <a:avLst/>
                <a:gdLst>
                  <a:gd name="T0" fmla="*/ 12 w 14"/>
                  <a:gd name="T1" fmla="*/ 3 h 3"/>
                  <a:gd name="T2" fmla="*/ 14 w 14"/>
                  <a:gd name="T3" fmla="*/ 0 h 3"/>
                  <a:gd name="T4" fmla="*/ 0 w 14"/>
                  <a:gd name="T5" fmla="*/ 2 h 3"/>
                  <a:gd name="T6" fmla="*/ 12 w 14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3">
                    <a:moveTo>
                      <a:pt x="12" y="3"/>
                    </a:moveTo>
                    <a:cubicBezTo>
                      <a:pt x="12" y="3"/>
                      <a:pt x="14" y="1"/>
                      <a:pt x="14" y="0"/>
                    </a:cubicBezTo>
                    <a:cubicBezTo>
                      <a:pt x="0" y="2"/>
                      <a:pt x="0" y="2"/>
                      <a:pt x="0" y="2"/>
                    </a:cubicBezTo>
                    <a:lnTo>
                      <a:pt x="12" y="3"/>
                    </a:lnTo>
                    <a:close/>
                  </a:path>
                </a:pathLst>
              </a:custGeom>
              <a:solidFill>
                <a:srgbClr val="EBB2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7" name="Freeform 95"/>
              <p:cNvSpPr/>
              <p:nvPr/>
            </p:nvSpPr>
            <p:spPr bwMode="auto">
              <a:xfrm>
                <a:off x="2314931" y="2177528"/>
                <a:ext cx="115888" cy="93663"/>
              </a:xfrm>
              <a:custGeom>
                <a:avLst/>
                <a:gdLst>
                  <a:gd name="T0" fmla="*/ 5 w 16"/>
                  <a:gd name="T1" fmla="*/ 12 h 13"/>
                  <a:gd name="T2" fmla="*/ 14 w 16"/>
                  <a:gd name="T3" fmla="*/ 6 h 13"/>
                  <a:gd name="T4" fmla="*/ 15 w 16"/>
                  <a:gd name="T5" fmla="*/ 0 h 13"/>
                  <a:gd name="T6" fmla="*/ 0 w 16"/>
                  <a:gd name="T7" fmla="*/ 11 h 13"/>
                  <a:gd name="T8" fmla="*/ 11 w 16"/>
                  <a:gd name="T9" fmla="*/ 12 h 13"/>
                  <a:gd name="T10" fmla="*/ 5 w 16"/>
                  <a:gd name="T11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13">
                    <a:moveTo>
                      <a:pt x="5" y="12"/>
                    </a:moveTo>
                    <a:cubicBezTo>
                      <a:pt x="5" y="12"/>
                      <a:pt x="12" y="7"/>
                      <a:pt x="14" y="6"/>
                    </a:cubicBezTo>
                    <a:cubicBezTo>
                      <a:pt x="15" y="5"/>
                      <a:pt x="16" y="2"/>
                      <a:pt x="15" y="0"/>
                    </a:cubicBezTo>
                    <a:cubicBezTo>
                      <a:pt x="12" y="4"/>
                      <a:pt x="7" y="9"/>
                      <a:pt x="0" y="11"/>
                    </a:cubicBezTo>
                    <a:cubicBezTo>
                      <a:pt x="0" y="11"/>
                      <a:pt x="3" y="13"/>
                      <a:pt x="11" y="12"/>
                    </a:cubicBezTo>
                    <a:cubicBezTo>
                      <a:pt x="9" y="12"/>
                      <a:pt x="7" y="12"/>
                      <a:pt x="5" y="12"/>
                    </a:cubicBezTo>
                    <a:close/>
                  </a:path>
                </a:pathLst>
              </a:custGeom>
              <a:solidFill>
                <a:srgbClr val="EBB2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Freeform 96"/>
              <p:cNvSpPr/>
              <p:nvPr/>
            </p:nvSpPr>
            <p:spPr bwMode="auto">
              <a:xfrm>
                <a:off x="2380019" y="2415653"/>
                <a:ext cx="80963" cy="14288"/>
              </a:xfrm>
              <a:custGeom>
                <a:avLst/>
                <a:gdLst>
                  <a:gd name="T0" fmla="*/ 4 w 11"/>
                  <a:gd name="T1" fmla="*/ 1 h 2"/>
                  <a:gd name="T2" fmla="*/ 0 w 11"/>
                  <a:gd name="T3" fmla="*/ 1 h 2"/>
                  <a:gd name="T4" fmla="*/ 5 w 11"/>
                  <a:gd name="T5" fmla="*/ 2 h 2"/>
                  <a:gd name="T6" fmla="*/ 9 w 11"/>
                  <a:gd name="T7" fmla="*/ 2 h 2"/>
                  <a:gd name="T8" fmla="*/ 11 w 11"/>
                  <a:gd name="T9" fmla="*/ 0 h 2"/>
                  <a:gd name="T10" fmla="*/ 4 w 11"/>
                  <a:gd name="T1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2">
                    <a:moveTo>
                      <a:pt x="4" y="1"/>
                    </a:moveTo>
                    <a:cubicBezTo>
                      <a:pt x="3" y="0"/>
                      <a:pt x="0" y="1"/>
                      <a:pt x="0" y="1"/>
                    </a:cubicBezTo>
                    <a:cubicBezTo>
                      <a:pt x="0" y="1"/>
                      <a:pt x="3" y="2"/>
                      <a:pt x="5" y="2"/>
                    </a:cubicBezTo>
                    <a:cubicBezTo>
                      <a:pt x="6" y="2"/>
                      <a:pt x="8" y="2"/>
                      <a:pt x="9" y="2"/>
                    </a:cubicBezTo>
                    <a:cubicBezTo>
                      <a:pt x="10" y="2"/>
                      <a:pt x="11" y="1"/>
                      <a:pt x="11" y="0"/>
                    </a:cubicBezTo>
                    <a:cubicBezTo>
                      <a:pt x="9" y="0"/>
                      <a:pt x="5" y="1"/>
                      <a:pt x="4" y="1"/>
                    </a:cubicBezTo>
                    <a:close/>
                  </a:path>
                </a:pathLst>
              </a:custGeom>
              <a:solidFill>
                <a:srgbClr val="EBB2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9" name="Freeform 97"/>
              <p:cNvSpPr/>
              <p:nvPr/>
            </p:nvSpPr>
            <p:spPr bwMode="auto">
              <a:xfrm>
                <a:off x="2387956" y="2299765"/>
                <a:ext cx="101600" cy="28575"/>
              </a:xfrm>
              <a:custGeom>
                <a:avLst/>
                <a:gdLst>
                  <a:gd name="T0" fmla="*/ 14 w 14"/>
                  <a:gd name="T1" fmla="*/ 0 h 4"/>
                  <a:gd name="T2" fmla="*/ 6 w 14"/>
                  <a:gd name="T3" fmla="*/ 3 h 4"/>
                  <a:gd name="T4" fmla="*/ 0 w 14"/>
                  <a:gd name="T5" fmla="*/ 4 h 4"/>
                  <a:gd name="T6" fmla="*/ 12 w 14"/>
                  <a:gd name="T7" fmla="*/ 4 h 4"/>
                  <a:gd name="T8" fmla="*/ 11 w 14"/>
                  <a:gd name="T9" fmla="*/ 4 h 4"/>
                  <a:gd name="T10" fmla="*/ 14 w 14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4">
                    <a:moveTo>
                      <a:pt x="14" y="0"/>
                    </a:moveTo>
                    <a:cubicBezTo>
                      <a:pt x="12" y="1"/>
                      <a:pt x="9" y="2"/>
                      <a:pt x="6" y="3"/>
                    </a:cubicBezTo>
                    <a:cubicBezTo>
                      <a:pt x="4" y="3"/>
                      <a:pt x="0" y="4"/>
                      <a:pt x="0" y="4"/>
                    </a:cubicBezTo>
                    <a:cubicBezTo>
                      <a:pt x="6" y="3"/>
                      <a:pt x="10" y="4"/>
                      <a:pt x="12" y="4"/>
                    </a:cubicBezTo>
                    <a:cubicBezTo>
                      <a:pt x="12" y="4"/>
                      <a:pt x="11" y="4"/>
                      <a:pt x="11" y="4"/>
                    </a:cubicBezTo>
                    <a:cubicBezTo>
                      <a:pt x="11" y="4"/>
                      <a:pt x="14" y="2"/>
                      <a:pt x="14" y="0"/>
                    </a:cubicBezTo>
                    <a:close/>
                  </a:path>
                </a:pathLst>
              </a:custGeom>
              <a:solidFill>
                <a:srgbClr val="EBB2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Freeform 98"/>
              <p:cNvSpPr/>
              <p:nvPr/>
            </p:nvSpPr>
            <p:spPr bwMode="auto">
              <a:xfrm>
                <a:off x="2357794" y="1094853"/>
                <a:ext cx="395288" cy="547688"/>
              </a:xfrm>
              <a:custGeom>
                <a:avLst/>
                <a:gdLst>
                  <a:gd name="T0" fmla="*/ 17 w 54"/>
                  <a:gd name="T1" fmla="*/ 2 h 76"/>
                  <a:gd name="T2" fmla="*/ 5 w 54"/>
                  <a:gd name="T3" fmla="*/ 10 h 76"/>
                  <a:gd name="T4" fmla="*/ 1 w 54"/>
                  <a:gd name="T5" fmla="*/ 30 h 76"/>
                  <a:gd name="T6" fmla="*/ 0 w 54"/>
                  <a:gd name="T7" fmla="*/ 42 h 76"/>
                  <a:gd name="T8" fmla="*/ 7 w 54"/>
                  <a:gd name="T9" fmla="*/ 64 h 76"/>
                  <a:gd name="T10" fmla="*/ 20 w 54"/>
                  <a:gd name="T11" fmla="*/ 76 h 76"/>
                  <a:gd name="T12" fmla="*/ 41 w 54"/>
                  <a:gd name="T13" fmla="*/ 65 h 76"/>
                  <a:gd name="T14" fmla="*/ 50 w 54"/>
                  <a:gd name="T15" fmla="*/ 42 h 76"/>
                  <a:gd name="T16" fmla="*/ 17 w 54"/>
                  <a:gd name="T17" fmla="*/ 2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" h="76">
                    <a:moveTo>
                      <a:pt x="17" y="2"/>
                    </a:moveTo>
                    <a:cubicBezTo>
                      <a:pt x="17" y="2"/>
                      <a:pt x="8" y="4"/>
                      <a:pt x="5" y="10"/>
                    </a:cubicBezTo>
                    <a:cubicBezTo>
                      <a:pt x="2" y="16"/>
                      <a:pt x="0" y="18"/>
                      <a:pt x="1" y="30"/>
                    </a:cubicBezTo>
                    <a:cubicBezTo>
                      <a:pt x="1" y="30"/>
                      <a:pt x="0" y="38"/>
                      <a:pt x="0" y="42"/>
                    </a:cubicBezTo>
                    <a:cubicBezTo>
                      <a:pt x="0" y="46"/>
                      <a:pt x="5" y="59"/>
                      <a:pt x="7" y="64"/>
                    </a:cubicBezTo>
                    <a:cubicBezTo>
                      <a:pt x="9" y="68"/>
                      <a:pt x="14" y="76"/>
                      <a:pt x="20" y="76"/>
                    </a:cubicBezTo>
                    <a:cubicBezTo>
                      <a:pt x="25" y="75"/>
                      <a:pt x="39" y="67"/>
                      <a:pt x="41" y="65"/>
                    </a:cubicBezTo>
                    <a:cubicBezTo>
                      <a:pt x="43" y="63"/>
                      <a:pt x="54" y="57"/>
                      <a:pt x="50" y="42"/>
                    </a:cubicBezTo>
                    <a:cubicBezTo>
                      <a:pt x="47" y="27"/>
                      <a:pt x="29" y="0"/>
                      <a:pt x="17" y="2"/>
                    </a:cubicBezTo>
                    <a:close/>
                  </a:path>
                </a:pathLst>
              </a:custGeom>
              <a:solidFill>
                <a:srgbClr val="F2C2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Freeform 99"/>
              <p:cNvSpPr/>
              <p:nvPr/>
            </p:nvSpPr>
            <p:spPr bwMode="auto">
              <a:xfrm>
                <a:off x="2343506" y="2444228"/>
                <a:ext cx="103188" cy="28575"/>
              </a:xfrm>
              <a:custGeom>
                <a:avLst/>
                <a:gdLst>
                  <a:gd name="T0" fmla="*/ 0 w 14"/>
                  <a:gd name="T1" fmla="*/ 2 h 4"/>
                  <a:gd name="T2" fmla="*/ 2 w 14"/>
                  <a:gd name="T3" fmla="*/ 4 h 4"/>
                  <a:gd name="T4" fmla="*/ 13 w 14"/>
                  <a:gd name="T5" fmla="*/ 2 h 4"/>
                  <a:gd name="T6" fmla="*/ 14 w 14"/>
                  <a:gd name="T7" fmla="*/ 0 h 4"/>
                  <a:gd name="T8" fmla="*/ 0 w 14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4">
                    <a:moveTo>
                      <a:pt x="0" y="2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7" y="4"/>
                      <a:pt x="11" y="3"/>
                      <a:pt x="13" y="2"/>
                    </a:cubicBezTo>
                    <a:cubicBezTo>
                      <a:pt x="13" y="2"/>
                      <a:pt x="14" y="1"/>
                      <a:pt x="14" y="0"/>
                    </a:cubicBezTo>
                    <a:cubicBezTo>
                      <a:pt x="10" y="2"/>
                      <a:pt x="0" y="2"/>
                      <a:pt x="0" y="2"/>
                    </a:cubicBezTo>
                    <a:close/>
                  </a:path>
                </a:pathLst>
              </a:custGeom>
              <a:solidFill>
                <a:srgbClr val="EBB2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Freeform 100"/>
              <p:cNvSpPr/>
              <p:nvPr/>
            </p:nvSpPr>
            <p:spPr bwMode="auto">
              <a:xfrm>
                <a:off x="2503844" y="1145653"/>
                <a:ext cx="249238" cy="496888"/>
              </a:xfrm>
              <a:custGeom>
                <a:avLst/>
                <a:gdLst>
                  <a:gd name="T0" fmla="*/ 30 w 34"/>
                  <a:gd name="T1" fmla="*/ 35 h 69"/>
                  <a:gd name="T2" fmla="*/ 9 w 34"/>
                  <a:gd name="T3" fmla="*/ 0 h 69"/>
                  <a:gd name="T4" fmla="*/ 2 w 34"/>
                  <a:gd name="T5" fmla="*/ 1 h 69"/>
                  <a:gd name="T6" fmla="*/ 11 w 34"/>
                  <a:gd name="T7" fmla="*/ 20 h 69"/>
                  <a:gd name="T8" fmla="*/ 21 w 34"/>
                  <a:gd name="T9" fmla="*/ 29 h 69"/>
                  <a:gd name="T10" fmla="*/ 15 w 34"/>
                  <a:gd name="T11" fmla="*/ 39 h 69"/>
                  <a:gd name="T12" fmla="*/ 19 w 34"/>
                  <a:gd name="T13" fmla="*/ 53 h 69"/>
                  <a:gd name="T14" fmla="*/ 0 w 34"/>
                  <a:gd name="T15" fmla="*/ 69 h 69"/>
                  <a:gd name="T16" fmla="*/ 21 w 34"/>
                  <a:gd name="T17" fmla="*/ 58 h 69"/>
                  <a:gd name="T18" fmla="*/ 30 w 34"/>
                  <a:gd name="T19" fmla="*/ 3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69">
                    <a:moveTo>
                      <a:pt x="30" y="35"/>
                    </a:moveTo>
                    <a:cubicBezTo>
                      <a:pt x="28" y="25"/>
                      <a:pt x="18" y="8"/>
                      <a:pt x="9" y="0"/>
                    </a:cubicBezTo>
                    <a:cubicBezTo>
                      <a:pt x="5" y="0"/>
                      <a:pt x="2" y="1"/>
                      <a:pt x="2" y="1"/>
                    </a:cubicBezTo>
                    <a:cubicBezTo>
                      <a:pt x="10" y="7"/>
                      <a:pt x="11" y="20"/>
                      <a:pt x="11" y="20"/>
                    </a:cubicBezTo>
                    <a:cubicBezTo>
                      <a:pt x="11" y="20"/>
                      <a:pt x="25" y="27"/>
                      <a:pt x="21" y="29"/>
                    </a:cubicBezTo>
                    <a:cubicBezTo>
                      <a:pt x="16" y="30"/>
                      <a:pt x="14" y="35"/>
                      <a:pt x="15" y="39"/>
                    </a:cubicBezTo>
                    <a:cubicBezTo>
                      <a:pt x="16" y="43"/>
                      <a:pt x="22" y="46"/>
                      <a:pt x="19" y="53"/>
                    </a:cubicBezTo>
                    <a:cubicBezTo>
                      <a:pt x="16" y="61"/>
                      <a:pt x="0" y="69"/>
                      <a:pt x="0" y="69"/>
                    </a:cubicBezTo>
                    <a:cubicBezTo>
                      <a:pt x="5" y="68"/>
                      <a:pt x="19" y="60"/>
                      <a:pt x="21" y="58"/>
                    </a:cubicBezTo>
                    <a:cubicBezTo>
                      <a:pt x="23" y="56"/>
                      <a:pt x="34" y="50"/>
                      <a:pt x="30" y="35"/>
                    </a:cubicBezTo>
                    <a:close/>
                  </a:path>
                </a:pathLst>
              </a:custGeom>
              <a:solidFill>
                <a:srgbClr val="EBB2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3" name="Freeform 101"/>
              <p:cNvSpPr/>
              <p:nvPr/>
            </p:nvSpPr>
            <p:spPr bwMode="auto">
              <a:xfrm>
                <a:off x="2087919" y="1721915"/>
                <a:ext cx="949325" cy="989013"/>
              </a:xfrm>
              <a:custGeom>
                <a:avLst/>
                <a:gdLst>
                  <a:gd name="T0" fmla="*/ 9 w 130"/>
                  <a:gd name="T1" fmla="*/ 105 h 137"/>
                  <a:gd name="T2" fmla="*/ 19 w 130"/>
                  <a:gd name="T3" fmla="*/ 107 h 137"/>
                  <a:gd name="T4" fmla="*/ 63 w 130"/>
                  <a:gd name="T5" fmla="*/ 101 h 137"/>
                  <a:gd name="T6" fmla="*/ 67 w 130"/>
                  <a:gd name="T7" fmla="*/ 89 h 137"/>
                  <a:gd name="T8" fmla="*/ 83 w 130"/>
                  <a:gd name="T9" fmla="*/ 41 h 137"/>
                  <a:gd name="T10" fmla="*/ 98 w 130"/>
                  <a:gd name="T11" fmla="*/ 12 h 137"/>
                  <a:gd name="T12" fmla="*/ 109 w 130"/>
                  <a:gd name="T13" fmla="*/ 2 h 137"/>
                  <a:gd name="T14" fmla="*/ 128 w 130"/>
                  <a:gd name="T15" fmla="*/ 52 h 137"/>
                  <a:gd name="T16" fmla="*/ 117 w 130"/>
                  <a:gd name="T17" fmla="*/ 81 h 137"/>
                  <a:gd name="T18" fmla="*/ 86 w 130"/>
                  <a:gd name="T19" fmla="*/ 125 h 137"/>
                  <a:gd name="T20" fmla="*/ 76 w 130"/>
                  <a:gd name="T21" fmla="*/ 135 h 137"/>
                  <a:gd name="T22" fmla="*/ 12 w 130"/>
                  <a:gd name="T23" fmla="*/ 135 h 137"/>
                  <a:gd name="T24" fmla="*/ 9 w 130"/>
                  <a:gd name="T25" fmla="*/ 105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0" h="137">
                    <a:moveTo>
                      <a:pt x="9" y="105"/>
                    </a:moveTo>
                    <a:cubicBezTo>
                      <a:pt x="9" y="105"/>
                      <a:pt x="14" y="107"/>
                      <a:pt x="19" y="107"/>
                    </a:cubicBezTo>
                    <a:cubicBezTo>
                      <a:pt x="24" y="108"/>
                      <a:pt x="51" y="102"/>
                      <a:pt x="63" y="101"/>
                    </a:cubicBezTo>
                    <a:cubicBezTo>
                      <a:pt x="63" y="101"/>
                      <a:pt x="61" y="93"/>
                      <a:pt x="67" y="89"/>
                    </a:cubicBezTo>
                    <a:cubicBezTo>
                      <a:pt x="74" y="85"/>
                      <a:pt x="81" y="48"/>
                      <a:pt x="83" y="41"/>
                    </a:cubicBezTo>
                    <a:cubicBezTo>
                      <a:pt x="84" y="34"/>
                      <a:pt x="88" y="15"/>
                      <a:pt x="98" y="12"/>
                    </a:cubicBezTo>
                    <a:cubicBezTo>
                      <a:pt x="98" y="12"/>
                      <a:pt x="108" y="4"/>
                      <a:pt x="109" y="2"/>
                    </a:cubicBezTo>
                    <a:cubicBezTo>
                      <a:pt x="110" y="0"/>
                      <a:pt x="130" y="34"/>
                      <a:pt x="128" y="52"/>
                    </a:cubicBezTo>
                    <a:cubicBezTo>
                      <a:pt x="126" y="70"/>
                      <a:pt x="117" y="81"/>
                      <a:pt x="117" y="81"/>
                    </a:cubicBezTo>
                    <a:cubicBezTo>
                      <a:pt x="117" y="81"/>
                      <a:pt x="91" y="119"/>
                      <a:pt x="86" y="125"/>
                    </a:cubicBezTo>
                    <a:cubicBezTo>
                      <a:pt x="81" y="131"/>
                      <a:pt x="85" y="132"/>
                      <a:pt x="76" y="135"/>
                    </a:cubicBezTo>
                    <a:cubicBezTo>
                      <a:pt x="67" y="137"/>
                      <a:pt x="12" y="135"/>
                      <a:pt x="12" y="135"/>
                    </a:cubicBezTo>
                    <a:cubicBezTo>
                      <a:pt x="12" y="135"/>
                      <a:pt x="0" y="126"/>
                      <a:pt x="9" y="105"/>
                    </a:cubicBezTo>
                    <a:close/>
                  </a:path>
                </a:pathLst>
              </a:custGeom>
              <a:solidFill>
                <a:srgbClr val="2624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Freeform 102"/>
              <p:cNvSpPr/>
              <p:nvPr/>
            </p:nvSpPr>
            <p:spPr bwMode="auto">
              <a:xfrm>
                <a:off x="2138719" y="1721915"/>
                <a:ext cx="898525" cy="989013"/>
              </a:xfrm>
              <a:custGeom>
                <a:avLst/>
                <a:gdLst>
                  <a:gd name="T0" fmla="*/ 102 w 123"/>
                  <a:gd name="T1" fmla="*/ 2 h 137"/>
                  <a:gd name="T2" fmla="*/ 91 w 123"/>
                  <a:gd name="T3" fmla="*/ 12 h 137"/>
                  <a:gd name="T4" fmla="*/ 79 w 123"/>
                  <a:gd name="T5" fmla="*/ 29 h 137"/>
                  <a:gd name="T6" fmla="*/ 99 w 123"/>
                  <a:gd name="T7" fmla="*/ 22 h 137"/>
                  <a:gd name="T8" fmla="*/ 105 w 123"/>
                  <a:gd name="T9" fmla="*/ 42 h 137"/>
                  <a:gd name="T10" fmla="*/ 90 w 123"/>
                  <a:gd name="T11" fmla="*/ 47 h 137"/>
                  <a:gd name="T12" fmla="*/ 105 w 123"/>
                  <a:gd name="T13" fmla="*/ 61 h 137"/>
                  <a:gd name="T14" fmla="*/ 103 w 123"/>
                  <a:gd name="T15" fmla="*/ 70 h 137"/>
                  <a:gd name="T16" fmla="*/ 77 w 123"/>
                  <a:gd name="T17" fmla="*/ 79 h 137"/>
                  <a:gd name="T18" fmla="*/ 96 w 123"/>
                  <a:gd name="T19" fmla="*/ 76 h 137"/>
                  <a:gd name="T20" fmla="*/ 75 w 123"/>
                  <a:gd name="T21" fmla="*/ 85 h 137"/>
                  <a:gd name="T22" fmla="*/ 96 w 123"/>
                  <a:gd name="T23" fmla="*/ 82 h 137"/>
                  <a:gd name="T24" fmla="*/ 78 w 123"/>
                  <a:gd name="T25" fmla="*/ 111 h 137"/>
                  <a:gd name="T26" fmla="*/ 64 w 123"/>
                  <a:gd name="T27" fmla="*/ 101 h 137"/>
                  <a:gd name="T28" fmla="*/ 65 w 123"/>
                  <a:gd name="T29" fmla="*/ 124 h 137"/>
                  <a:gd name="T30" fmla="*/ 54 w 123"/>
                  <a:gd name="T31" fmla="*/ 111 h 137"/>
                  <a:gd name="T32" fmla="*/ 57 w 123"/>
                  <a:gd name="T33" fmla="*/ 128 h 137"/>
                  <a:gd name="T34" fmla="*/ 26 w 123"/>
                  <a:gd name="T35" fmla="*/ 129 h 137"/>
                  <a:gd name="T36" fmla="*/ 0 w 123"/>
                  <a:gd name="T37" fmla="*/ 127 h 137"/>
                  <a:gd name="T38" fmla="*/ 5 w 123"/>
                  <a:gd name="T39" fmla="*/ 135 h 137"/>
                  <a:gd name="T40" fmla="*/ 69 w 123"/>
                  <a:gd name="T41" fmla="*/ 135 h 137"/>
                  <a:gd name="T42" fmla="*/ 79 w 123"/>
                  <a:gd name="T43" fmla="*/ 125 h 137"/>
                  <a:gd name="T44" fmla="*/ 110 w 123"/>
                  <a:gd name="T45" fmla="*/ 81 h 137"/>
                  <a:gd name="T46" fmla="*/ 121 w 123"/>
                  <a:gd name="T47" fmla="*/ 52 h 137"/>
                  <a:gd name="T48" fmla="*/ 102 w 123"/>
                  <a:gd name="T49" fmla="*/ 2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3" h="137">
                    <a:moveTo>
                      <a:pt x="102" y="2"/>
                    </a:moveTo>
                    <a:cubicBezTo>
                      <a:pt x="101" y="4"/>
                      <a:pt x="91" y="12"/>
                      <a:pt x="91" y="12"/>
                    </a:cubicBezTo>
                    <a:cubicBezTo>
                      <a:pt x="85" y="14"/>
                      <a:pt x="81" y="21"/>
                      <a:pt x="79" y="29"/>
                    </a:cubicBezTo>
                    <a:cubicBezTo>
                      <a:pt x="89" y="18"/>
                      <a:pt x="99" y="22"/>
                      <a:pt x="99" y="22"/>
                    </a:cubicBezTo>
                    <a:cubicBezTo>
                      <a:pt x="99" y="29"/>
                      <a:pt x="104" y="38"/>
                      <a:pt x="105" y="42"/>
                    </a:cubicBezTo>
                    <a:cubicBezTo>
                      <a:pt x="106" y="45"/>
                      <a:pt x="90" y="47"/>
                      <a:pt x="90" y="47"/>
                    </a:cubicBezTo>
                    <a:cubicBezTo>
                      <a:pt x="109" y="49"/>
                      <a:pt x="105" y="61"/>
                      <a:pt x="105" y="61"/>
                    </a:cubicBezTo>
                    <a:cubicBezTo>
                      <a:pt x="108" y="62"/>
                      <a:pt x="103" y="70"/>
                      <a:pt x="103" y="70"/>
                    </a:cubicBezTo>
                    <a:cubicBezTo>
                      <a:pt x="90" y="69"/>
                      <a:pt x="77" y="79"/>
                      <a:pt x="77" y="79"/>
                    </a:cubicBezTo>
                    <a:cubicBezTo>
                      <a:pt x="90" y="73"/>
                      <a:pt x="96" y="76"/>
                      <a:pt x="96" y="76"/>
                    </a:cubicBezTo>
                    <a:cubicBezTo>
                      <a:pt x="85" y="75"/>
                      <a:pt x="75" y="85"/>
                      <a:pt x="75" y="85"/>
                    </a:cubicBezTo>
                    <a:cubicBezTo>
                      <a:pt x="84" y="80"/>
                      <a:pt x="96" y="82"/>
                      <a:pt x="96" y="82"/>
                    </a:cubicBezTo>
                    <a:cubicBezTo>
                      <a:pt x="81" y="85"/>
                      <a:pt x="78" y="111"/>
                      <a:pt x="78" y="111"/>
                    </a:cubicBezTo>
                    <a:cubicBezTo>
                      <a:pt x="74" y="103"/>
                      <a:pt x="64" y="101"/>
                      <a:pt x="64" y="101"/>
                    </a:cubicBezTo>
                    <a:cubicBezTo>
                      <a:pt x="81" y="113"/>
                      <a:pt x="69" y="124"/>
                      <a:pt x="65" y="124"/>
                    </a:cubicBezTo>
                    <a:cubicBezTo>
                      <a:pt x="61" y="124"/>
                      <a:pt x="54" y="111"/>
                      <a:pt x="54" y="111"/>
                    </a:cubicBezTo>
                    <a:cubicBezTo>
                      <a:pt x="53" y="113"/>
                      <a:pt x="59" y="128"/>
                      <a:pt x="57" y="128"/>
                    </a:cubicBezTo>
                    <a:cubicBezTo>
                      <a:pt x="55" y="128"/>
                      <a:pt x="34" y="131"/>
                      <a:pt x="26" y="129"/>
                    </a:cubicBezTo>
                    <a:cubicBezTo>
                      <a:pt x="21" y="127"/>
                      <a:pt x="7" y="127"/>
                      <a:pt x="0" y="127"/>
                    </a:cubicBezTo>
                    <a:cubicBezTo>
                      <a:pt x="1" y="132"/>
                      <a:pt x="5" y="135"/>
                      <a:pt x="5" y="135"/>
                    </a:cubicBezTo>
                    <a:cubicBezTo>
                      <a:pt x="5" y="135"/>
                      <a:pt x="60" y="137"/>
                      <a:pt x="69" y="135"/>
                    </a:cubicBezTo>
                    <a:cubicBezTo>
                      <a:pt x="78" y="132"/>
                      <a:pt x="74" y="131"/>
                      <a:pt x="79" y="125"/>
                    </a:cubicBezTo>
                    <a:cubicBezTo>
                      <a:pt x="84" y="119"/>
                      <a:pt x="110" y="81"/>
                      <a:pt x="110" y="81"/>
                    </a:cubicBezTo>
                    <a:cubicBezTo>
                      <a:pt x="110" y="81"/>
                      <a:pt x="119" y="70"/>
                      <a:pt x="121" y="52"/>
                    </a:cubicBezTo>
                    <a:cubicBezTo>
                      <a:pt x="123" y="34"/>
                      <a:pt x="103" y="0"/>
                      <a:pt x="102" y="2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5" name="Freeform 103"/>
              <p:cNvSpPr/>
              <p:nvPr/>
            </p:nvSpPr>
            <p:spPr bwMode="auto">
              <a:xfrm>
                <a:off x="2460981" y="964677"/>
                <a:ext cx="620713" cy="1457325"/>
              </a:xfrm>
              <a:custGeom>
                <a:avLst/>
                <a:gdLst>
                  <a:gd name="T0" fmla="*/ 0 w 85"/>
                  <a:gd name="T1" fmla="*/ 19 h 202"/>
                  <a:gd name="T2" fmla="*/ 8 w 85"/>
                  <a:gd name="T3" fmla="*/ 26 h 202"/>
                  <a:gd name="T4" fmla="*/ 18 w 85"/>
                  <a:gd name="T5" fmla="*/ 41 h 202"/>
                  <a:gd name="T6" fmla="*/ 32 w 85"/>
                  <a:gd name="T7" fmla="*/ 61 h 202"/>
                  <a:gd name="T8" fmla="*/ 32 w 85"/>
                  <a:gd name="T9" fmla="*/ 77 h 202"/>
                  <a:gd name="T10" fmla="*/ 22 w 85"/>
                  <a:gd name="T11" fmla="*/ 104 h 202"/>
                  <a:gd name="T12" fmla="*/ 26 w 85"/>
                  <a:gd name="T13" fmla="*/ 128 h 202"/>
                  <a:gd name="T14" fmla="*/ 19 w 85"/>
                  <a:gd name="T15" fmla="*/ 149 h 202"/>
                  <a:gd name="T16" fmla="*/ 14 w 85"/>
                  <a:gd name="T17" fmla="*/ 161 h 202"/>
                  <a:gd name="T18" fmla="*/ 23 w 85"/>
                  <a:gd name="T19" fmla="*/ 153 h 202"/>
                  <a:gd name="T20" fmla="*/ 22 w 85"/>
                  <a:gd name="T21" fmla="*/ 141 h 202"/>
                  <a:gd name="T22" fmla="*/ 39 w 85"/>
                  <a:gd name="T23" fmla="*/ 121 h 202"/>
                  <a:gd name="T24" fmla="*/ 34 w 85"/>
                  <a:gd name="T25" fmla="*/ 106 h 202"/>
                  <a:gd name="T26" fmla="*/ 43 w 85"/>
                  <a:gd name="T27" fmla="*/ 101 h 202"/>
                  <a:gd name="T28" fmla="*/ 51 w 85"/>
                  <a:gd name="T29" fmla="*/ 112 h 202"/>
                  <a:gd name="T30" fmla="*/ 58 w 85"/>
                  <a:gd name="T31" fmla="*/ 141 h 202"/>
                  <a:gd name="T32" fmla="*/ 55 w 85"/>
                  <a:gd name="T33" fmla="*/ 113 h 202"/>
                  <a:gd name="T34" fmla="*/ 62 w 85"/>
                  <a:gd name="T35" fmla="*/ 122 h 202"/>
                  <a:gd name="T36" fmla="*/ 74 w 85"/>
                  <a:gd name="T37" fmla="*/ 150 h 202"/>
                  <a:gd name="T38" fmla="*/ 66 w 85"/>
                  <a:gd name="T39" fmla="*/ 186 h 202"/>
                  <a:gd name="T40" fmla="*/ 70 w 85"/>
                  <a:gd name="T41" fmla="*/ 190 h 202"/>
                  <a:gd name="T42" fmla="*/ 71 w 85"/>
                  <a:gd name="T43" fmla="*/ 202 h 202"/>
                  <a:gd name="T44" fmla="*/ 75 w 85"/>
                  <a:gd name="T45" fmla="*/ 190 h 202"/>
                  <a:gd name="T46" fmla="*/ 75 w 85"/>
                  <a:gd name="T47" fmla="*/ 175 h 202"/>
                  <a:gd name="T48" fmla="*/ 81 w 85"/>
                  <a:gd name="T49" fmla="*/ 168 h 202"/>
                  <a:gd name="T50" fmla="*/ 80 w 85"/>
                  <a:gd name="T51" fmla="*/ 146 h 202"/>
                  <a:gd name="T52" fmla="*/ 75 w 85"/>
                  <a:gd name="T53" fmla="*/ 129 h 202"/>
                  <a:gd name="T54" fmla="*/ 75 w 85"/>
                  <a:gd name="T55" fmla="*/ 107 h 202"/>
                  <a:gd name="T56" fmla="*/ 58 w 85"/>
                  <a:gd name="T57" fmla="*/ 85 h 202"/>
                  <a:gd name="T58" fmla="*/ 56 w 85"/>
                  <a:gd name="T59" fmla="*/ 48 h 202"/>
                  <a:gd name="T60" fmla="*/ 33 w 85"/>
                  <a:gd name="T61" fmla="*/ 4 h 202"/>
                  <a:gd name="T62" fmla="*/ 9 w 85"/>
                  <a:gd name="T63" fmla="*/ 7 h 202"/>
                  <a:gd name="T64" fmla="*/ 0 w 85"/>
                  <a:gd name="T65" fmla="*/ 19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5" h="202">
                    <a:moveTo>
                      <a:pt x="0" y="19"/>
                    </a:moveTo>
                    <a:cubicBezTo>
                      <a:pt x="0" y="19"/>
                      <a:pt x="3" y="26"/>
                      <a:pt x="8" y="26"/>
                    </a:cubicBezTo>
                    <a:cubicBezTo>
                      <a:pt x="13" y="26"/>
                      <a:pt x="18" y="33"/>
                      <a:pt x="18" y="41"/>
                    </a:cubicBezTo>
                    <a:cubicBezTo>
                      <a:pt x="19" y="50"/>
                      <a:pt x="19" y="54"/>
                      <a:pt x="32" y="61"/>
                    </a:cubicBezTo>
                    <a:cubicBezTo>
                      <a:pt x="32" y="61"/>
                      <a:pt x="37" y="72"/>
                      <a:pt x="32" y="77"/>
                    </a:cubicBezTo>
                    <a:cubicBezTo>
                      <a:pt x="27" y="82"/>
                      <a:pt x="16" y="94"/>
                      <a:pt x="22" y="104"/>
                    </a:cubicBezTo>
                    <a:cubicBezTo>
                      <a:pt x="27" y="114"/>
                      <a:pt x="34" y="120"/>
                      <a:pt x="26" y="128"/>
                    </a:cubicBezTo>
                    <a:cubicBezTo>
                      <a:pt x="18" y="136"/>
                      <a:pt x="15" y="143"/>
                      <a:pt x="19" y="149"/>
                    </a:cubicBezTo>
                    <a:cubicBezTo>
                      <a:pt x="22" y="156"/>
                      <a:pt x="16" y="156"/>
                      <a:pt x="14" y="161"/>
                    </a:cubicBezTo>
                    <a:cubicBezTo>
                      <a:pt x="14" y="161"/>
                      <a:pt x="20" y="157"/>
                      <a:pt x="23" y="153"/>
                    </a:cubicBezTo>
                    <a:cubicBezTo>
                      <a:pt x="26" y="148"/>
                      <a:pt x="19" y="146"/>
                      <a:pt x="22" y="141"/>
                    </a:cubicBezTo>
                    <a:cubicBezTo>
                      <a:pt x="25" y="135"/>
                      <a:pt x="38" y="129"/>
                      <a:pt x="39" y="121"/>
                    </a:cubicBezTo>
                    <a:cubicBezTo>
                      <a:pt x="39" y="113"/>
                      <a:pt x="31" y="110"/>
                      <a:pt x="34" y="106"/>
                    </a:cubicBezTo>
                    <a:cubicBezTo>
                      <a:pt x="34" y="106"/>
                      <a:pt x="39" y="100"/>
                      <a:pt x="43" y="101"/>
                    </a:cubicBezTo>
                    <a:cubicBezTo>
                      <a:pt x="48" y="102"/>
                      <a:pt x="53" y="109"/>
                      <a:pt x="51" y="112"/>
                    </a:cubicBezTo>
                    <a:cubicBezTo>
                      <a:pt x="48" y="115"/>
                      <a:pt x="42" y="120"/>
                      <a:pt x="58" y="141"/>
                    </a:cubicBezTo>
                    <a:cubicBezTo>
                      <a:pt x="58" y="141"/>
                      <a:pt x="42" y="120"/>
                      <a:pt x="55" y="113"/>
                    </a:cubicBezTo>
                    <a:cubicBezTo>
                      <a:pt x="55" y="113"/>
                      <a:pt x="62" y="116"/>
                      <a:pt x="62" y="122"/>
                    </a:cubicBezTo>
                    <a:cubicBezTo>
                      <a:pt x="62" y="128"/>
                      <a:pt x="73" y="128"/>
                      <a:pt x="74" y="150"/>
                    </a:cubicBezTo>
                    <a:cubicBezTo>
                      <a:pt x="74" y="150"/>
                      <a:pt x="72" y="176"/>
                      <a:pt x="66" y="186"/>
                    </a:cubicBezTo>
                    <a:cubicBezTo>
                      <a:pt x="66" y="186"/>
                      <a:pt x="70" y="186"/>
                      <a:pt x="70" y="190"/>
                    </a:cubicBezTo>
                    <a:cubicBezTo>
                      <a:pt x="71" y="194"/>
                      <a:pt x="67" y="199"/>
                      <a:pt x="71" y="202"/>
                    </a:cubicBezTo>
                    <a:cubicBezTo>
                      <a:pt x="71" y="202"/>
                      <a:pt x="70" y="197"/>
                      <a:pt x="75" y="190"/>
                    </a:cubicBezTo>
                    <a:cubicBezTo>
                      <a:pt x="81" y="182"/>
                      <a:pt x="75" y="175"/>
                      <a:pt x="75" y="175"/>
                    </a:cubicBezTo>
                    <a:cubicBezTo>
                      <a:pt x="75" y="175"/>
                      <a:pt x="78" y="171"/>
                      <a:pt x="81" y="168"/>
                    </a:cubicBezTo>
                    <a:cubicBezTo>
                      <a:pt x="85" y="165"/>
                      <a:pt x="84" y="150"/>
                      <a:pt x="80" y="146"/>
                    </a:cubicBezTo>
                    <a:cubicBezTo>
                      <a:pt x="77" y="142"/>
                      <a:pt x="74" y="133"/>
                      <a:pt x="75" y="129"/>
                    </a:cubicBezTo>
                    <a:cubicBezTo>
                      <a:pt x="77" y="125"/>
                      <a:pt x="78" y="113"/>
                      <a:pt x="75" y="107"/>
                    </a:cubicBezTo>
                    <a:cubicBezTo>
                      <a:pt x="72" y="101"/>
                      <a:pt x="59" y="89"/>
                      <a:pt x="58" y="85"/>
                    </a:cubicBezTo>
                    <a:cubicBezTo>
                      <a:pt x="58" y="81"/>
                      <a:pt x="54" y="69"/>
                      <a:pt x="56" y="48"/>
                    </a:cubicBezTo>
                    <a:cubicBezTo>
                      <a:pt x="58" y="27"/>
                      <a:pt x="39" y="8"/>
                      <a:pt x="33" y="4"/>
                    </a:cubicBezTo>
                    <a:cubicBezTo>
                      <a:pt x="26" y="0"/>
                      <a:pt x="17" y="1"/>
                      <a:pt x="9" y="7"/>
                    </a:cubicBezTo>
                    <a:cubicBezTo>
                      <a:pt x="1" y="14"/>
                      <a:pt x="0" y="19"/>
                      <a:pt x="0" y="19"/>
                    </a:cubicBezTo>
                    <a:close/>
                  </a:path>
                </a:pathLst>
              </a:custGeom>
              <a:solidFill>
                <a:srgbClr val="4127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Freeform 104"/>
              <p:cNvSpPr/>
              <p:nvPr/>
            </p:nvSpPr>
            <p:spPr bwMode="auto">
              <a:xfrm>
                <a:off x="2351444" y="1664765"/>
                <a:ext cx="160338" cy="238125"/>
              </a:xfrm>
              <a:custGeom>
                <a:avLst/>
                <a:gdLst>
                  <a:gd name="T0" fmla="*/ 2 w 22"/>
                  <a:gd name="T1" fmla="*/ 1 h 33"/>
                  <a:gd name="T2" fmla="*/ 6 w 22"/>
                  <a:gd name="T3" fmla="*/ 13 h 33"/>
                  <a:gd name="T4" fmla="*/ 1 w 22"/>
                  <a:gd name="T5" fmla="*/ 24 h 33"/>
                  <a:gd name="T6" fmla="*/ 0 w 22"/>
                  <a:gd name="T7" fmla="*/ 33 h 33"/>
                  <a:gd name="T8" fmla="*/ 6 w 22"/>
                  <a:gd name="T9" fmla="*/ 26 h 33"/>
                  <a:gd name="T10" fmla="*/ 9 w 22"/>
                  <a:gd name="T11" fmla="*/ 17 h 33"/>
                  <a:gd name="T12" fmla="*/ 15 w 22"/>
                  <a:gd name="T13" fmla="*/ 10 h 33"/>
                  <a:gd name="T14" fmla="*/ 21 w 22"/>
                  <a:gd name="T15" fmla="*/ 3 h 33"/>
                  <a:gd name="T16" fmla="*/ 2 w 22"/>
                  <a:gd name="T17" fmla="*/ 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33">
                    <a:moveTo>
                      <a:pt x="2" y="1"/>
                    </a:moveTo>
                    <a:cubicBezTo>
                      <a:pt x="2" y="1"/>
                      <a:pt x="8" y="10"/>
                      <a:pt x="6" y="13"/>
                    </a:cubicBezTo>
                    <a:cubicBezTo>
                      <a:pt x="6" y="13"/>
                      <a:pt x="0" y="21"/>
                      <a:pt x="1" y="24"/>
                    </a:cubicBezTo>
                    <a:cubicBezTo>
                      <a:pt x="1" y="27"/>
                      <a:pt x="2" y="31"/>
                      <a:pt x="0" y="33"/>
                    </a:cubicBezTo>
                    <a:cubicBezTo>
                      <a:pt x="0" y="33"/>
                      <a:pt x="6" y="29"/>
                      <a:pt x="6" y="26"/>
                    </a:cubicBezTo>
                    <a:cubicBezTo>
                      <a:pt x="6" y="23"/>
                      <a:pt x="7" y="17"/>
                      <a:pt x="9" y="17"/>
                    </a:cubicBezTo>
                    <a:cubicBezTo>
                      <a:pt x="11" y="16"/>
                      <a:pt x="12" y="10"/>
                      <a:pt x="15" y="10"/>
                    </a:cubicBezTo>
                    <a:cubicBezTo>
                      <a:pt x="17" y="10"/>
                      <a:pt x="22" y="5"/>
                      <a:pt x="21" y="3"/>
                    </a:cubicBezTo>
                    <a:cubicBezTo>
                      <a:pt x="20" y="0"/>
                      <a:pt x="2" y="1"/>
                      <a:pt x="2" y="1"/>
                    </a:cubicBezTo>
                    <a:close/>
                  </a:path>
                </a:pathLst>
              </a:custGeom>
              <a:solidFill>
                <a:srgbClr val="4127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7" name="Freeform 105"/>
              <p:cNvSpPr/>
              <p:nvPr/>
            </p:nvSpPr>
            <p:spPr bwMode="auto">
              <a:xfrm>
                <a:off x="2430819" y="1642540"/>
                <a:ext cx="95250" cy="65088"/>
              </a:xfrm>
              <a:custGeom>
                <a:avLst/>
                <a:gdLst>
                  <a:gd name="T0" fmla="*/ 13 w 13"/>
                  <a:gd name="T1" fmla="*/ 3 h 9"/>
                  <a:gd name="T2" fmla="*/ 0 w 13"/>
                  <a:gd name="T3" fmla="*/ 0 h 9"/>
                  <a:gd name="T4" fmla="*/ 8 w 13"/>
                  <a:gd name="T5" fmla="*/ 7 h 9"/>
                  <a:gd name="T6" fmla="*/ 13 w 13"/>
                  <a:gd name="T7" fmla="*/ 7 h 9"/>
                  <a:gd name="T8" fmla="*/ 13 w 13"/>
                  <a:gd name="T9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9">
                    <a:moveTo>
                      <a:pt x="13" y="3"/>
                    </a:moveTo>
                    <a:cubicBezTo>
                      <a:pt x="13" y="3"/>
                      <a:pt x="2" y="0"/>
                      <a:pt x="0" y="0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8" y="7"/>
                      <a:pt x="13" y="9"/>
                      <a:pt x="13" y="7"/>
                    </a:cubicBezTo>
                    <a:lnTo>
                      <a:pt x="13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8" name="Freeform 106"/>
              <p:cNvSpPr/>
              <p:nvPr/>
            </p:nvSpPr>
            <p:spPr bwMode="auto">
              <a:xfrm>
                <a:off x="2430819" y="1642540"/>
                <a:ext cx="80963" cy="109538"/>
              </a:xfrm>
              <a:custGeom>
                <a:avLst/>
                <a:gdLst>
                  <a:gd name="T0" fmla="*/ 2 w 11"/>
                  <a:gd name="T1" fmla="*/ 14 h 15"/>
                  <a:gd name="T2" fmla="*/ 2 w 11"/>
                  <a:gd name="T3" fmla="*/ 15 h 15"/>
                  <a:gd name="T4" fmla="*/ 10 w 11"/>
                  <a:gd name="T5" fmla="*/ 6 h 15"/>
                  <a:gd name="T6" fmla="*/ 0 w 11"/>
                  <a:gd name="T7" fmla="*/ 0 h 15"/>
                  <a:gd name="T8" fmla="*/ 3 w 11"/>
                  <a:gd name="T9" fmla="*/ 11 h 15"/>
                  <a:gd name="T10" fmla="*/ 2 w 11"/>
                  <a:gd name="T11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15">
                    <a:moveTo>
                      <a:pt x="2" y="14"/>
                    </a:moveTo>
                    <a:cubicBezTo>
                      <a:pt x="2" y="15"/>
                      <a:pt x="2" y="15"/>
                      <a:pt x="2" y="15"/>
                    </a:cubicBezTo>
                    <a:cubicBezTo>
                      <a:pt x="2" y="15"/>
                      <a:pt x="11" y="12"/>
                      <a:pt x="10" y="6"/>
                    </a:cubicBezTo>
                    <a:cubicBezTo>
                      <a:pt x="10" y="0"/>
                      <a:pt x="0" y="0"/>
                      <a:pt x="0" y="0"/>
                    </a:cubicBezTo>
                    <a:cubicBezTo>
                      <a:pt x="0" y="0"/>
                      <a:pt x="4" y="8"/>
                      <a:pt x="3" y="11"/>
                    </a:cubicBezTo>
                    <a:cubicBezTo>
                      <a:pt x="1" y="13"/>
                      <a:pt x="2" y="14"/>
                      <a:pt x="2" y="14"/>
                    </a:cubicBezTo>
                    <a:close/>
                  </a:path>
                </a:pathLst>
              </a:custGeom>
              <a:solidFill>
                <a:srgbClr val="2624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9" name="Freeform 107"/>
              <p:cNvSpPr/>
              <p:nvPr/>
            </p:nvSpPr>
            <p:spPr bwMode="auto">
              <a:xfrm>
                <a:off x="2241906" y="5554140"/>
                <a:ext cx="620713" cy="519113"/>
              </a:xfrm>
              <a:custGeom>
                <a:avLst/>
                <a:gdLst>
                  <a:gd name="T0" fmla="*/ 0 w 85"/>
                  <a:gd name="T1" fmla="*/ 60 h 72"/>
                  <a:gd name="T2" fmla="*/ 9 w 85"/>
                  <a:gd name="T3" fmla="*/ 52 h 72"/>
                  <a:gd name="T4" fmla="*/ 28 w 85"/>
                  <a:gd name="T5" fmla="*/ 30 h 72"/>
                  <a:gd name="T6" fmla="*/ 48 w 85"/>
                  <a:gd name="T7" fmla="*/ 35 h 72"/>
                  <a:gd name="T8" fmla="*/ 73 w 85"/>
                  <a:gd name="T9" fmla="*/ 0 h 72"/>
                  <a:gd name="T10" fmla="*/ 85 w 85"/>
                  <a:gd name="T11" fmla="*/ 18 h 72"/>
                  <a:gd name="T12" fmla="*/ 78 w 85"/>
                  <a:gd name="T13" fmla="*/ 60 h 72"/>
                  <a:gd name="T14" fmla="*/ 75 w 85"/>
                  <a:gd name="T15" fmla="*/ 61 h 72"/>
                  <a:gd name="T16" fmla="*/ 75 w 85"/>
                  <a:gd name="T17" fmla="*/ 31 h 72"/>
                  <a:gd name="T18" fmla="*/ 57 w 85"/>
                  <a:gd name="T19" fmla="*/ 47 h 72"/>
                  <a:gd name="T20" fmla="*/ 44 w 85"/>
                  <a:gd name="T21" fmla="*/ 66 h 72"/>
                  <a:gd name="T22" fmla="*/ 0 w 85"/>
                  <a:gd name="T23" fmla="*/ 6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5" h="72">
                    <a:moveTo>
                      <a:pt x="0" y="60"/>
                    </a:moveTo>
                    <a:cubicBezTo>
                      <a:pt x="0" y="60"/>
                      <a:pt x="0" y="57"/>
                      <a:pt x="9" y="52"/>
                    </a:cubicBezTo>
                    <a:cubicBezTo>
                      <a:pt x="19" y="47"/>
                      <a:pt x="27" y="34"/>
                      <a:pt x="28" y="30"/>
                    </a:cubicBezTo>
                    <a:cubicBezTo>
                      <a:pt x="48" y="35"/>
                      <a:pt x="48" y="35"/>
                      <a:pt x="48" y="35"/>
                    </a:cubicBezTo>
                    <a:cubicBezTo>
                      <a:pt x="51" y="35"/>
                      <a:pt x="69" y="11"/>
                      <a:pt x="73" y="0"/>
                    </a:cubicBezTo>
                    <a:cubicBezTo>
                      <a:pt x="73" y="0"/>
                      <a:pt x="84" y="7"/>
                      <a:pt x="85" y="18"/>
                    </a:cubicBezTo>
                    <a:cubicBezTo>
                      <a:pt x="85" y="25"/>
                      <a:pt x="79" y="41"/>
                      <a:pt x="78" y="60"/>
                    </a:cubicBezTo>
                    <a:cubicBezTo>
                      <a:pt x="77" y="62"/>
                      <a:pt x="75" y="59"/>
                      <a:pt x="75" y="61"/>
                    </a:cubicBezTo>
                    <a:cubicBezTo>
                      <a:pt x="75" y="31"/>
                      <a:pt x="75" y="31"/>
                      <a:pt x="75" y="31"/>
                    </a:cubicBezTo>
                    <a:cubicBezTo>
                      <a:pt x="75" y="31"/>
                      <a:pt x="60" y="40"/>
                      <a:pt x="57" y="47"/>
                    </a:cubicBezTo>
                    <a:cubicBezTo>
                      <a:pt x="54" y="54"/>
                      <a:pt x="53" y="62"/>
                      <a:pt x="44" y="66"/>
                    </a:cubicBezTo>
                    <a:cubicBezTo>
                      <a:pt x="38" y="69"/>
                      <a:pt x="7" y="72"/>
                      <a:pt x="0" y="6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>
                  <a:solidFill>
                    <a:prstClr val="black"/>
                  </a:solidFill>
                </a:endParaRPr>
              </a:p>
            </p:txBody>
          </p:sp>
        </p:grpSp>
      </p:grpSp>
    </p:spTree>
  </p:cSld>
  <p:clrMapOvr>
    <a:masterClrMapping/>
  </p:clrMapOvr>
  <p:transition spd="slow" advTm="3000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tags/tag1.xml><?xml version="1.0" encoding="utf-8"?>
<p:tagLst xmlns:p="http://schemas.openxmlformats.org/presentationml/2006/main">
  <p:tag name="THINKCELLSHAPEDONOTDELETE" val="pGPnozGtbSEuSxX56hIBSmA"/>
</p:tagLst>
</file>

<file path=ppt/tags/tag2.xml><?xml version="1.0" encoding="utf-8"?>
<p:tagLst xmlns:p="http://schemas.openxmlformats.org/presentationml/2006/main">
  <p:tag name="THINKCELLSHAPEDONOTDELETE" val="pjK5nK8I1BUmTH5Wq3vKeHg"/>
</p:tagLst>
</file>

<file path=ppt/tags/tag3.xml><?xml version="1.0" encoding="utf-8"?>
<p:tagLst xmlns:p="http://schemas.openxmlformats.org/presentationml/2006/main">
  <p:tag name="THINKCELLSHAPEDONOTDELETE" val="pRmBT.B8WO0qxVDFp4.CWwQ"/>
</p:tagLst>
</file>

<file path=ppt/tags/tag4.xml><?xml version="1.0" encoding="utf-8"?>
<p:tagLst xmlns:p="http://schemas.openxmlformats.org/presentationml/2006/main">
  <p:tag name="THINKCELLSHAPEDONOTDELETE" val="paU2AtS4n7US9rc067E70HA"/>
</p:tagLst>
</file>

<file path=ppt/tags/tag5.xml><?xml version="1.0" encoding="utf-8"?>
<p:tagLst xmlns:p="http://schemas.openxmlformats.org/presentationml/2006/main">
  <p:tag name="THINKCELLSHAPEDONOTDELETE" val="paU2AtS4n7US9rc067E70HA"/>
</p:tagLst>
</file>

<file path=ppt/tags/tag6.xml><?xml version="1.0" encoding="utf-8"?>
<p:tagLst xmlns:p="http://schemas.openxmlformats.org/presentationml/2006/main">
  <p:tag name="THINKCELLSHAPEDONOTDELETE" val="pjK5nK8I1BUmTH5Wq3vKeHg"/>
</p:tagLst>
</file>

<file path=ppt/theme/theme1.xml><?xml version="1.0" encoding="utf-8"?>
<a:theme xmlns:a="http://schemas.openxmlformats.org/drawingml/2006/main" name="www.freeppt7.com-Best powerpoint templates free download-slideshow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158</Words>
  <Application>WPS 演示</Application>
  <PresentationFormat>自定义</PresentationFormat>
  <Paragraphs>611</Paragraphs>
  <Slides>37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7</vt:i4>
      </vt:variant>
    </vt:vector>
  </HeadingPairs>
  <TitlesOfParts>
    <vt:vector size="51" baseType="lpstr">
      <vt:lpstr>Arial</vt:lpstr>
      <vt:lpstr>宋体</vt:lpstr>
      <vt:lpstr>Wingdings</vt:lpstr>
      <vt:lpstr>微软雅黑</vt:lpstr>
      <vt:lpstr>Square721 BT</vt:lpstr>
      <vt:lpstr>胡晓波男人帮简体</vt:lpstr>
      <vt:lpstr>Calibri</vt:lpstr>
      <vt:lpstr>Segoe Script</vt:lpstr>
      <vt:lpstr>Arial Unicode MS</vt:lpstr>
      <vt:lpstr>Calibri Light</vt:lpstr>
      <vt:lpstr>Segoe UI</vt:lpstr>
      <vt:lpstr>Segoe UI</vt:lpstr>
      <vt:lpstr>Times New Roman</vt:lpstr>
      <vt:lpstr>www.freeppt7.com-Best powerpoint templates free download-slideshow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清风素材</dc:creator>
  <cp:keywords>12sc.taobao.com</cp:keywords>
  <dc:description>12sc.taobao.com</dc:description>
  <dc:subject>12sc.taobao.com</dc:subject>
  <cp:category>12sc.taobao.com</cp:category>
  <cp:lastModifiedBy>kwl6163com</cp:lastModifiedBy>
  <cp:revision>20</cp:revision>
  <dcterms:created xsi:type="dcterms:W3CDTF">2014-03-28T12:00:00Z</dcterms:created>
  <dcterms:modified xsi:type="dcterms:W3CDTF">2018-07-13T01:46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468</vt:lpwstr>
  </property>
</Properties>
</file>